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0"/>
  </p:notesMasterIdLst>
  <p:handoutMasterIdLst>
    <p:handoutMasterId r:id="rId21"/>
  </p:handoutMasterIdLst>
  <p:sldIdLst>
    <p:sldId id="256" r:id="rId2"/>
    <p:sldId id="265" r:id="rId3"/>
    <p:sldId id="258" r:id="rId4"/>
    <p:sldId id="266" r:id="rId5"/>
    <p:sldId id="267" r:id="rId6"/>
    <p:sldId id="268" r:id="rId7"/>
    <p:sldId id="263" r:id="rId8"/>
    <p:sldId id="269" r:id="rId9"/>
    <p:sldId id="270" r:id="rId10"/>
    <p:sldId id="271" r:id="rId11"/>
    <p:sldId id="272" r:id="rId12"/>
    <p:sldId id="264" r:id="rId13"/>
    <p:sldId id="273" r:id="rId14"/>
    <p:sldId id="274" r:id="rId15"/>
    <p:sldId id="275" r:id="rId16"/>
    <p:sldId id="276" r:id="rId17"/>
    <p:sldId id="261" r:id="rId18"/>
    <p:sldId id="283" r:id="rId19"/>
  </p:sldIdLst>
  <p:sldSz cx="12192000" cy="6858000"/>
  <p:notesSz cx="6858000" cy="9144000"/>
  <p:custDataLst>
    <p:tags r:id="rId22"/>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EDE5"/>
    <a:srgbClr val="EB7B55"/>
    <a:srgbClr val="323C66"/>
    <a:srgbClr val="5669B6"/>
    <a:srgbClr val="F7D9C9"/>
    <a:srgbClr val="082558"/>
    <a:srgbClr val="0C205A"/>
    <a:srgbClr val="31E1FE"/>
    <a:srgbClr val="A20000"/>
    <a:srgbClr val="66B5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182" autoAdjust="0"/>
  </p:normalViewPr>
  <p:slideViewPr>
    <p:cSldViewPr snapToGrid="0">
      <p:cViewPr varScale="1">
        <p:scale>
          <a:sx n="103" d="100"/>
          <a:sy n="103" d="100"/>
        </p:scale>
        <p:origin x="144" y="348"/>
      </p:cViewPr>
      <p:guideLst/>
    </p:cSldViewPr>
  </p:slid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1/2/25</a:t>
            </a:fld>
            <a:endParaRPr lang="zh-CN" altLang="en-US"/>
          </a:p>
        </p:txBody>
      </p:sp>
      <p:sp>
        <p:nvSpPr>
          <p:cNvPr id="4" name="页脚占位符 3">
            <a:extLst>
              <a:ext uri="{FF2B5EF4-FFF2-40B4-BE49-F238E27FC236}">
                <a16:creationId xmlns:a16="http://schemas.microsoft.com/office/drawing/2014/main"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1/2/25</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accent1"/>
        </a:solidFill>
        <a:effectLst/>
      </p:bgPr>
    </p:bg>
    <p:spTree>
      <p:nvGrpSpPr>
        <p:cNvPr id="1" name=""/>
        <p:cNvGrpSpPr/>
        <p:nvPr/>
      </p:nvGrpSpPr>
      <p:grpSpPr>
        <a:xfrm>
          <a:off x="0" y="0"/>
          <a:ext cx="0" cy="0"/>
          <a:chOff x="0" y="0"/>
          <a:chExt cx="0" cy="0"/>
        </a:xfrm>
      </p:grpSpPr>
      <p:sp>
        <p:nvSpPr>
          <p:cNvPr id="9801" name="副标题 9800"/>
          <p:cNvSpPr>
            <a:spLocks noGrp="1"/>
          </p:cNvSpPr>
          <p:nvPr userDrawn="1">
            <p:ph type="subTitle" idx="1" hasCustomPrompt="1"/>
          </p:nvPr>
        </p:nvSpPr>
        <p:spPr>
          <a:xfrm>
            <a:off x="669924" y="4368298"/>
            <a:ext cx="10850563" cy="609888"/>
          </a:xfrm>
        </p:spPr>
        <p:txBody>
          <a:bodyPr anchor="t">
            <a:normAutofit/>
          </a:bodyPr>
          <a:lstStyle>
            <a:lvl1pPr marL="0" indent="0" algn="ctr">
              <a:buNone/>
              <a:defRPr sz="16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2" name="文本占位符 11"/>
          <p:cNvSpPr>
            <a:spLocks noGrp="1"/>
          </p:cNvSpPr>
          <p:nvPr userDrawn="1">
            <p:ph type="body" sz="quarter" idx="10" hasCustomPrompt="1"/>
          </p:nvPr>
        </p:nvSpPr>
        <p:spPr>
          <a:xfrm>
            <a:off x="669924" y="5594626"/>
            <a:ext cx="10850563"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2"/>
          <p:cNvSpPr>
            <a:spLocks noGrp="1"/>
          </p:cNvSpPr>
          <p:nvPr userDrawn="1">
            <p:ph type="body" sz="quarter" idx="11" hasCustomPrompt="1"/>
          </p:nvPr>
        </p:nvSpPr>
        <p:spPr>
          <a:xfrm>
            <a:off x="669924" y="5897247"/>
            <a:ext cx="10850559"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
        <p:nvSpPr>
          <p:cNvPr id="113" name="任意多边形: 形状 112">
            <a:extLst>
              <a:ext uri="{FF2B5EF4-FFF2-40B4-BE49-F238E27FC236}">
                <a16:creationId xmlns:a16="http://schemas.microsoft.com/office/drawing/2014/main" id="{D31CC147-8E48-4F61-A2C1-EA0CD2918F60}"/>
              </a:ext>
            </a:extLst>
          </p:cNvPr>
          <p:cNvSpPr/>
          <p:nvPr/>
        </p:nvSpPr>
        <p:spPr>
          <a:xfrm>
            <a:off x="2933700" y="0"/>
            <a:ext cx="6324600" cy="3847034"/>
          </a:xfrm>
          <a:custGeom>
            <a:avLst/>
            <a:gdLst>
              <a:gd name="connsiteX0" fmla="*/ 2762246 w 6697570"/>
              <a:gd name="connsiteY0" fmla="*/ 3624639 h 4073898"/>
              <a:gd name="connsiteX1" fmla="*/ 2761960 w 6697570"/>
              <a:gd name="connsiteY1" fmla="*/ 3756148 h 4073898"/>
              <a:gd name="connsiteX2" fmla="*/ 2599576 w 6697570"/>
              <a:gd name="connsiteY2" fmla="*/ 3918246 h 4073898"/>
              <a:gd name="connsiteX3" fmla="*/ 2498943 w 6697570"/>
              <a:gd name="connsiteY3" fmla="*/ 3882511 h 4073898"/>
              <a:gd name="connsiteX4" fmla="*/ 2624734 w 6697570"/>
              <a:gd name="connsiteY4" fmla="*/ 3943691 h 4073898"/>
              <a:gd name="connsiteX5" fmla="*/ 2786832 w 6697570"/>
              <a:gd name="connsiteY5" fmla="*/ 3781592 h 4073898"/>
              <a:gd name="connsiteX6" fmla="*/ 2787691 w 6697570"/>
              <a:gd name="connsiteY6" fmla="*/ 3624639 h 4073898"/>
              <a:gd name="connsiteX7" fmla="*/ 4280026 w 6697570"/>
              <a:gd name="connsiteY7" fmla="*/ 3582328 h 4073898"/>
              <a:gd name="connsiteX8" fmla="*/ 4492156 w 6697570"/>
              <a:gd name="connsiteY8" fmla="*/ 3582328 h 4073898"/>
              <a:gd name="connsiteX9" fmla="*/ 4236571 w 6697570"/>
              <a:gd name="connsiteY9" fmla="*/ 3844773 h 4073898"/>
              <a:gd name="connsiteX10" fmla="*/ 1861985 w 6697570"/>
              <a:gd name="connsiteY10" fmla="*/ 3554883 h 4073898"/>
              <a:gd name="connsiteX11" fmla="*/ 1861985 w 6697570"/>
              <a:gd name="connsiteY11" fmla="*/ 3597195 h 4073898"/>
              <a:gd name="connsiteX12" fmla="*/ 1922022 w 6697570"/>
              <a:gd name="connsiteY12" fmla="*/ 3657231 h 4073898"/>
              <a:gd name="connsiteX13" fmla="*/ 2298250 w 6697570"/>
              <a:gd name="connsiteY13" fmla="*/ 3657231 h 4073898"/>
              <a:gd name="connsiteX14" fmla="*/ 2358573 w 6697570"/>
              <a:gd name="connsiteY14" fmla="*/ 3597195 h 4073898"/>
              <a:gd name="connsiteX15" fmla="*/ 2358573 w 6697570"/>
              <a:gd name="connsiteY15" fmla="*/ 3554883 h 4073898"/>
              <a:gd name="connsiteX16" fmla="*/ 3209809 w 6697570"/>
              <a:gd name="connsiteY16" fmla="*/ 3549250 h 4073898"/>
              <a:gd name="connsiteX17" fmla="*/ 3120464 w 6697570"/>
              <a:gd name="connsiteY17" fmla="*/ 3559457 h 4073898"/>
              <a:gd name="connsiteX18" fmla="*/ 3126468 w 6697570"/>
              <a:gd name="connsiteY18" fmla="*/ 3574895 h 4073898"/>
              <a:gd name="connsiteX19" fmla="*/ 3399491 w 6697570"/>
              <a:gd name="connsiteY19" fmla="*/ 3721842 h 4073898"/>
              <a:gd name="connsiteX20" fmla="*/ 3384911 w 6697570"/>
              <a:gd name="connsiteY20" fmla="*/ 3920533 h 4073898"/>
              <a:gd name="connsiteX21" fmla="*/ 3412070 w 6697570"/>
              <a:gd name="connsiteY21" fmla="*/ 3701258 h 4073898"/>
              <a:gd name="connsiteX22" fmla="*/ 3209809 w 6697570"/>
              <a:gd name="connsiteY22" fmla="*/ 3549250 h 4073898"/>
              <a:gd name="connsiteX23" fmla="*/ 3066717 w 6697570"/>
              <a:gd name="connsiteY23" fmla="*/ 3548879 h 4073898"/>
              <a:gd name="connsiteX24" fmla="*/ 3260263 w 6697570"/>
              <a:gd name="connsiteY24" fmla="*/ 4061190 h 4073898"/>
              <a:gd name="connsiteX25" fmla="*/ 2921486 w 6697570"/>
              <a:gd name="connsiteY25" fmla="*/ 3896519 h 4073898"/>
              <a:gd name="connsiteX26" fmla="*/ 3066717 w 6697570"/>
              <a:gd name="connsiteY26" fmla="*/ 3548879 h 4073898"/>
              <a:gd name="connsiteX27" fmla="*/ 3199955 w 6697570"/>
              <a:gd name="connsiteY27" fmla="*/ 3525910 h 4073898"/>
              <a:gd name="connsiteX28" fmla="*/ 3434942 w 6697570"/>
              <a:gd name="connsiteY28" fmla="*/ 3702401 h 4073898"/>
              <a:gd name="connsiteX29" fmla="*/ 3289996 w 6697570"/>
              <a:gd name="connsiteY29" fmla="*/ 4050327 h 4073898"/>
              <a:gd name="connsiteX30" fmla="*/ 3096164 w 6697570"/>
              <a:gd name="connsiteY30" fmla="*/ 3537730 h 4073898"/>
              <a:gd name="connsiteX31" fmla="*/ 3199955 w 6697570"/>
              <a:gd name="connsiteY31" fmla="*/ 3525910 h 4073898"/>
              <a:gd name="connsiteX32" fmla="*/ 3879497 w 6697570"/>
              <a:gd name="connsiteY32" fmla="*/ 3404220 h 4073898"/>
              <a:gd name="connsiteX33" fmla="*/ 3938104 w 6697570"/>
              <a:gd name="connsiteY33" fmla="*/ 3806750 h 4073898"/>
              <a:gd name="connsiteX34" fmla="*/ 3952112 w 6697570"/>
              <a:gd name="connsiteY34" fmla="*/ 3817328 h 4073898"/>
              <a:gd name="connsiteX35" fmla="*/ 3966693 w 6697570"/>
              <a:gd name="connsiteY35" fmla="*/ 3807036 h 4073898"/>
              <a:gd name="connsiteX36" fmla="*/ 4002429 w 6697570"/>
              <a:gd name="connsiteY36" fmla="*/ 3638076 h 4073898"/>
              <a:gd name="connsiteX37" fmla="*/ 4005002 w 6697570"/>
              <a:gd name="connsiteY37" fmla="*/ 3662948 h 4073898"/>
              <a:gd name="connsiteX38" fmla="*/ 4020154 w 6697570"/>
              <a:gd name="connsiteY38" fmla="*/ 3676099 h 4073898"/>
              <a:gd name="connsiteX39" fmla="*/ 4033877 w 6697570"/>
              <a:gd name="connsiteY39" fmla="*/ 3666665 h 4073898"/>
              <a:gd name="connsiteX40" fmla="*/ 4119929 w 6697570"/>
              <a:gd name="connsiteY40" fmla="*/ 3428806 h 4073898"/>
              <a:gd name="connsiteX41" fmla="*/ 4187399 w 6697570"/>
              <a:gd name="connsiteY41" fmla="*/ 3882225 h 4073898"/>
              <a:gd name="connsiteX42" fmla="*/ 4083906 w 6697570"/>
              <a:gd name="connsiteY42" fmla="*/ 3953410 h 4073898"/>
              <a:gd name="connsiteX43" fmla="*/ 3675373 w 6697570"/>
              <a:gd name="connsiteY43" fmla="*/ 3582328 h 4073898"/>
              <a:gd name="connsiteX44" fmla="*/ 3809168 w 6697570"/>
              <a:gd name="connsiteY44" fmla="*/ 3582328 h 4073898"/>
              <a:gd name="connsiteX45" fmla="*/ 3823463 w 6697570"/>
              <a:gd name="connsiteY45" fmla="*/ 3572322 h 4073898"/>
              <a:gd name="connsiteX46" fmla="*/ 2131291 w 6697570"/>
              <a:gd name="connsiteY46" fmla="*/ 3336465 h 4073898"/>
              <a:gd name="connsiteX47" fmla="*/ 2131291 w 6697570"/>
              <a:gd name="connsiteY47" fmla="*/ 3399361 h 4073898"/>
              <a:gd name="connsiteX48" fmla="*/ 2196759 w 6697570"/>
              <a:gd name="connsiteY48" fmla="*/ 3399361 h 4073898"/>
              <a:gd name="connsiteX49" fmla="*/ 2197045 w 6697570"/>
              <a:gd name="connsiteY49" fmla="*/ 3447103 h 4073898"/>
              <a:gd name="connsiteX50" fmla="*/ 2131577 w 6697570"/>
              <a:gd name="connsiteY50" fmla="*/ 3447103 h 4073898"/>
              <a:gd name="connsiteX51" fmla="*/ 2131862 w 6697570"/>
              <a:gd name="connsiteY51" fmla="*/ 3509427 h 4073898"/>
              <a:gd name="connsiteX52" fmla="*/ 2086978 w 6697570"/>
              <a:gd name="connsiteY52" fmla="*/ 3509713 h 4073898"/>
              <a:gd name="connsiteX53" fmla="*/ 2086978 w 6697570"/>
              <a:gd name="connsiteY53" fmla="*/ 3447389 h 4073898"/>
              <a:gd name="connsiteX54" fmla="*/ 2023225 w 6697570"/>
              <a:gd name="connsiteY54" fmla="*/ 3447675 h 4073898"/>
              <a:gd name="connsiteX55" fmla="*/ 2022939 w 6697570"/>
              <a:gd name="connsiteY55" fmla="*/ 3399932 h 4073898"/>
              <a:gd name="connsiteX56" fmla="*/ 2086406 w 6697570"/>
              <a:gd name="connsiteY56" fmla="*/ 3399646 h 4073898"/>
              <a:gd name="connsiteX57" fmla="*/ 2086406 w 6697570"/>
              <a:gd name="connsiteY57" fmla="*/ 3336751 h 4073898"/>
              <a:gd name="connsiteX58" fmla="*/ 2075257 w 6697570"/>
              <a:gd name="connsiteY58" fmla="*/ 3324744 h 4073898"/>
              <a:gd name="connsiteX59" fmla="*/ 2075257 w 6697570"/>
              <a:gd name="connsiteY59" fmla="*/ 3388496 h 4073898"/>
              <a:gd name="connsiteX60" fmla="*/ 2011504 w 6697570"/>
              <a:gd name="connsiteY60" fmla="*/ 3388496 h 4073898"/>
              <a:gd name="connsiteX61" fmla="*/ 2011504 w 6697570"/>
              <a:gd name="connsiteY61" fmla="*/ 3458539 h 4073898"/>
              <a:gd name="connsiteX62" fmla="*/ 2075257 w 6697570"/>
              <a:gd name="connsiteY62" fmla="*/ 3458539 h 4073898"/>
              <a:gd name="connsiteX63" fmla="*/ 2075257 w 6697570"/>
              <a:gd name="connsiteY63" fmla="*/ 3522006 h 4073898"/>
              <a:gd name="connsiteX64" fmla="*/ 2145300 w 6697570"/>
              <a:gd name="connsiteY64" fmla="*/ 3522006 h 4073898"/>
              <a:gd name="connsiteX65" fmla="*/ 2145300 w 6697570"/>
              <a:gd name="connsiteY65" fmla="*/ 3458539 h 4073898"/>
              <a:gd name="connsiteX66" fmla="*/ 2209053 w 6697570"/>
              <a:gd name="connsiteY66" fmla="*/ 3458539 h 4073898"/>
              <a:gd name="connsiteX67" fmla="*/ 2209053 w 6697570"/>
              <a:gd name="connsiteY67" fmla="*/ 3388496 h 4073898"/>
              <a:gd name="connsiteX68" fmla="*/ 2145300 w 6697570"/>
              <a:gd name="connsiteY68" fmla="*/ 3388496 h 4073898"/>
              <a:gd name="connsiteX69" fmla="*/ 2145300 w 6697570"/>
              <a:gd name="connsiteY69" fmla="*/ 3324744 h 4073898"/>
              <a:gd name="connsiteX70" fmla="*/ 2621018 w 6697570"/>
              <a:gd name="connsiteY70" fmla="*/ 3236976 h 4073898"/>
              <a:gd name="connsiteX71" fmla="*/ 2621018 w 6697570"/>
              <a:gd name="connsiteY71" fmla="*/ 3247553 h 4073898"/>
              <a:gd name="connsiteX72" fmla="*/ 2446340 w 6697570"/>
              <a:gd name="connsiteY72" fmla="*/ 3421945 h 4073898"/>
              <a:gd name="connsiteX73" fmla="*/ 2445768 w 6697570"/>
              <a:gd name="connsiteY73" fmla="*/ 3589761 h 4073898"/>
              <a:gd name="connsiteX74" fmla="*/ 2620446 w 6697570"/>
              <a:gd name="connsiteY74" fmla="*/ 3590333 h 4073898"/>
              <a:gd name="connsiteX75" fmla="*/ 2795124 w 6697570"/>
              <a:gd name="connsiteY75" fmla="*/ 3590905 h 4073898"/>
              <a:gd name="connsiteX76" fmla="*/ 2795695 w 6697570"/>
              <a:gd name="connsiteY76" fmla="*/ 3422802 h 4073898"/>
              <a:gd name="connsiteX77" fmla="*/ 2744807 w 6697570"/>
              <a:gd name="connsiteY77" fmla="*/ 3299013 h 4073898"/>
              <a:gd name="connsiteX78" fmla="*/ 2621303 w 6697570"/>
              <a:gd name="connsiteY78" fmla="*/ 3247553 h 4073898"/>
              <a:gd name="connsiteX79" fmla="*/ 2621303 w 6697570"/>
              <a:gd name="connsiteY79" fmla="*/ 3226683 h 4073898"/>
              <a:gd name="connsiteX80" fmla="*/ 2621875 w 6697570"/>
              <a:gd name="connsiteY80" fmla="*/ 3226683 h 4073898"/>
              <a:gd name="connsiteX81" fmla="*/ 2760245 w 6697570"/>
              <a:gd name="connsiteY81" fmla="*/ 3284433 h 4073898"/>
              <a:gd name="connsiteX82" fmla="*/ 2817137 w 6697570"/>
              <a:gd name="connsiteY82" fmla="*/ 3423088 h 4073898"/>
              <a:gd name="connsiteX83" fmla="*/ 2816565 w 6697570"/>
              <a:gd name="connsiteY83" fmla="*/ 3591191 h 4073898"/>
              <a:gd name="connsiteX84" fmla="*/ 2816565 w 6697570"/>
              <a:gd name="connsiteY84" fmla="*/ 3611774 h 4073898"/>
              <a:gd name="connsiteX85" fmla="*/ 2816565 w 6697570"/>
              <a:gd name="connsiteY85" fmla="*/ 3612346 h 4073898"/>
              <a:gd name="connsiteX86" fmla="*/ 2815993 w 6697570"/>
              <a:gd name="connsiteY86" fmla="*/ 3780449 h 4073898"/>
              <a:gd name="connsiteX87" fmla="*/ 2620160 w 6697570"/>
              <a:gd name="connsiteY87" fmla="*/ 3975710 h 4073898"/>
              <a:gd name="connsiteX88" fmla="*/ 2424327 w 6697570"/>
              <a:gd name="connsiteY88" fmla="*/ 3779305 h 4073898"/>
              <a:gd name="connsiteX89" fmla="*/ 2424898 w 6697570"/>
              <a:gd name="connsiteY89" fmla="*/ 3611203 h 4073898"/>
              <a:gd name="connsiteX90" fmla="*/ 2425470 w 6697570"/>
              <a:gd name="connsiteY90" fmla="*/ 3421945 h 4073898"/>
              <a:gd name="connsiteX91" fmla="*/ 2621303 w 6697570"/>
              <a:gd name="connsiteY91" fmla="*/ 3226683 h 4073898"/>
              <a:gd name="connsiteX92" fmla="*/ 3811380 w 6697570"/>
              <a:gd name="connsiteY92" fmla="*/ 3096930 h 4073898"/>
              <a:gd name="connsiteX93" fmla="*/ 4083906 w 6697570"/>
              <a:gd name="connsiteY93" fmla="*/ 3303015 h 4073898"/>
              <a:gd name="connsiteX94" fmla="*/ 4356292 w 6697570"/>
              <a:gd name="connsiteY94" fmla="*/ 3096930 h 4073898"/>
              <a:gd name="connsiteX95" fmla="*/ 4509594 w 6697570"/>
              <a:gd name="connsiteY95" fmla="*/ 3555169 h 4073898"/>
              <a:gd name="connsiteX96" fmla="*/ 4267447 w 6697570"/>
              <a:gd name="connsiteY96" fmla="*/ 3555169 h 4073898"/>
              <a:gd name="connsiteX97" fmla="*/ 4253152 w 6697570"/>
              <a:gd name="connsiteY97" fmla="*/ 3565746 h 4073898"/>
              <a:gd name="connsiteX98" fmla="*/ 4209126 w 6697570"/>
              <a:gd name="connsiteY98" fmla="*/ 3831623 h 4073898"/>
              <a:gd name="connsiteX99" fmla="*/ 4139654 w 6697570"/>
              <a:gd name="connsiteY99" fmla="*/ 3366769 h 4073898"/>
              <a:gd name="connsiteX100" fmla="*/ 4126504 w 6697570"/>
              <a:gd name="connsiteY100" fmla="*/ 3356191 h 4073898"/>
              <a:gd name="connsiteX101" fmla="*/ 4111352 w 6697570"/>
              <a:gd name="connsiteY101" fmla="*/ 3365911 h 4073898"/>
              <a:gd name="connsiteX102" fmla="*/ 4027015 w 6697570"/>
              <a:gd name="connsiteY102" fmla="*/ 3598624 h 4073898"/>
              <a:gd name="connsiteX103" fmla="*/ 4021297 w 6697570"/>
              <a:gd name="connsiteY103" fmla="*/ 3544877 h 4073898"/>
              <a:gd name="connsiteX104" fmla="*/ 4005287 w 6697570"/>
              <a:gd name="connsiteY104" fmla="*/ 3531726 h 4073898"/>
              <a:gd name="connsiteX105" fmla="*/ 3992423 w 6697570"/>
              <a:gd name="connsiteY105" fmla="*/ 3542017 h 4073898"/>
              <a:gd name="connsiteX106" fmla="*/ 3954685 w 6697570"/>
              <a:gd name="connsiteY106" fmla="*/ 3720698 h 4073898"/>
              <a:gd name="connsiteX107" fmla="*/ 3899223 w 6697570"/>
              <a:gd name="connsiteY107" fmla="*/ 3338466 h 4073898"/>
              <a:gd name="connsiteX108" fmla="*/ 3886072 w 6697570"/>
              <a:gd name="connsiteY108" fmla="*/ 3327888 h 4073898"/>
              <a:gd name="connsiteX109" fmla="*/ 3870920 w 6697570"/>
              <a:gd name="connsiteY109" fmla="*/ 3337608 h 4073898"/>
              <a:gd name="connsiteX110" fmla="*/ 3798591 w 6697570"/>
              <a:gd name="connsiteY110" fmla="*/ 3555169 h 4073898"/>
              <a:gd name="connsiteX111" fmla="*/ 3657934 w 6697570"/>
              <a:gd name="connsiteY111" fmla="*/ 3555169 h 4073898"/>
              <a:gd name="connsiteX112" fmla="*/ 3811380 w 6697570"/>
              <a:gd name="connsiteY112" fmla="*/ 3096930 h 4073898"/>
              <a:gd name="connsiteX113" fmla="*/ 4969875 w 6697570"/>
              <a:gd name="connsiteY113" fmla="*/ 3096319 h 4073898"/>
              <a:gd name="connsiteX114" fmla="*/ 5019047 w 6697570"/>
              <a:gd name="connsiteY114" fmla="*/ 3154068 h 4073898"/>
              <a:gd name="connsiteX115" fmla="*/ 5076797 w 6697570"/>
              <a:gd name="connsiteY115" fmla="*/ 3105467 h 4073898"/>
              <a:gd name="connsiteX116" fmla="*/ 5111389 w 6697570"/>
              <a:gd name="connsiteY116" fmla="*/ 3146063 h 4073898"/>
              <a:gd name="connsiteX117" fmla="*/ 5053926 w 6697570"/>
              <a:gd name="connsiteY117" fmla="*/ 3194950 h 4073898"/>
              <a:gd name="connsiteX118" fmla="*/ 5104242 w 6697570"/>
              <a:gd name="connsiteY118" fmla="*/ 3254415 h 4073898"/>
              <a:gd name="connsiteX119" fmla="*/ 5060786 w 6697570"/>
              <a:gd name="connsiteY119" fmla="*/ 3291580 h 4073898"/>
              <a:gd name="connsiteX120" fmla="*/ 5010471 w 6697570"/>
              <a:gd name="connsiteY120" fmla="*/ 3232116 h 4073898"/>
              <a:gd name="connsiteX121" fmla="*/ 4953293 w 6697570"/>
              <a:gd name="connsiteY121" fmla="*/ 3280431 h 4073898"/>
              <a:gd name="connsiteX122" fmla="*/ 4918415 w 6697570"/>
              <a:gd name="connsiteY122" fmla="*/ 3239835 h 4073898"/>
              <a:gd name="connsiteX123" fmla="*/ 4975592 w 6697570"/>
              <a:gd name="connsiteY123" fmla="*/ 3191520 h 4073898"/>
              <a:gd name="connsiteX124" fmla="*/ 4926420 w 6697570"/>
              <a:gd name="connsiteY124" fmla="*/ 3133484 h 4073898"/>
              <a:gd name="connsiteX125" fmla="*/ 1415820 w 6697570"/>
              <a:gd name="connsiteY125" fmla="*/ 3073983 h 4073898"/>
              <a:gd name="connsiteX126" fmla="*/ 1293638 w 6697570"/>
              <a:gd name="connsiteY126" fmla="*/ 3126622 h 4073898"/>
              <a:gd name="connsiteX127" fmla="*/ 1211016 w 6697570"/>
              <a:gd name="connsiteY127" fmla="*/ 3211245 h 4073898"/>
              <a:gd name="connsiteX128" fmla="*/ 1274197 w 6697570"/>
              <a:gd name="connsiteY128" fmla="*/ 3272711 h 4073898"/>
              <a:gd name="connsiteX129" fmla="*/ 1500337 w 6697570"/>
              <a:gd name="connsiteY129" fmla="*/ 3269566 h 4073898"/>
              <a:gd name="connsiteX130" fmla="*/ 1592392 w 6697570"/>
              <a:gd name="connsiteY130" fmla="*/ 3174937 h 4073898"/>
              <a:gd name="connsiteX131" fmla="*/ 1539502 w 6697570"/>
              <a:gd name="connsiteY131" fmla="*/ 3123192 h 4073898"/>
              <a:gd name="connsiteX132" fmla="*/ 1415820 w 6697570"/>
              <a:gd name="connsiteY132" fmla="*/ 3073983 h 4073898"/>
              <a:gd name="connsiteX133" fmla="*/ 4971303 w 6697570"/>
              <a:gd name="connsiteY133" fmla="*/ 3073447 h 4073898"/>
              <a:gd name="connsiteX134" fmla="*/ 4906979 w 6697570"/>
              <a:gd name="connsiteY134" fmla="*/ 3127194 h 4073898"/>
              <a:gd name="connsiteX135" fmla="*/ 4955580 w 6697570"/>
              <a:gd name="connsiteY135" fmla="*/ 3185802 h 4073898"/>
              <a:gd name="connsiteX136" fmla="*/ 4897259 w 6697570"/>
              <a:gd name="connsiteY136" fmla="*/ 3234688 h 4073898"/>
              <a:gd name="connsiteX137" fmla="*/ 4951006 w 6697570"/>
              <a:gd name="connsiteY137" fmla="*/ 3299012 h 4073898"/>
              <a:gd name="connsiteX138" fmla="*/ 5009613 w 6697570"/>
              <a:gd name="connsiteY138" fmla="*/ 3250126 h 4073898"/>
              <a:gd name="connsiteX139" fmla="*/ 5058213 w 6697570"/>
              <a:gd name="connsiteY139" fmla="*/ 3308733 h 4073898"/>
              <a:gd name="connsiteX140" fmla="*/ 5122539 w 6697570"/>
              <a:gd name="connsiteY140" fmla="*/ 3254986 h 4073898"/>
              <a:gd name="connsiteX141" fmla="*/ 5073938 w 6697570"/>
              <a:gd name="connsiteY141" fmla="*/ 3196379 h 4073898"/>
              <a:gd name="connsiteX142" fmla="*/ 5132259 w 6697570"/>
              <a:gd name="connsiteY142" fmla="*/ 3147492 h 4073898"/>
              <a:gd name="connsiteX143" fmla="*/ 5078512 w 6697570"/>
              <a:gd name="connsiteY143" fmla="*/ 3083167 h 4073898"/>
              <a:gd name="connsiteX144" fmla="*/ 5020191 w 6697570"/>
              <a:gd name="connsiteY144" fmla="*/ 3132054 h 4073898"/>
              <a:gd name="connsiteX145" fmla="*/ 4703998 w 6697570"/>
              <a:gd name="connsiteY145" fmla="*/ 3063441 h 4073898"/>
              <a:gd name="connsiteX146" fmla="*/ 4664832 w 6697570"/>
              <a:gd name="connsiteY146" fmla="*/ 3096033 h 4073898"/>
              <a:gd name="connsiteX147" fmla="*/ 4655683 w 6697570"/>
              <a:gd name="connsiteY147" fmla="*/ 3197522 h 4073898"/>
              <a:gd name="connsiteX148" fmla="*/ 4944144 w 6697570"/>
              <a:gd name="connsiteY148" fmla="*/ 3543447 h 4073898"/>
              <a:gd name="connsiteX149" fmla="*/ 5045634 w 6697570"/>
              <a:gd name="connsiteY149" fmla="*/ 3552596 h 4073898"/>
              <a:gd name="connsiteX150" fmla="*/ 5084801 w 6697570"/>
              <a:gd name="connsiteY150" fmla="*/ 3520004 h 4073898"/>
              <a:gd name="connsiteX151" fmla="*/ 1971194 w 6697570"/>
              <a:gd name="connsiteY151" fmla="*/ 2992541 h 4073898"/>
              <a:gd name="connsiteX152" fmla="*/ 1928025 w 6697570"/>
              <a:gd name="connsiteY152" fmla="*/ 3099749 h 4073898"/>
              <a:gd name="connsiteX153" fmla="*/ 1861985 w 6697570"/>
              <a:gd name="connsiteY153" fmla="*/ 3238977 h 4073898"/>
              <a:gd name="connsiteX154" fmla="*/ 1861985 w 6697570"/>
              <a:gd name="connsiteY154" fmla="*/ 3291866 h 4073898"/>
              <a:gd name="connsiteX155" fmla="*/ 2357714 w 6697570"/>
              <a:gd name="connsiteY155" fmla="*/ 3291866 h 4073898"/>
              <a:gd name="connsiteX156" fmla="*/ 2357714 w 6697570"/>
              <a:gd name="connsiteY156" fmla="*/ 3236403 h 4073898"/>
              <a:gd name="connsiteX157" fmla="*/ 2291960 w 6697570"/>
              <a:gd name="connsiteY157" fmla="*/ 3099749 h 4073898"/>
              <a:gd name="connsiteX158" fmla="*/ 2248791 w 6697570"/>
              <a:gd name="connsiteY158" fmla="*/ 2992541 h 4073898"/>
              <a:gd name="connsiteX159" fmla="*/ 5650002 w 6697570"/>
              <a:gd name="connsiteY159" fmla="*/ 2879043 h 4073898"/>
              <a:gd name="connsiteX160" fmla="*/ 5534218 w 6697570"/>
              <a:gd name="connsiteY160" fmla="*/ 2975673 h 4073898"/>
              <a:gd name="connsiteX161" fmla="*/ 5534218 w 6697570"/>
              <a:gd name="connsiteY161" fmla="*/ 2988538 h 4073898"/>
              <a:gd name="connsiteX162" fmla="*/ 5546797 w 6697570"/>
              <a:gd name="connsiteY162" fmla="*/ 2990825 h 4073898"/>
              <a:gd name="connsiteX163" fmla="*/ 5662867 w 6697570"/>
              <a:gd name="connsiteY163" fmla="*/ 2894195 h 4073898"/>
              <a:gd name="connsiteX164" fmla="*/ 5662581 w 6697570"/>
              <a:gd name="connsiteY164" fmla="*/ 2881330 h 4073898"/>
              <a:gd name="connsiteX165" fmla="*/ 5650002 w 6697570"/>
              <a:gd name="connsiteY165" fmla="*/ 2879043 h 4073898"/>
              <a:gd name="connsiteX166" fmla="*/ 5627417 w 6697570"/>
              <a:gd name="connsiteY166" fmla="*/ 2851884 h 4073898"/>
              <a:gd name="connsiteX167" fmla="*/ 5511346 w 6697570"/>
              <a:gd name="connsiteY167" fmla="*/ 2948800 h 4073898"/>
              <a:gd name="connsiteX168" fmla="*/ 5511346 w 6697570"/>
              <a:gd name="connsiteY168" fmla="*/ 2961665 h 4073898"/>
              <a:gd name="connsiteX169" fmla="*/ 5523925 w 6697570"/>
              <a:gd name="connsiteY169" fmla="*/ 2964238 h 4073898"/>
              <a:gd name="connsiteX170" fmla="*/ 5639996 w 6697570"/>
              <a:gd name="connsiteY170" fmla="*/ 2867322 h 4073898"/>
              <a:gd name="connsiteX171" fmla="*/ 5639996 w 6697570"/>
              <a:gd name="connsiteY171" fmla="*/ 2854457 h 4073898"/>
              <a:gd name="connsiteX172" fmla="*/ 5627417 w 6697570"/>
              <a:gd name="connsiteY172" fmla="*/ 2851884 h 4073898"/>
              <a:gd name="connsiteX173" fmla="*/ 2257940 w 6697570"/>
              <a:gd name="connsiteY173" fmla="*/ 2842165 h 4073898"/>
              <a:gd name="connsiteX174" fmla="*/ 2249649 w 6697570"/>
              <a:gd name="connsiteY174" fmla="*/ 2849026 h 4073898"/>
              <a:gd name="connsiteX175" fmla="*/ 2249649 w 6697570"/>
              <a:gd name="connsiteY175" fmla="*/ 2975389 h 4073898"/>
              <a:gd name="connsiteX176" fmla="*/ 2257940 w 6697570"/>
              <a:gd name="connsiteY176" fmla="*/ 2982250 h 4073898"/>
              <a:gd name="connsiteX177" fmla="*/ 2266230 w 6697570"/>
              <a:gd name="connsiteY177" fmla="*/ 2975389 h 4073898"/>
              <a:gd name="connsiteX178" fmla="*/ 2266230 w 6697570"/>
              <a:gd name="connsiteY178" fmla="*/ 2849026 h 4073898"/>
              <a:gd name="connsiteX179" fmla="*/ 2257940 w 6697570"/>
              <a:gd name="connsiteY179" fmla="*/ 2842165 h 4073898"/>
              <a:gd name="connsiteX180" fmla="*/ 2228493 w 6697570"/>
              <a:gd name="connsiteY180" fmla="*/ 2842165 h 4073898"/>
              <a:gd name="connsiteX181" fmla="*/ 2220202 w 6697570"/>
              <a:gd name="connsiteY181" fmla="*/ 2849026 h 4073898"/>
              <a:gd name="connsiteX182" fmla="*/ 2220202 w 6697570"/>
              <a:gd name="connsiteY182" fmla="*/ 2975389 h 4073898"/>
              <a:gd name="connsiteX183" fmla="*/ 2228493 w 6697570"/>
              <a:gd name="connsiteY183" fmla="*/ 2982250 h 4073898"/>
              <a:gd name="connsiteX184" fmla="*/ 2236784 w 6697570"/>
              <a:gd name="connsiteY184" fmla="*/ 2975389 h 4073898"/>
              <a:gd name="connsiteX185" fmla="*/ 2236784 w 6697570"/>
              <a:gd name="connsiteY185" fmla="*/ 2849026 h 4073898"/>
              <a:gd name="connsiteX186" fmla="*/ 2228493 w 6697570"/>
              <a:gd name="connsiteY186" fmla="*/ 2842165 h 4073898"/>
              <a:gd name="connsiteX187" fmla="*/ 2198761 w 6697570"/>
              <a:gd name="connsiteY187" fmla="*/ 2842165 h 4073898"/>
              <a:gd name="connsiteX188" fmla="*/ 2190470 w 6697570"/>
              <a:gd name="connsiteY188" fmla="*/ 2849026 h 4073898"/>
              <a:gd name="connsiteX189" fmla="*/ 2190470 w 6697570"/>
              <a:gd name="connsiteY189" fmla="*/ 2975389 h 4073898"/>
              <a:gd name="connsiteX190" fmla="*/ 2198761 w 6697570"/>
              <a:gd name="connsiteY190" fmla="*/ 2982250 h 4073898"/>
              <a:gd name="connsiteX191" fmla="*/ 2207051 w 6697570"/>
              <a:gd name="connsiteY191" fmla="*/ 2975389 h 4073898"/>
              <a:gd name="connsiteX192" fmla="*/ 2207051 w 6697570"/>
              <a:gd name="connsiteY192" fmla="*/ 2849026 h 4073898"/>
              <a:gd name="connsiteX193" fmla="*/ 2198761 w 6697570"/>
              <a:gd name="connsiteY193" fmla="*/ 2842165 h 4073898"/>
              <a:gd name="connsiteX194" fmla="*/ 2169314 w 6697570"/>
              <a:gd name="connsiteY194" fmla="*/ 2842165 h 4073898"/>
              <a:gd name="connsiteX195" fmla="*/ 2161023 w 6697570"/>
              <a:gd name="connsiteY195" fmla="*/ 2849026 h 4073898"/>
              <a:gd name="connsiteX196" fmla="*/ 2161023 w 6697570"/>
              <a:gd name="connsiteY196" fmla="*/ 2975389 h 4073898"/>
              <a:gd name="connsiteX197" fmla="*/ 2169314 w 6697570"/>
              <a:gd name="connsiteY197" fmla="*/ 2982250 h 4073898"/>
              <a:gd name="connsiteX198" fmla="*/ 2177605 w 6697570"/>
              <a:gd name="connsiteY198" fmla="*/ 2975389 h 4073898"/>
              <a:gd name="connsiteX199" fmla="*/ 2177605 w 6697570"/>
              <a:gd name="connsiteY199" fmla="*/ 2849026 h 4073898"/>
              <a:gd name="connsiteX200" fmla="*/ 2169314 w 6697570"/>
              <a:gd name="connsiteY200" fmla="*/ 2842165 h 4073898"/>
              <a:gd name="connsiteX201" fmla="*/ 2139582 w 6697570"/>
              <a:gd name="connsiteY201" fmla="*/ 2842165 h 4073898"/>
              <a:gd name="connsiteX202" fmla="*/ 2131291 w 6697570"/>
              <a:gd name="connsiteY202" fmla="*/ 2849026 h 4073898"/>
              <a:gd name="connsiteX203" fmla="*/ 2131291 w 6697570"/>
              <a:gd name="connsiteY203" fmla="*/ 2975389 h 4073898"/>
              <a:gd name="connsiteX204" fmla="*/ 2139582 w 6697570"/>
              <a:gd name="connsiteY204" fmla="*/ 2982250 h 4073898"/>
              <a:gd name="connsiteX205" fmla="*/ 2147873 w 6697570"/>
              <a:gd name="connsiteY205" fmla="*/ 2975389 h 4073898"/>
              <a:gd name="connsiteX206" fmla="*/ 2147873 w 6697570"/>
              <a:gd name="connsiteY206" fmla="*/ 2849026 h 4073898"/>
              <a:gd name="connsiteX207" fmla="*/ 2139582 w 6697570"/>
              <a:gd name="connsiteY207" fmla="*/ 2842165 h 4073898"/>
              <a:gd name="connsiteX208" fmla="*/ 2110135 w 6697570"/>
              <a:gd name="connsiteY208" fmla="*/ 2842165 h 4073898"/>
              <a:gd name="connsiteX209" fmla="*/ 2101845 w 6697570"/>
              <a:gd name="connsiteY209" fmla="*/ 2849026 h 4073898"/>
              <a:gd name="connsiteX210" fmla="*/ 2101845 w 6697570"/>
              <a:gd name="connsiteY210" fmla="*/ 2975389 h 4073898"/>
              <a:gd name="connsiteX211" fmla="*/ 2110135 w 6697570"/>
              <a:gd name="connsiteY211" fmla="*/ 2982250 h 4073898"/>
              <a:gd name="connsiteX212" fmla="*/ 2118426 w 6697570"/>
              <a:gd name="connsiteY212" fmla="*/ 2975389 h 4073898"/>
              <a:gd name="connsiteX213" fmla="*/ 2118426 w 6697570"/>
              <a:gd name="connsiteY213" fmla="*/ 2849026 h 4073898"/>
              <a:gd name="connsiteX214" fmla="*/ 2110135 w 6697570"/>
              <a:gd name="connsiteY214" fmla="*/ 2842165 h 4073898"/>
              <a:gd name="connsiteX215" fmla="*/ 2080403 w 6697570"/>
              <a:gd name="connsiteY215" fmla="*/ 2842165 h 4073898"/>
              <a:gd name="connsiteX216" fmla="*/ 2072112 w 6697570"/>
              <a:gd name="connsiteY216" fmla="*/ 2849026 h 4073898"/>
              <a:gd name="connsiteX217" fmla="*/ 2072112 w 6697570"/>
              <a:gd name="connsiteY217" fmla="*/ 2975389 h 4073898"/>
              <a:gd name="connsiteX218" fmla="*/ 2080403 w 6697570"/>
              <a:gd name="connsiteY218" fmla="*/ 2982250 h 4073898"/>
              <a:gd name="connsiteX219" fmla="*/ 2088694 w 6697570"/>
              <a:gd name="connsiteY219" fmla="*/ 2975389 h 4073898"/>
              <a:gd name="connsiteX220" fmla="*/ 2088694 w 6697570"/>
              <a:gd name="connsiteY220" fmla="*/ 2849026 h 4073898"/>
              <a:gd name="connsiteX221" fmla="*/ 2080403 w 6697570"/>
              <a:gd name="connsiteY221" fmla="*/ 2842165 h 4073898"/>
              <a:gd name="connsiteX222" fmla="*/ 2050671 w 6697570"/>
              <a:gd name="connsiteY222" fmla="*/ 2842165 h 4073898"/>
              <a:gd name="connsiteX223" fmla="*/ 2042380 w 6697570"/>
              <a:gd name="connsiteY223" fmla="*/ 2849026 h 4073898"/>
              <a:gd name="connsiteX224" fmla="*/ 2042380 w 6697570"/>
              <a:gd name="connsiteY224" fmla="*/ 2975389 h 4073898"/>
              <a:gd name="connsiteX225" fmla="*/ 2050671 w 6697570"/>
              <a:gd name="connsiteY225" fmla="*/ 2982250 h 4073898"/>
              <a:gd name="connsiteX226" fmla="*/ 2058961 w 6697570"/>
              <a:gd name="connsiteY226" fmla="*/ 2975389 h 4073898"/>
              <a:gd name="connsiteX227" fmla="*/ 2058961 w 6697570"/>
              <a:gd name="connsiteY227" fmla="*/ 2849026 h 4073898"/>
              <a:gd name="connsiteX228" fmla="*/ 2050671 w 6697570"/>
              <a:gd name="connsiteY228" fmla="*/ 2842165 h 4073898"/>
              <a:gd name="connsiteX229" fmla="*/ 2021224 w 6697570"/>
              <a:gd name="connsiteY229" fmla="*/ 2842165 h 4073898"/>
              <a:gd name="connsiteX230" fmla="*/ 2012933 w 6697570"/>
              <a:gd name="connsiteY230" fmla="*/ 2849026 h 4073898"/>
              <a:gd name="connsiteX231" fmla="*/ 2012933 w 6697570"/>
              <a:gd name="connsiteY231" fmla="*/ 2975389 h 4073898"/>
              <a:gd name="connsiteX232" fmla="*/ 2021224 w 6697570"/>
              <a:gd name="connsiteY232" fmla="*/ 2982250 h 4073898"/>
              <a:gd name="connsiteX233" fmla="*/ 2029515 w 6697570"/>
              <a:gd name="connsiteY233" fmla="*/ 2975389 h 4073898"/>
              <a:gd name="connsiteX234" fmla="*/ 2029515 w 6697570"/>
              <a:gd name="connsiteY234" fmla="*/ 2849026 h 4073898"/>
              <a:gd name="connsiteX235" fmla="*/ 2021224 w 6697570"/>
              <a:gd name="connsiteY235" fmla="*/ 2842165 h 4073898"/>
              <a:gd name="connsiteX236" fmla="*/ 1991492 w 6697570"/>
              <a:gd name="connsiteY236" fmla="*/ 2842165 h 4073898"/>
              <a:gd name="connsiteX237" fmla="*/ 1983201 w 6697570"/>
              <a:gd name="connsiteY237" fmla="*/ 2849026 h 4073898"/>
              <a:gd name="connsiteX238" fmla="*/ 1983201 w 6697570"/>
              <a:gd name="connsiteY238" fmla="*/ 2975389 h 4073898"/>
              <a:gd name="connsiteX239" fmla="*/ 1991492 w 6697570"/>
              <a:gd name="connsiteY239" fmla="*/ 2982250 h 4073898"/>
              <a:gd name="connsiteX240" fmla="*/ 1999783 w 6697570"/>
              <a:gd name="connsiteY240" fmla="*/ 2975389 h 4073898"/>
              <a:gd name="connsiteX241" fmla="*/ 1999783 w 6697570"/>
              <a:gd name="connsiteY241" fmla="*/ 2849026 h 4073898"/>
              <a:gd name="connsiteX242" fmla="*/ 1991492 w 6697570"/>
              <a:gd name="connsiteY242" fmla="*/ 2842165 h 4073898"/>
              <a:gd name="connsiteX243" fmla="*/ 1962045 w 6697570"/>
              <a:gd name="connsiteY243" fmla="*/ 2842165 h 4073898"/>
              <a:gd name="connsiteX244" fmla="*/ 1953755 w 6697570"/>
              <a:gd name="connsiteY244" fmla="*/ 2849026 h 4073898"/>
              <a:gd name="connsiteX245" fmla="*/ 1953755 w 6697570"/>
              <a:gd name="connsiteY245" fmla="*/ 2975389 h 4073898"/>
              <a:gd name="connsiteX246" fmla="*/ 1962045 w 6697570"/>
              <a:gd name="connsiteY246" fmla="*/ 2982250 h 4073898"/>
              <a:gd name="connsiteX247" fmla="*/ 1970336 w 6697570"/>
              <a:gd name="connsiteY247" fmla="*/ 2975389 h 4073898"/>
              <a:gd name="connsiteX248" fmla="*/ 1970336 w 6697570"/>
              <a:gd name="connsiteY248" fmla="*/ 2849026 h 4073898"/>
              <a:gd name="connsiteX249" fmla="*/ 1962045 w 6697570"/>
              <a:gd name="connsiteY249" fmla="*/ 2842165 h 4073898"/>
              <a:gd name="connsiteX250" fmla="*/ 5604546 w 6697570"/>
              <a:gd name="connsiteY250" fmla="*/ 2824725 h 4073898"/>
              <a:gd name="connsiteX251" fmla="*/ 5488476 w 6697570"/>
              <a:gd name="connsiteY251" fmla="*/ 2921069 h 4073898"/>
              <a:gd name="connsiteX252" fmla="*/ 5488476 w 6697570"/>
              <a:gd name="connsiteY252" fmla="*/ 2933934 h 4073898"/>
              <a:gd name="connsiteX253" fmla="*/ 5501055 w 6697570"/>
              <a:gd name="connsiteY253" fmla="*/ 2936507 h 4073898"/>
              <a:gd name="connsiteX254" fmla="*/ 5617125 w 6697570"/>
              <a:gd name="connsiteY254" fmla="*/ 2839877 h 4073898"/>
              <a:gd name="connsiteX255" fmla="*/ 5617125 w 6697570"/>
              <a:gd name="connsiteY255" fmla="*/ 2827012 h 4073898"/>
              <a:gd name="connsiteX256" fmla="*/ 5604546 w 6697570"/>
              <a:gd name="connsiteY256" fmla="*/ 2824725 h 4073898"/>
              <a:gd name="connsiteX257" fmla="*/ 2848870 w 6697570"/>
              <a:gd name="connsiteY257" fmla="*/ 2806428 h 4073898"/>
              <a:gd name="connsiteX258" fmla="*/ 2848299 w 6697570"/>
              <a:gd name="connsiteY258" fmla="*/ 3076020 h 4073898"/>
              <a:gd name="connsiteX259" fmla="*/ 2929776 w 6697570"/>
              <a:gd name="connsiteY259" fmla="*/ 3274427 h 4073898"/>
              <a:gd name="connsiteX260" fmla="*/ 3127611 w 6697570"/>
              <a:gd name="connsiteY260" fmla="*/ 3357048 h 4073898"/>
              <a:gd name="connsiteX261" fmla="*/ 3128469 w 6697570"/>
              <a:gd name="connsiteY261" fmla="*/ 3373916 h 4073898"/>
              <a:gd name="connsiteX262" fmla="*/ 3128469 w 6697570"/>
              <a:gd name="connsiteY262" fmla="*/ 3357048 h 4073898"/>
              <a:gd name="connsiteX263" fmla="*/ 3408925 w 6697570"/>
              <a:gd name="connsiteY263" fmla="*/ 3077450 h 4073898"/>
              <a:gd name="connsiteX264" fmla="*/ 3409497 w 6697570"/>
              <a:gd name="connsiteY264" fmla="*/ 2808144 h 4073898"/>
              <a:gd name="connsiteX265" fmla="*/ 3129327 w 6697570"/>
              <a:gd name="connsiteY265" fmla="*/ 2807286 h 4073898"/>
              <a:gd name="connsiteX266" fmla="*/ 5581961 w 6697570"/>
              <a:gd name="connsiteY266" fmla="*/ 2797566 h 4073898"/>
              <a:gd name="connsiteX267" fmla="*/ 5466177 w 6697570"/>
              <a:gd name="connsiteY267" fmla="*/ 2894481 h 4073898"/>
              <a:gd name="connsiteX268" fmla="*/ 5466177 w 6697570"/>
              <a:gd name="connsiteY268" fmla="*/ 2907346 h 4073898"/>
              <a:gd name="connsiteX269" fmla="*/ 5478756 w 6697570"/>
              <a:gd name="connsiteY269" fmla="*/ 2909634 h 4073898"/>
              <a:gd name="connsiteX270" fmla="*/ 5594826 w 6697570"/>
              <a:gd name="connsiteY270" fmla="*/ 2812718 h 4073898"/>
              <a:gd name="connsiteX271" fmla="*/ 5594826 w 6697570"/>
              <a:gd name="connsiteY271" fmla="*/ 2799852 h 4073898"/>
              <a:gd name="connsiteX272" fmla="*/ 5581961 w 6697570"/>
              <a:gd name="connsiteY272" fmla="*/ 2797566 h 4073898"/>
              <a:gd name="connsiteX273" fmla="*/ 5559376 w 6697570"/>
              <a:gd name="connsiteY273" fmla="*/ 2770406 h 4073898"/>
              <a:gd name="connsiteX274" fmla="*/ 5443305 w 6697570"/>
              <a:gd name="connsiteY274" fmla="*/ 2867322 h 4073898"/>
              <a:gd name="connsiteX275" fmla="*/ 5443305 w 6697570"/>
              <a:gd name="connsiteY275" fmla="*/ 2880187 h 4073898"/>
              <a:gd name="connsiteX276" fmla="*/ 5455884 w 6697570"/>
              <a:gd name="connsiteY276" fmla="*/ 2882475 h 4073898"/>
              <a:gd name="connsiteX277" fmla="*/ 5571955 w 6697570"/>
              <a:gd name="connsiteY277" fmla="*/ 2785558 h 4073898"/>
              <a:gd name="connsiteX278" fmla="*/ 5571955 w 6697570"/>
              <a:gd name="connsiteY278" fmla="*/ 2772693 h 4073898"/>
              <a:gd name="connsiteX279" fmla="*/ 5559376 w 6697570"/>
              <a:gd name="connsiteY279" fmla="*/ 2770406 h 4073898"/>
              <a:gd name="connsiteX280" fmla="*/ 3606759 w 6697570"/>
              <a:gd name="connsiteY280" fmla="*/ 2766975 h 4073898"/>
              <a:gd name="connsiteX281" fmla="*/ 3606759 w 6697570"/>
              <a:gd name="connsiteY281" fmla="*/ 2838161 h 4073898"/>
              <a:gd name="connsiteX282" fmla="*/ 3735695 w 6697570"/>
              <a:gd name="connsiteY282" fmla="*/ 2967096 h 4073898"/>
              <a:gd name="connsiteX283" fmla="*/ 3842617 w 6697570"/>
              <a:gd name="connsiteY283" fmla="*/ 2967096 h 4073898"/>
              <a:gd name="connsiteX284" fmla="*/ 3842617 w 6697570"/>
              <a:gd name="connsiteY284" fmla="*/ 2907346 h 4073898"/>
              <a:gd name="connsiteX285" fmla="*/ 3702246 w 6697570"/>
              <a:gd name="connsiteY285" fmla="*/ 2766975 h 4073898"/>
              <a:gd name="connsiteX286" fmla="*/ 5536505 w 6697570"/>
              <a:gd name="connsiteY286" fmla="*/ 2742961 h 4073898"/>
              <a:gd name="connsiteX287" fmla="*/ 5420720 w 6697570"/>
              <a:gd name="connsiteY287" fmla="*/ 2839877 h 4073898"/>
              <a:gd name="connsiteX288" fmla="*/ 5420720 w 6697570"/>
              <a:gd name="connsiteY288" fmla="*/ 2852741 h 4073898"/>
              <a:gd name="connsiteX289" fmla="*/ 5433299 w 6697570"/>
              <a:gd name="connsiteY289" fmla="*/ 2855028 h 4073898"/>
              <a:gd name="connsiteX290" fmla="*/ 5549370 w 6697570"/>
              <a:gd name="connsiteY290" fmla="*/ 2758398 h 4073898"/>
              <a:gd name="connsiteX291" fmla="*/ 5549370 w 6697570"/>
              <a:gd name="connsiteY291" fmla="*/ 2745533 h 4073898"/>
              <a:gd name="connsiteX292" fmla="*/ 5536505 w 6697570"/>
              <a:gd name="connsiteY292" fmla="*/ 2742961 h 4073898"/>
              <a:gd name="connsiteX293" fmla="*/ 5304649 w 6697570"/>
              <a:gd name="connsiteY293" fmla="*/ 2733241 h 4073898"/>
              <a:gd name="connsiteX294" fmla="*/ 5172855 w 6697570"/>
              <a:gd name="connsiteY294" fmla="*/ 2775838 h 4073898"/>
              <a:gd name="connsiteX295" fmla="*/ 4994175 w 6697570"/>
              <a:gd name="connsiteY295" fmla="*/ 2821580 h 4073898"/>
              <a:gd name="connsiteX296" fmla="*/ 4945003 w 6697570"/>
              <a:gd name="connsiteY296" fmla="*/ 2862462 h 4073898"/>
              <a:gd name="connsiteX297" fmla="*/ 5325520 w 6697570"/>
              <a:gd name="connsiteY297" fmla="*/ 3318739 h 4073898"/>
              <a:gd name="connsiteX298" fmla="*/ 5376693 w 6697570"/>
              <a:gd name="connsiteY298" fmla="*/ 3275856 h 4073898"/>
              <a:gd name="connsiteX299" fmla="*/ 5451882 w 6697570"/>
              <a:gd name="connsiteY299" fmla="*/ 3110327 h 4073898"/>
              <a:gd name="connsiteX300" fmla="*/ 5517350 w 6697570"/>
              <a:gd name="connsiteY300" fmla="*/ 2988252 h 4073898"/>
              <a:gd name="connsiteX301" fmla="*/ 4501304 w 6697570"/>
              <a:gd name="connsiteY301" fmla="*/ 2731525 h 4073898"/>
              <a:gd name="connsiteX302" fmla="*/ 4360933 w 6697570"/>
              <a:gd name="connsiteY302" fmla="*/ 2871896 h 4073898"/>
              <a:gd name="connsiteX303" fmla="*/ 4360933 w 6697570"/>
              <a:gd name="connsiteY303" fmla="*/ 2967383 h 4073898"/>
              <a:gd name="connsiteX304" fmla="*/ 4432119 w 6697570"/>
              <a:gd name="connsiteY304" fmla="*/ 2967383 h 4073898"/>
              <a:gd name="connsiteX305" fmla="*/ 4561054 w 6697570"/>
              <a:gd name="connsiteY305" fmla="*/ 2838447 h 4073898"/>
              <a:gd name="connsiteX306" fmla="*/ 4561054 w 6697570"/>
              <a:gd name="connsiteY306" fmla="*/ 2731525 h 4073898"/>
              <a:gd name="connsiteX307" fmla="*/ 5513919 w 6697570"/>
              <a:gd name="connsiteY307" fmla="*/ 2715802 h 4073898"/>
              <a:gd name="connsiteX308" fmla="*/ 5397563 w 6697570"/>
              <a:gd name="connsiteY308" fmla="*/ 2812432 h 4073898"/>
              <a:gd name="connsiteX309" fmla="*/ 5397563 w 6697570"/>
              <a:gd name="connsiteY309" fmla="*/ 2825297 h 4073898"/>
              <a:gd name="connsiteX310" fmla="*/ 5410429 w 6697570"/>
              <a:gd name="connsiteY310" fmla="*/ 2827584 h 4073898"/>
              <a:gd name="connsiteX311" fmla="*/ 5526498 w 6697570"/>
              <a:gd name="connsiteY311" fmla="*/ 2730953 h 4073898"/>
              <a:gd name="connsiteX312" fmla="*/ 5526498 w 6697570"/>
              <a:gd name="connsiteY312" fmla="*/ 2718089 h 4073898"/>
              <a:gd name="connsiteX313" fmla="*/ 5513919 w 6697570"/>
              <a:gd name="connsiteY313" fmla="*/ 2715802 h 4073898"/>
              <a:gd name="connsiteX314" fmla="*/ 5491335 w 6697570"/>
              <a:gd name="connsiteY314" fmla="*/ 2688642 h 4073898"/>
              <a:gd name="connsiteX315" fmla="*/ 5375264 w 6697570"/>
              <a:gd name="connsiteY315" fmla="*/ 2785844 h 4073898"/>
              <a:gd name="connsiteX316" fmla="*/ 5375264 w 6697570"/>
              <a:gd name="connsiteY316" fmla="*/ 2798709 h 4073898"/>
              <a:gd name="connsiteX317" fmla="*/ 5387842 w 6697570"/>
              <a:gd name="connsiteY317" fmla="*/ 2800996 h 4073898"/>
              <a:gd name="connsiteX318" fmla="*/ 5503913 w 6697570"/>
              <a:gd name="connsiteY318" fmla="*/ 2704080 h 4073898"/>
              <a:gd name="connsiteX319" fmla="*/ 5503913 w 6697570"/>
              <a:gd name="connsiteY319" fmla="*/ 2691215 h 4073898"/>
              <a:gd name="connsiteX320" fmla="*/ 5491335 w 6697570"/>
              <a:gd name="connsiteY320" fmla="*/ 2688642 h 4073898"/>
              <a:gd name="connsiteX321" fmla="*/ 5468463 w 6697570"/>
              <a:gd name="connsiteY321" fmla="*/ 2661482 h 4073898"/>
              <a:gd name="connsiteX322" fmla="*/ 5352679 w 6697570"/>
              <a:gd name="connsiteY322" fmla="*/ 2758398 h 4073898"/>
              <a:gd name="connsiteX323" fmla="*/ 5352679 w 6697570"/>
              <a:gd name="connsiteY323" fmla="*/ 2771264 h 4073898"/>
              <a:gd name="connsiteX324" fmla="*/ 5365258 w 6697570"/>
              <a:gd name="connsiteY324" fmla="*/ 2773551 h 4073898"/>
              <a:gd name="connsiteX325" fmla="*/ 5481328 w 6697570"/>
              <a:gd name="connsiteY325" fmla="*/ 2676921 h 4073898"/>
              <a:gd name="connsiteX326" fmla="*/ 5481328 w 6697570"/>
              <a:gd name="connsiteY326" fmla="*/ 2664056 h 4073898"/>
              <a:gd name="connsiteX327" fmla="*/ 5468463 w 6697570"/>
              <a:gd name="connsiteY327" fmla="*/ 2661482 h 4073898"/>
              <a:gd name="connsiteX328" fmla="*/ 5445878 w 6697570"/>
              <a:gd name="connsiteY328" fmla="*/ 2634323 h 4073898"/>
              <a:gd name="connsiteX329" fmla="*/ 5329807 w 6697570"/>
              <a:gd name="connsiteY329" fmla="*/ 2731239 h 4073898"/>
              <a:gd name="connsiteX330" fmla="*/ 5329807 w 6697570"/>
              <a:gd name="connsiteY330" fmla="*/ 2744104 h 4073898"/>
              <a:gd name="connsiteX331" fmla="*/ 5342387 w 6697570"/>
              <a:gd name="connsiteY331" fmla="*/ 2746391 h 4073898"/>
              <a:gd name="connsiteX332" fmla="*/ 5458457 w 6697570"/>
              <a:gd name="connsiteY332" fmla="*/ 2649762 h 4073898"/>
              <a:gd name="connsiteX333" fmla="*/ 5458457 w 6697570"/>
              <a:gd name="connsiteY333" fmla="*/ 2636896 h 4073898"/>
              <a:gd name="connsiteX334" fmla="*/ 5445878 w 6697570"/>
              <a:gd name="connsiteY334" fmla="*/ 2634323 h 4073898"/>
              <a:gd name="connsiteX335" fmla="*/ 5423293 w 6697570"/>
              <a:gd name="connsiteY335" fmla="*/ 2606878 h 4073898"/>
              <a:gd name="connsiteX336" fmla="*/ 5306936 w 6697570"/>
              <a:gd name="connsiteY336" fmla="*/ 2703508 h 4073898"/>
              <a:gd name="connsiteX337" fmla="*/ 5306936 w 6697570"/>
              <a:gd name="connsiteY337" fmla="*/ 2716373 h 4073898"/>
              <a:gd name="connsiteX338" fmla="*/ 5319801 w 6697570"/>
              <a:gd name="connsiteY338" fmla="*/ 2718660 h 4073898"/>
              <a:gd name="connsiteX339" fmla="*/ 5435872 w 6697570"/>
              <a:gd name="connsiteY339" fmla="*/ 2622030 h 4073898"/>
              <a:gd name="connsiteX340" fmla="*/ 5435872 w 6697570"/>
              <a:gd name="connsiteY340" fmla="*/ 2609165 h 4073898"/>
              <a:gd name="connsiteX341" fmla="*/ 5423293 w 6697570"/>
              <a:gd name="connsiteY341" fmla="*/ 2606878 h 4073898"/>
              <a:gd name="connsiteX342" fmla="*/ 5431298 w 6697570"/>
              <a:gd name="connsiteY342" fmla="*/ 2586616 h 4073898"/>
              <a:gd name="connsiteX343" fmla="*/ 5444449 w 6697570"/>
              <a:gd name="connsiteY343" fmla="*/ 2593441 h 4073898"/>
              <a:gd name="connsiteX344" fmla="*/ 5680021 w 6697570"/>
              <a:gd name="connsiteY344" fmla="*/ 2875898 h 4073898"/>
              <a:gd name="connsiteX345" fmla="*/ 5677733 w 6697570"/>
              <a:gd name="connsiteY345" fmla="*/ 2903058 h 4073898"/>
              <a:gd name="connsiteX346" fmla="*/ 5541079 w 6697570"/>
              <a:gd name="connsiteY346" fmla="*/ 3016841 h 4073898"/>
              <a:gd name="connsiteX347" fmla="*/ 5531645 w 6697570"/>
              <a:gd name="connsiteY347" fmla="*/ 3005691 h 4073898"/>
              <a:gd name="connsiteX348" fmla="*/ 5474181 w 6697570"/>
              <a:gd name="connsiteY348" fmla="*/ 3109755 h 4073898"/>
              <a:gd name="connsiteX349" fmla="*/ 5391845 w 6697570"/>
              <a:gd name="connsiteY349" fmla="*/ 3292151 h 4073898"/>
              <a:gd name="connsiteX350" fmla="*/ 5059358 w 6697570"/>
              <a:gd name="connsiteY350" fmla="*/ 3570035 h 4073898"/>
              <a:gd name="connsiteX351" fmla="*/ 4926419 w 6697570"/>
              <a:gd name="connsiteY351" fmla="*/ 3558027 h 4073898"/>
              <a:gd name="connsiteX352" fmla="*/ 4637958 w 6697570"/>
              <a:gd name="connsiteY352" fmla="*/ 3211816 h 4073898"/>
              <a:gd name="connsiteX353" fmla="*/ 4649966 w 6697570"/>
              <a:gd name="connsiteY353" fmla="*/ 3078879 h 4073898"/>
              <a:gd name="connsiteX354" fmla="*/ 4980738 w 6697570"/>
              <a:gd name="connsiteY354" fmla="*/ 2803569 h 4073898"/>
              <a:gd name="connsiteX355" fmla="*/ 5177143 w 6697570"/>
              <a:gd name="connsiteY355" fmla="*/ 2753825 h 4073898"/>
              <a:gd name="connsiteX356" fmla="*/ 5290069 w 6697570"/>
              <a:gd name="connsiteY356" fmla="*/ 2716087 h 4073898"/>
              <a:gd name="connsiteX357" fmla="*/ 5280635 w 6697570"/>
              <a:gd name="connsiteY357" fmla="*/ 2704937 h 4073898"/>
              <a:gd name="connsiteX358" fmla="*/ 5417289 w 6697570"/>
              <a:gd name="connsiteY358" fmla="*/ 2591154 h 4073898"/>
              <a:gd name="connsiteX359" fmla="*/ 5431298 w 6697570"/>
              <a:gd name="connsiteY359" fmla="*/ 2586616 h 4073898"/>
              <a:gd name="connsiteX360" fmla="*/ 5976056 w 6697570"/>
              <a:gd name="connsiteY360" fmla="*/ 2538006 h 4073898"/>
              <a:gd name="connsiteX361" fmla="*/ 5907016 w 6697570"/>
              <a:gd name="connsiteY361" fmla="*/ 2583150 h 4073898"/>
              <a:gd name="connsiteX362" fmla="*/ 5872710 w 6697570"/>
              <a:gd name="connsiteY362" fmla="*/ 2639183 h 4073898"/>
              <a:gd name="connsiteX363" fmla="*/ 5914449 w 6697570"/>
              <a:gd name="connsiteY363" fmla="*/ 2664914 h 4073898"/>
              <a:gd name="connsiteX364" fmla="*/ 6036239 w 6697570"/>
              <a:gd name="connsiteY364" fmla="*/ 2635468 h 4073898"/>
              <a:gd name="connsiteX365" fmla="*/ 6074833 w 6697570"/>
              <a:gd name="connsiteY365" fmla="*/ 2572858 h 4073898"/>
              <a:gd name="connsiteX366" fmla="*/ 6039954 w 6697570"/>
              <a:gd name="connsiteY366" fmla="*/ 2551416 h 4073898"/>
              <a:gd name="connsiteX367" fmla="*/ 6003945 w 6697570"/>
              <a:gd name="connsiteY367" fmla="*/ 2538163 h 4073898"/>
              <a:gd name="connsiteX368" fmla="*/ 5976056 w 6697570"/>
              <a:gd name="connsiteY368" fmla="*/ 2538006 h 4073898"/>
              <a:gd name="connsiteX369" fmla="*/ 2566127 w 6697570"/>
              <a:gd name="connsiteY369" fmla="*/ 2494525 h 4073898"/>
              <a:gd name="connsiteX370" fmla="*/ 2543542 w 6697570"/>
              <a:gd name="connsiteY370" fmla="*/ 2517110 h 4073898"/>
              <a:gd name="connsiteX371" fmla="*/ 2566127 w 6697570"/>
              <a:gd name="connsiteY371" fmla="*/ 2539695 h 4073898"/>
              <a:gd name="connsiteX372" fmla="*/ 2659327 w 6697570"/>
              <a:gd name="connsiteY372" fmla="*/ 2539695 h 4073898"/>
              <a:gd name="connsiteX373" fmla="*/ 2659327 w 6697570"/>
              <a:gd name="connsiteY373" fmla="*/ 2494811 h 4073898"/>
              <a:gd name="connsiteX374" fmla="*/ 2659327 w 6697570"/>
              <a:gd name="connsiteY374" fmla="*/ 2494525 h 4073898"/>
              <a:gd name="connsiteX375" fmla="*/ 1865987 w 6697570"/>
              <a:gd name="connsiteY375" fmla="*/ 2474798 h 4073898"/>
              <a:gd name="connsiteX376" fmla="*/ 1814526 w 6697570"/>
              <a:gd name="connsiteY376" fmla="*/ 2527972 h 4073898"/>
              <a:gd name="connsiteX377" fmla="*/ 1817672 w 6697570"/>
              <a:gd name="connsiteY377" fmla="*/ 2773837 h 4073898"/>
              <a:gd name="connsiteX378" fmla="*/ 1902294 w 6697570"/>
              <a:gd name="connsiteY378" fmla="*/ 2856173 h 4073898"/>
              <a:gd name="connsiteX379" fmla="*/ 1963760 w 6697570"/>
              <a:gd name="connsiteY379" fmla="*/ 2792992 h 4073898"/>
              <a:gd name="connsiteX380" fmla="*/ 1960902 w 6697570"/>
              <a:gd name="connsiteY380" fmla="*/ 2567140 h 4073898"/>
              <a:gd name="connsiteX381" fmla="*/ 1423720 w 6697570"/>
              <a:gd name="connsiteY381" fmla="*/ 2414476 h 4073898"/>
              <a:gd name="connsiteX382" fmla="*/ 1507771 w 6697570"/>
              <a:gd name="connsiteY382" fmla="*/ 2495954 h 4073898"/>
              <a:gd name="connsiteX383" fmla="*/ 1392557 w 6697570"/>
              <a:gd name="connsiteY383" fmla="*/ 2613740 h 4073898"/>
              <a:gd name="connsiteX384" fmla="*/ 1514345 w 6697570"/>
              <a:gd name="connsiteY384" fmla="*/ 2732955 h 4073898"/>
              <a:gd name="connsiteX385" fmla="*/ 1427435 w 6697570"/>
              <a:gd name="connsiteY385" fmla="*/ 2823295 h 4073898"/>
              <a:gd name="connsiteX386" fmla="*/ 1305646 w 6697570"/>
              <a:gd name="connsiteY386" fmla="*/ 2703795 h 4073898"/>
              <a:gd name="connsiteX387" fmla="*/ 1191007 w 6697570"/>
              <a:gd name="connsiteY387" fmla="*/ 2821008 h 4073898"/>
              <a:gd name="connsiteX388" fmla="*/ 1107240 w 6697570"/>
              <a:gd name="connsiteY388" fmla="*/ 2739817 h 4073898"/>
              <a:gd name="connsiteX389" fmla="*/ 1221596 w 6697570"/>
              <a:gd name="connsiteY389" fmla="*/ 2622602 h 4073898"/>
              <a:gd name="connsiteX390" fmla="*/ 1102094 w 6697570"/>
              <a:gd name="connsiteY390" fmla="*/ 2506818 h 4073898"/>
              <a:gd name="connsiteX391" fmla="*/ 1189291 w 6697570"/>
              <a:gd name="connsiteY391" fmla="*/ 2416477 h 4073898"/>
              <a:gd name="connsiteX392" fmla="*/ 1308506 w 6697570"/>
              <a:gd name="connsiteY392" fmla="*/ 2532262 h 4073898"/>
              <a:gd name="connsiteX393" fmla="*/ 2566127 w 6697570"/>
              <a:gd name="connsiteY393" fmla="*/ 2387603 h 4073898"/>
              <a:gd name="connsiteX394" fmla="*/ 2543542 w 6697570"/>
              <a:gd name="connsiteY394" fmla="*/ 2410188 h 4073898"/>
              <a:gd name="connsiteX395" fmla="*/ 2566127 w 6697570"/>
              <a:gd name="connsiteY395" fmla="*/ 2432772 h 4073898"/>
              <a:gd name="connsiteX396" fmla="*/ 2659327 w 6697570"/>
              <a:gd name="connsiteY396" fmla="*/ 2432772 h 4073898"/>
              <a:gd name="connsiteX397" fmla="*/ 2659327 w 6697570"/>
              <a:gd name="connsiteY397" fmla="*/ 2387889 h 4073898"/>
              <a:gd name="connsiteX398" fmla="*/ 2659327 w 6697570"/>
              <a:gd name="connsiteY398" fmla="*/ 2387603 h 4073898"/>
              <a:gd name="connsiteX399" fmla="*/ 715001 w 6697570"/>
              <a:gd name="connsiteY399" fmla="*/ 2382742 h 4073898"/>
              <a:gd name="connsiteX400" fmla="*/ 653534 w 6697570"/>
              <a:gd name="connsiteY400" fmla="*/ 2445924 h 4073898"/>
              <a:gd name="connsiteX401" fmla="*/ 656680 w 6697570"/>
              <a:gd name="connsiteY401" fmla="*/ 2671775 h 4073898"/>
              <a:gd name="connsiteX402" fmla="*/ 751309 w 6697570"/>
              <a:gd name="connsiteY402" fmla="*/ 2764117 h 4073898"/>
              <a:gd name="connsiteX403" fmla="*/ 803054 w 6697570"/>
              <a:gd name="connsiteY403" fmla="*/ 2710942 h 4073898"/>
              <a:gd name="connsiteX404" fmla="*/ 799624 w 6697570"/>
              <a:gd name="connsiteY404" fmla="*/ 2465078 h 4073898"/>
              <a:gd name="connsiteX405" fmla="*/ 4129935 w 6697570"/>
              <a:gd name="connsiteY405" fmla="*/ 2379311 h 4073898"/>
              <a:gd name="connsiteX406" fmla="*/ 4129935 w 6697570"/>
              <a:gd name="connsiteY406" fmla="*/ 2514536 h 4073898"/>
              <a:gd name="connsiteX407" fmla="*/ 4270306 w 6697570"/>
              <a:gd name="connsiteY407" fmla="*/ 2514822 h 4073898"/>
              <a:gd name="connsiteX408" fmla="*/ 4270878 w 6697570"/>
              <a:gd name="connsiteY408" fmla="*/ 2618028 h 4073898"/>
              <a:gd name="connsiteX409" fmla="*/ 4130507 w 6697570"/>
              <a:gd name="connsiteY409" fmla="*/ 2617741 h 4073898"/>
              <a:gd name="connsiteX410" fmla="*/ 4130507 w 6697570"/>
              <a:gd name="connsiteY410" fmla="*/ 2752395 h 4073898"/>
              <a:gd name="connsiteX411" fmla="*/ 4034449 w 6697570"/>
              <a:gd name="connsiteY411" fmla="*/ 2752681 h 4073898"/>
              <a:gd name="connsiteX412" fmla="*/ 4034449 w 6697570"/>
              <a:gd name="connsiteY412" fmla="*/ 2618028 h 4073898"/>
              <a:gd name="connsiteX413" fmla="*/ 3897794 w 6697570"/>
              <a:gd name="connsiteY413" fmla="*/ 2618599 h 4073898"/>
              <a:gd name="connsiteX414" fmla="*/ 3897222 w 6697570"/>
              <a:gd name="connsiteY414" fmla="*/ 2515394 h 4073898"/>
              <a:gd name="connsiteX415" fmla="*/ 4033877 w 6697570"/>
              <a:gd name="connsiteY415" fmla="*/ 2515108 h 4073898"/>
              <a:gd name="connsiteX416" fmla="*/ 4033877 w 6697570"/>
              <a:gd name="connsiteY416" fmla="*/ 2379597 h 4073898"/>
              <a:gd name="connsiteX417" fmla="*/ 1424861 w 6697570"/>
              <a:gd name="connsiteY417" fmla="*/ 2366732 h 4073898"/>
              <a:gd name="connsiteX418" fmla="*/ 1306789 w 6697570"/>
              <a:gd name="connsiteY418" fmla="*/ 2487949 h 4073898"/>
              <a:gd name="connsiteX419" fmla="*/ 1185858 w 6697570"/>
              <a:gd name="connsiteY419" fmla="*/ 2370163 h 4073898"/>
              <a:gd name="connsiteX420" fmla="*/ 1055779 w 6697570"/>
              <a:gd name="connsiteY420" fmla="*/ 2503386 h 4073898"/>
              <a:gd name="connsiteX421" fmla="*/ 1176997 w 6697570"/>
              <a:gd name="connsiteY421" fmla="*/ 2621173 h 4073898"/>
              <a:gd name="connsiteX422" fmla="*/ 1059210 w 6697570"/>
              <a:gd name="connsiteY422" fmla="*/ 2742389 h 4073898"/>
              <a:gd name="connsiteX423" fmla="*/ 1192434 w 6697570"/>
              <a:gd name="connsiteY423" fmla="*/ 2871896 h 4073898"/>
              <a:gd name="connsiteX424" fmla="*/ 1310506 w 6697570"/>
              <a:gd name="connsiteY424" fmla="*/ 2750680 h 4073898"/>
              <a:gd name="connsiteX425" fmla="*/ 1431723 w 6697570"/>
              <a:gd name="connsiteY425" fmla="*/ 2868466 h 4073898"/>
              <a:gd name="connsiteX426" fmla="*/ 1561516 w 6697570"/>
              <a:gd name="connsiteY426" fmla="*/ 2735242 h 4073898"/>
              <a:gd name="connsiteX427" fmla="*/ 1440299 w 6697570"/>
              <a:gd name="connsiteY427" fmla="*/ 2617456 h 4073898"/>
              <a:gd name="connsiteX428" fmla="*/ 1558085 w 6697570"/>
              <a:gd name="connsiteY428" fmla="*/ 2496239 h 4073898"/>
              <a:gd name="connsiteX429" fmla="*/ 4009004 w 6697570"/>
              <a:gd name="connsiteY429" fmla="*/ 2357869 h 4073898"/>
              <a:gd name="connsiteX430" fmla="*/ 4009004 w 6697570"/>
              <a:gd name="connsiteY430" fmla="*/ 2494524 h 4073898"/>
              <a:gd name="connsiteX431" fmla="*/ 3872349 w 6697570"/>
              <a:gd name="connsiteY431" fmla="*/ 2494524 h 4073898"/>
              <a:gd name="connsiteX432" fmla="*/ 3872349 w 6697570"/>
              <a:gd name="connsiteY432" fmla="*/ 2644615 h 4073898"/>
              <a:gd name="connsiteX433" fmla="*/ 4009004 w 6697570"/>
              <a:gd name="connsiteY433" fmla="*/ 2644615 h 4073898"/>
              <a:gd name="connsiteX434" fmla="*/ 4009004 w 6697570"/>
              <a:gd name="connsiteY434" fmla="*/ 2781270 h 4073898"/>
              <a:gd name="connsiteX435" fmla="*/ 4159095 w 6697570"/>
              <a:gd name="connsiteY435" fmla="*/ 2781270 h 4073898"/>
              <a:gd name="connsiteX436" fmla="*/ 4159095 w 6697570"/>
              <a:gd name="connsiteY436" fmla="*/ 2644615 h 4073898"/>
              <a:gd name="connsiteX437" fmla="*/ 4295750 w 6697570"/>
              <a:gd name="connsiteY437" fmla="*/ 2644615 h 4073898"/>
              <a:gd name="connsiteX438" fmla="*/ 4295750 w 6697570"/>
              <a:gd name="connsiteY438" fmla="*/ 2494524 h 4073898"/>
              <a:gd name="connsiteX439" fmla="*/ 4159095 w 6697570"/>
              <a:gd name="connsiteY439" fmla="*/ 2494524 h 4073898"/>
              <a:gd name="connsiteX440" fmla="*/ 4159095 w 6697570"/>
              <a:gd name="connsiteY440" fmla="*/ 2357869 h 4073898"/>
              <a:gd name="connsiteX441" fmla="*/ 5596542 w 6697570"/>
              <a:gd name="connsiteY441" fmla="*/ 2307554 h 4073898"/>
              <a:gd name="connsiteX442" fmla="*/ 5570813 w 6697570"/>
              <a:gd name="connsiteY442" fmla="*/ 2349294 h 4073898"/>
              <a:gd name="connsiteX443" fmla="*/ 5600259 w 6697570"/>
              <a:gd name="connsiteY443" fmla="*/ 2471082 h 4073898"/>
              <a:gd name="connsiteX444" fmla="*/ 5662869 w 6697570"/>
              <a:gd name="connsiteY444" fmla="*/ 2509677 h 4073898"/>
              <a:gd name="connsiteX445" fmla="*/ 5684309 w 6697570"/>
              <a:gd name="connsiteY445" fmla="*/ 2474512 h 4073898"/>
              <a:gd name="connsiteX446" fmla="*/ 5652576 w 6697570"/>
              <a:gd name="connsiteY446" fmla="*/ 2341861 h 4073898"/>
              <a:gd name="connsiteX447" fmla="*/ 2566127 w 6697570"/>
              <a:gd name="connsiteY447" fmla="*/ 2280394 h 4073898"/>
              <a:gd name="connsiteX448" fmla="*/ 2543542 w 6697570"/>
              <a:gd name="connsiteY448" fmla="*/ 2302980 h 4073898"/>
              <a:gd name="connsiteX449" fmla="*/ 2566127 w 6697570"/>
              <a:gd name="connsiteY449" fmla="*/ 2325565 h 4073898"/>
              <a:gd name="connsiteX450" fmla="*/ 2659327 w 6697570"/>
              <a:gd name="connsiteY450" fmla="*/ 2325565 h 4073898"/>
              <a:gd name="connsiteX451" fmla="*/ 2659327 w 6697570"/>
              <a:gd name="connsiteY451" fmla="*/ 2280680 h 4073898"/>
              <a:gd name="connsiteX452" fmla="*/ 2659327 w 6697570"/>
              <a:gd name="connsiteY452" fmla="*/ 2280394 h 4073898"/>
              <a:gd name="connsiteX453" fmla="*/ 3123323 w 6697570"/>
              <a:gd name="connsiteY453" fmla="*/ 2240942 h 4073898"/>
              <a:gd name="connsiteX454" fmla="*/ 2863165 w 6697570"/>
              <a:gd name="connsiteY454" fmla="*/ 2500814 h 4073898"/>
              <a:gd name="connsiteX455" fmla="*/ 2862593 w 6697570"/>
              <a:gd name="connsiteY455" fmla="*/ 2752110 h 4073898"/>
              <a:gd name="connsiteX456" fmla="*/ 2903189 w 6697570"/>
              <a:gd name="connsiteY456" fmla="*/ 2752110 h 4073898"/>
              <a:gd name="connsiteX457" fmla="*/ 2903761 w 6697570"/>
              <a:gd name="connsiteY457" fmla="*/ 2541410 h 4073898"/>
              <a:gd name="connsiteX458" fmla="*/ 3163919 w 6697570"/>
              <a:gd name="connsiteY458" fmla="*/ 2281538 h 4073898"/>
              <a:gd name="connsiteX459" fmla="*/ 3325160 w 6697570"/>
              <a:gd name="connsiteY459" fmla="*/ 2339001 h 4073898"/>
              <a:gd name="connsiteX460" fmla="*/ 3123323 w 6697570"/>
              <a:gd name="connsiteY460" fmla="*/ 2240942 h 4073898"/>
              <a:gd name="connsiteX461" fmla="*/ 3130470 w 6697570"/>
              <a:gd name="connsiteY461" fmla="*/ 2189482 h 4073898"/>
              <a:gd name="connsiteX462" fmla="*/ 3444375 w 6697570"/>
              <a:gd name="connsiteY462" fmla="*/ 2504245 h 4073898"/>
              <a:gd name="connsiteX463" fmla="*/ 3443518 w 6697570"/>
              <a:gd name="connsiteY463" fmla="*/ 2773837 h 4073898"/>
              <a:gd name="connsiteX464" fmla="*/ 3442660 w 6697570"/>
              <a:gd name="connsiteY464" fmla="*/ 3077164 h 4073898"/>
              <a:gd name="connsiteX465" fmla="*/ 3128469 w 6697570"/>
              <a:gd name="connsiteY465" fmla="*/ 3390212 h 4073898"/>
              <a:gd name="connsiteX466" fmla="*/ 3127611 w 6697570"/>
              <a:gd name="connsiteY466" fmla="*/ 3390212 h 4073898"/>
              <a:gd name="connsiteX467" fmla="*/ 2905762 w 6697570"/>
              <a:gd name="connsiteY467" fmla="*/ 3297584 h 4073898"/>
              <a:gd name="connsiteX468" fmla="*/ 2814564 w 6697570"/>
              <a:gd name="connsiteY468" fmla="*/ 3075449 h 4073898"/>
              <a:gd name="connsiteX469" fmla="*/ 2815421 w 6697570"/>
              <a:gd name="connsiteY469" fmla="*/ 2805856 h 4073898"/>
              <a:gd name="connsiteX470" fmla="*/ 2815421 w 6697570"/>
              <a:gd name="connsiteY470" fmla="*/ 2772693 h 4073898"/>
              <a:gd name="connsiteX471" fmla="*/ 2815421 w 6697570"/>
              <a:gd name="connsiteY471" fmla="*/ 2772122 h 4073898"/>
              <a:gd name="connsiteX472" fmla="*/ 2816279 w 6697570"/>
              <a:gd name="connsiteY472" fmla="*/ 2502529 h 4073898"/>
              <a:gd name="connsiteX473" fmla="*/ 3130470 w 6697570"/>
              <a:gd name="connsiteY473" fmla="*/ 2189482 h 4073898"/>
              <a:gd name="connsiteX474" fmla="*/ 5964765 w 6697570"/>
              <a:gd name="connsiteY474" fmla="*/ 2175187 h 4073898"/>
              <a:gd name="connsiteX475" fmla="*/ 6015081 w 6697570"/>
              <a:gd name="connsiteY475" fmla="*/ 2206635 h 4073898"/>
              <a:gd name="connsiteX476" fmla="*/ 5970197 w 6697570"/>
              <a:gd name="connsiteY476" fmla="*/ 2277820 h 4073898"/>
              <a:gd name="connsiteX477" fmla="*/ 6043671 w 6697570"/>
              <a:gd name="connsiteY477" fmla="*/ 2324134 h 4073898"/>
              <a:gd name="connsiteX478" fmla="*/ 6009935 w 6697570"/>
              <a:gd name="connsiteY478" fmla="*/ 2378454 h 4073898"/>
              <a:gd name="connsiteX479" fmla="*/ 5936463 w 6697570"/>
              <a:gd name="connsiteY479" fmla="*/ 2331854 h 4073898"/>
              <a:gd name="connsiteX480" fmla="*/ 5891864 w 6697570"/>
              <a:gd name="connsiteY480" fmla="*/ 2402183 h 4073898"/>
              <a:gd name="connsiteX481" fmla="*/ 5841261 w 6697570"/>
              <a:gd name="connsiteY481" fmla="*/ 2370449 h 4073898"/>
              <a:gd name="connsiteX482" fmla="*/ 5886147 w 6697570"/>
              <a:gd name="connsiteY482" fmla="*/ 2300120 h 4073898"/>
              <a:gd name="connsiteX483" fmla="*/ 5814388 w 6697570"/>
              <a:gd name="connsiteY483" fmla="*/ 2254950 h 4073898"/>
              <a:gd name="connsiteX484" fmla="*/ 5848123 w 6697570"/>
              <a:gd name="connsiteY484" fmla="*/ 2200918 h 4073898"/>
              <a:gd name="connsiteX485" fmla="*/ 5919881 w 6697570"/>
              <a:gd name="connsiteY485" fmla="*/ 2246087 h 4073898"/>
              <a:gd name="connsiteX486" fmla="*/ 2566127 w 6697570"/>
              <a:gd name="connsiteY486" fmla="*/ 2173472 h 4073898"/>
              <a:gd name="connsiteX487" fmla="*/ 2543542 w 6697570"/>
              <a:gd name="connsiteY487" fmla="*/ 2196058 h 4073898"/>
              <a:gd name="connsiteX488" fmla="*/ 2566127 w 6697570"/>
              <a:gd name="connsiteY488" fmla="*/ 2218357 h 4073898"/>
              <a:gd name="connsiteX489" fmla="*/ 2659327 w 6697570"/>
              <a:gd name="connsiteY489" fmla="*/ 2218357 h 4073898"/>
              <a:gd name="connsiteX490" fmla="*/ 2659327 w 6697570"/>
              <a:gd name="connsiteY490" fmla="*/ 2173472 h 4073898"/>
              <a:gd name="connsiteX491" fmla="*/ 4325196 w 6697570"/>
              <a:gd name="connsiteY491" fmla="*/ 2172043 h 4073898"/>
              <a:gd name="connsiteX492" fmla="*/ 4325196 w 6697570"/>
              <a:gd name="connsiteY492" fmla="*/ 2231792 h 4073898"/>
              <a:gd name="connsiteX493" fmla="*/ 4465568 w 6697570"/>
              <a:gd name="connsiteY493" fmla="*/ 2372164 h 4073898"/>
              <a:gd name="connsiteX494" fmla="*/ 4561054 w 6697570"/>
              <a:gd name="connsiteY494" fmla="*/ 2372164 h 4073898"/>
              <a:gd name="connsiteX495" fmla="*/ 4561054 w 6697570"/>
              <a:gd name="connsiteY495" fmla="*/ 2300978 h 4073898"/>
              <a:gd name="connsiteX496" fmla="*/ 4432119 w 6697570"/>
              <a:gd name="connsiteY496" fmla="*/ 2172043 h 4073898"/>
              <a:gd name="connsiteX497" fmla="*/ 3735981 w 6697570"/>
              <a:gd name="connsiteY497" fmla="*/ 2171757 h 4073898"/>
              <a:gd name="connsiteX498" fmla="*/ 3607046 w 6697570"/>
              <a:gd name="connsiteY498" fmla="*/ 2300692 h 4073898"/>
              <a:gd name="connsiteX499" fmla="*/ 3607046 w 6697570"/>
              <a:gd name="connsiteY499" fmla="*/ 2407614 h 4073898"/>
              <a:gd name="connsiteX500" fmla="*/ 3666796 w 6697570"/>
              <a:gd name="connsiteY500" fmla="*/ 2407614 h 4073898"/>
              <a:gd name="connsiteX501" fmla="*/ 3807167 w 6697570"/>
              <a:gd name="connsiteY501" fmla="*/ 2267243 h 4073898"/>
              <a:gd name="connsiteX502" fmla="*/ 3807167 w 6697570"/>
              <a:gd name="connsiteY502" fmla="*/ 2171757 h 4073898"/>
              <a:gd name="connsiteX503" fmla="*/ 5961335 w 6697570"/>
              <a:gd name="connsiteY503" fmla="*/ 2137450 h 4073898"/>
              <a:gd name="connsiteX504" fmla="*/ 5912162 w 6697570"/>
              <a:gd name="connsiteY504" fmla="*/ 2217498 h 4073898"/>
              <a:gd name="connsiteX505" fmla="*/ 5832114 w 6697570"/>
              <a:gd name="connsiteY505" fmla="*/ 2168326 h 4073898"/>
              <a:gd name="connsiteX506" fmla="*/ 5778081 w 6697570"/>
              <a:gd name="connsiteY506" fmla="*/ 2256379 h 4073898"/>
              <a:gd name="connsiteX507" fmla="*/ 5858129 w 6697570"/>
              <a:gd name="connsiteY507" fmla="*/ 2305553 h 4073898"/>
              <a:gd name="connsiteX508" fmla="*/ 5808957 w 6697570"/>
              <a:gd name="connsiteY508" fmla="*/ 2385602 h 4073898"/>
              <a:gd name="connsiteX509" fmla="*/ 5897010 w 6697570"/>
              <a:gd name="connsiteY509" fmla="*/ 2439634 h 4073898"/>
              <a:gd name="connsiteX510" fmla="*/ 5946469 w 6697570"/>
              <a:gd name="connsiteY510" fmla="*/ 2359585 h 4073898"/>
              <a:gd name="connsiteX511" fmla="*/ 6026231 w 6697570"/>
              <a:gd name="connsiteY511" fmla="*/ 2408758 h 4073898"/>
              <a:gd name="connsiteX512" fmla="*/ 6080265 w 6697570"/>
              <a:gd name="connsiteY512" fmla="*/ 2320705 h 4073898"/>
              <a:gd name="connsiteX513" fmla="*/ 6000215 w 6697570"/>
              <a:gd name="connsiteY513" fmla="*/ 2271532 h 4073898"/>
              <a:gd name="connsiteX514" fmla="*/ 6049389 w 6697570"/>
              <a:gd name="connsiteY514" fmla="*/ 2191484 h 4073898"/>
              <a:gd name="connsiteX515" fmla="*/ 4000427 w 6697570"/>
              <a:gd name="connsiteY515" fmla="*/ 2085418 h 4073898"/>
              <a:gd name="connsiteX516" fmla="*/ 3906084 w 6697570"/>
              <a:gd name="connsiteY516" fmla="*/ 2149171 h 4073898"/>
              <a:gd name="connsiteX517" fmla="*/ 4267447 w 6697570"/>
              <a:gd name="connsiteY517" fmla="*/ 2149171 h 4073898"/>
              <a:gd name="connsiteX518" fmla="*/ 4173390 w 6697570"/>
              <a:gd name="connsiteY518" fmla="*/ 2085418 h 4073898"/>
              <a:gd name="connsiteX519" fmla="*/ 1549548 w 6697570"/>
              <a:gd name="connsiteY519" fmla="*/ 2083229 h 4073898"/>
              <a:gd name="connsiteX520" fmla="*/ 1514058 w 6697570"/>
              <a:gd name="connsiteY520" fmla="*/ 2093137 h 4073898"/>
              <a:gd name="connsiteX521" fmla="*/ 1834539 w 6697570"/>
              <a:gd name="connsiteY521" fmla="*/ 2405042 h 4073898"/>
              <a:gd name="connsiteX522" fmla="*/ 1805950 w 6697570"/>
              <a:gd name="connsiteY522" fmla="*/ 2267243 h 4073898"/>
              <a:gd name="connsiteX523" fmla="*/ 1652428 w 6697570"/>
              <a:gd name="connsiteY523" fmla="*/ 2117724 h 4073898"/>
              <a:gd name="connsiteX524" fmla="*/ 1549548 w 6697570"/>
              <a:gd name="connsiteY524" fmla="*/ 2083229 h 4073898"/>
              <a:gd name="connsiteX525" fmla="*/ 6195477 w 6697570"/>
              <a:gd name="connsiteY525" fmla="*/ 2067408 h 4073898"/>
              <a:gd name="connsiteX526" fmla="*/ 6174036 w 6697570"/>
              <a:gd name="connsiteY526" fmla="*/ 2102572 h 4073898"/>
              <a:gd name="connsiteX527" fmla="*/ 6205484 w 6697570"/>
              <a:gd name="connsiteY527" fmla="*/ 2235510 h 4073898"/>
              <a:gd name="connsiteX528" fmla="*/ 6261517 w 6697570"/>
              <a:gd name="connsiteY528" fmla="*/ 2269816 h 4073898"/>
              <a:gd name="connsiteX529" fmla="*/ 6287248 w 6697570"/>
              <a:gd name="connsiteY529" fmla="*/ 2228077 h 4073898"/>
              <a:gd name="connsiteX530" fmla="*/ 6258087 w 6697570"/>
              <a:gd name="connsiteY530" fmla="*/ 2106002 h 4073898"/>
              <a:gd name="connsiteX531" fmla="*/ 4000427 w 6697570"/>
              <a:gd name="connsiteY531" fmla="*/ 2038533 h 4073898"/>
              <a:gd name="connsiteX532" fmla="*/ 4173390 w 6697570"/>
              <a:gd name="connsiteY532" fmla="*/ 2038533 h 4073898"/>
              <a:gd name="connsiteX533" fmla="*/ 4316906 w 6697570"/>
              <a:gd name="connsiteY533" fmla="*/ 2149171 h 4073898"/>
              <a:gd name="connsiteX534" fmla="*/ 4432119 w 6697570"/>
              <a:gd name="connsiteY534" fmla="*/ 2149171 h 4073898"/>
              <a:gd name="connsiteX535" fmla="*/ 4583926 w 6697570"/>
              <a:gd name="connsiteY535" fmla="*/ 2300978 h 4073898"/>
              <a:gd name="connsiteX536" fmla="*/ 4583926 w 6697570"/>
              <a:gd name="connsiteY536" fmla="*/ 2838161 h 4073898"/>
              <a:gd name="connsiteX537" fmla="*/ 4432119 w 6697570"/>
              <a:gd name="connsiteY537" fmla="*/ 2989968 h 4073898"/>
              <a:gd name="connsiteX538" fmla="*/ 3735981 w 6697570"/>
              <a:gd name="connsiteY538" fmla="*/ 2989968 h 4073898"/>
              <a:gd name="connsiteX539" fmla="*/ 3584174 w 6697570"/>
              <a:gd name="connsiteY539" fmla="*/ 2838161 h 4073898"/>
              <a:gd name="connsiteX540" fmla="*/ 3584174 w 6697570"/>
              <a:gd name="connsiteY540" fmla="*/ 2300978 h 4073898"/>
              <a:gd name="connsiteX541" fmla="*/ 3735981 w 6697570"/>
              <a:gd name="connsiteY541" fmla="*/ 2149171 h 4073898"/>
              <a:gd name="connsiteX542" fmla="*/ 3856912 w 6697570"/>
              <a:gd name="connsiteY542" fmla="*/ 2149171 h 4073898"/>
              <a:gd name="connsiteX543" fmla="*/ 4000427 w 6697570"/>
              <a:gd name="connsiteY543" fmla="*/ 2038533 h 4073898"/>
              <a:gd name="connsiteX544" fmla="*/ 5748920 w 6697570"/>
              <a:gd name="connsiteY544" fmla="*/ 2029956 h 4073898"/>
              <a:gd name="connsiteX545" fmla="*/ 5677733 w 6697570"/>
              <a:gd name="connsiteY545" fmla="*/ 2061976 h 4073898"/>
              <a:gd name="connsiteX546" fmla="*/ 5615411 w 6697570"/>
              <a:gd name="connsiteY546" fmla="*/ 2163180 h 4073898"/>
              <a:gd name="connsiteX547" fmla="*/ 5618841 w 6697570"/>
              <a:gd name="connsiteY547" fmla="*/ 2241514 h 4073898"/>
              <a:gd name="connsiteX548" fmla="*/ 2807416 w 6697570"/>
              <a:gd name="connsiteY548" fmla="*/ 1947335 h 4073898"/>
              <a:gd name="connsiteX549" fmla="*/ 2807416 w 6697570"/>
              <a:gd name="connsiteY549" fmla="*/ 2010802 h 4073898"/>
              <a:gd name="connsiteX550" fmla="*/ 2897185 w 6697570"/>
              <a:gd name="connsiteY550" fmla="*/ 2100571 h 4073898"/>
              <a:gd name="connsiteX551" fmla="*/ 3459527 w 6697570"/>
              <a:gd name="connsiteY551" fmla="*/ 2100571 h 4073898"/>
              <a:gd name="connsiteX552" fmla="*/ 3549010 w 6697570"/>
              <a:gd name="connsiteY552" fmla="*/ 2010802 h 4073898"/>
              <a:gd name="connsiteX553" fmla="*/ 3549010 w 6697570"/>
              <a:gd name="connsiteY553" fmla="*/ 1947335 h 4073898"/>
              <a:gd name="connsiteX554" fmla="*/ 1229600 w 6697570"/>
              <a:gd name="connsiteY554" fmla="*/ 1920997 h 4073898"/>
              <a:gd name="connsiteX555" fmla="*/ 1116960 w 6697570"/>
              <a:gd name="connsiteY555" fmla="*/ 1969062 h 4073898"/>
              <a:gd name="connsiteX556" fmla="*/ 1024617 w 6697570"/>
              <a:gd name="connsiteY556" fmla="*/ 2063977 h 4073898"/>
              <a:gd name="connsiteX557" fmla="*/ 1077793 w 6697570"/>
              <a:gd name="connsiteY557" fmla="*/ 2115722 h 4073898"/>
              <a:gd name="connsiteX558" fmla="*/ 1323657 w 6697570"/>
              <a:gd name="connsiteY558" fmla="*/ 2112292 h 4073898"/>
              <a:gd name="connsiteX559" fmla="*/ 1406278 w 6697570"/>
              <a:gd name="connsiteY559" fmla="*/ 2027669 h 4073898"/>
              <a:gd name="connsiteX560" fmla="*/ 1343097 w 6697570"/>
              <a:gd name="connsiteY560" fmla="*/ 1966203 h 4073898"/>
              <a:gd name="connsiteX561" fmla="*/ 1229600 w 6697570"/>
              <a:gd name="connsiteY561" fmla="*/ 1920997 h 4073898"/>
              <a:gd name="connsiteX562" fmla="*/ 5884866 w 6697570"/>
              <a:gd name="connsiteY562" fmla="*/ 1900269 h 4073898"/>
              <a:gd name="connsiteX563" fmla="*/ 5821822 w 6697570"/>
              <a:gd name="connsiteY563" fmla="*/ 1941618 h 4073898"/>
              <a:gd name="connsiteX564" fmla="*/ 5783227 w 6697570"/>
              <a:gd name="connsiteY564" fmla="*/ 2004226 h 4073898"/>
              <a:gd name="connsiteX565" fmla="*/ 5818105 w 6697570"/>
              <a:gd name="connsiteY565" fmla="*/ 2025668 h 4073898"/>
              <a:gd name="connsiteX566" fmla="*/ 5951043 w 6697570"/>
              <a:gd name="connsiteY566" fmla="*/ 1993934 h 4073898"/>
              <a:gd name="connsiteX567" fmla="*/ 5985351 w 6697570"/>
              <a:gd name="connsiteY567" fmla="*/ 1938186 h 4073898"/>
              <a:gd name="connsiteX568" fmla="*/ 5943610 w 6697570"/>
              <a:gd name="connsiteY568" fmla="*/ 1912457 h 4073898"/>
              <a:gd name="connsiteX569" fmla="*/ 5910509 w 6697570"/>
              <a:gd name="connsiteY569" fmla="*/ 1900409 h 4073898"/>
              <a:gd name="connsiteX570" fmla="*/ 5884866 w 6697570"/>
              <a:gd name="connsiteY570" fmla="*/ 1900269 h 4073898"/>
              <a:gd name="connsiteX571" fmla="*/ 5174531 w 6697570"/>
              <a:gd name="connsiteY571" fmla="*/ 1893544 h 4073898"/>
              <a:gd name="connsiteX572" fmla="*/ 5068792 w 6697570"/>
              <a:gd name="connsiteY572" fmla="*/ 1905596 h 4073898"/>
              <a:gd name="connsiteX573" fmla="*/ 5075939 w 6697570"/>
              <a:gd name="connsiteY573" fmla="*/ 1923892 h 4073898"/>
              <a:gd name="connsiteX574" fmla="*/ 5398993 w 6697570"/>
              <a:gd name="connsiteY574" fmla="*/ 2097712 h 4073898"/>
              <a:gd name="connsiteX575" fmla="*/ 5381554 w 6697570"/>
              <a:gd name="connsiteY575" fmla="*/ 2332712 h 4073898"/>
              <a:gd name="connsiteX576" fmla="*/ 5413859 w 6697570"/>
              <a:gd name="connsiteY576" fmla="*/ 2073412 h 4073898"/>
              <a:gd name="connsiteX577" fmla="*/ 5174531 w 6697570"/>
              <a:gd name="connsiteY577" fmla="*/ 1893544 h 4073898"/>
              <a:gd name="connsiteX578" fmla="*/ 5005038 w 6697570"/>
              <a:gd name="connsiteY578" fmla="*/ 1893016 h 4073898"/>
              <a:gd name="connsiteX579" fmla="*/ 5234321 w 6697570"/>
              <a:gd name="connsiteY579" fmla="*/ 2499384 h 4073898"/>
              <a:gd name="connsiteX580" fmla="*/ 4833220 w 6697570"/>
              <a:gd name="connsiteY580" fmla="*/ 2304408 h 4073898"/>
              <a:gd name="connsiteX581" fmla="*/ 5005038 w 6697570"/>
              <a:gd name="connsiteY581" fmla="*/ 1893016 h 4073898"/>
              <a:gd name="connsiteX582" fmla="*/ 1228885 w 6697570"/>
              <a:gd name="connsiteY582" fmla="*/ 1892766 h 4073898"/>
              <a:gd name="connsiteX583" fmla="*/ 1362538 w 6697570"/>
              <a:gd name="connsiteY583" fmla="*/ 1945905 h 4073898"/>
              <a:gd name="connsiteX584" fmla="*/ 1470031 w 6697570"/>
              <a:gd name="connsiteY584" fmla="*/ 2050540 h 4073898"/>
              <a:gd name="connsiteX585" fmla="*/ 1692738 w 6697570"/>
              <a:gd name="connsiteY585" fmla="*/ 2076270 h 4073898"/>
              <a:gd name="connsiteX586" fmla="*/ 1846260 w 6697570"/>
              <a:gd name="connsiteY586" fmla="*/ 2225790 h 4073898"/>
              <a:gd name="connsiteX587" fmla="*/ 1877993 w 6697570"/>
              <a:gd name="connsiteY587" fmla="*/ 2447638 h 4073898"/>
              <a:gd name="connsiteX588" fmla="*/ 1980342 w 6697570"/>
              <a:gd name="connsiteY588" fmla="*/ 2547127 h 4073898"/>
              <a:gd name="connsiteX589" fmla="*/ 1984058 w 6697570"/>
              <a:gd name="connsiteY589" fmla="*/ 2812432 h 4073898"/>
              <a:gd name="connsiteX590" fmla="*/ 1969027 w 6697570"/>
              <a:gd name="connsiteY590" fmla="*/ 2827870 h 4073898"/>
              <a:gd name="connsiteX591" fmla="*/ 2263657 w 6697570"/>
              <a:gd name="connsiteY591" fmla="*/ 2827870 h 4073898"/>
              <a:gd name="connsiteX592" fmla="*/ 2279667 w 6697570"/>
              <a:gd name="connsiteY592" fmla="*/ 2843880 h 4073898"/>
              <a:gd name="connsiteX593" fmla="*/ 2279667 w 6697570"/>
              <a:gd name="connsiteY593" fmla="*/ 2992541 h 4073898"/>
              <a:gd name="connsiteX594" fmla="*/ 2267660 w 6697570"/>
              <a:gd name="connsiteY594" fmla="*/ 2992541 h 4073898"/>
              <a:gd name="connsiteX595" fmla="*/ 2303682 w 6697570"/>
              <a:gd name="connsiteY595" fmla="*/ 3085169 h 4073898"/>
              <a:gd name="connsiteX596" fmla="*/ 2376583 w 6697570"/>
              <a:gd name="connsiteY596" fmla="*/ 3235546 h 4073898"/>
              <a:gd name="connsiteX597" fmla="*/ 2377155 w 6697570"/>
              <a:gd name="connsiteY597" fmla="*/ 3597195 h 4073898"/>
              <a:gd name="connsiteX598" fmla="*/ 2298250 w 6697570"/>
              <a:gd name="connsiteY598" fmla="*/ 3676100 h 4073898"/>
              <a:gd name="connsiteX599" fmla="*/ 1921735 w 6697570"/>
              <a:gd name="connsiteY599" fmla="*/ 3676100 h 4073898"/>
              <a:gd name="connsiteX600" fmla="*/ 1842830 w 6697570"/>
              <a:gd name="connsiteY600" fmla="*/ 3597195 h 4073898"/>
              <a:gd name="connsiteX601" fmla="*/ 1843116 w 6697570"/>
              <a:gd name="connsiteY601" fmla="*/ 3237833 h 4073898"/>
              <a:gd name="connsiteX602" fmla="*/ 1916303 w 6697570"/>
              <a:gd name="connsiteY602" fmla="*/ 3085169 h 4073898"/>
              <a:gd name="connsiteX603" fmla="*/ 1952611 w 6697570"/>
              <a:gd name="connsiteY603" fmla="*/ 2992541 h 4073898"/>
              <a:gd name="connsiteX604" fmla="*/ 1940318 w 6697570"/>
              <a:gd name="connsiteY604" fmla="*/ 2992541 h 4073898"/>
              <a:gd name="connsiteX605" fmla="*/ 1940318 w 6697570"/>
              <a:gd name="connsiteY605" fmla="*/ 2857358 h 4073898"/>
              <a:gd name="connsiteX606" fmla="*/ 1520062 w 6697570"/>
              <a:gd name="connsiteY606" fmla="*/ 3289007 h 4073898"/>
              <a:gd name="connsiteX607" fmla="*/ 1254471 w 6697570"/>
              <a:gd name="connsiteY607" fmla="*/ 3292724 h 4073898"/>
              <a:gd name="connsiteX608" fmla="*/ 636954 w 6697570"/>
              <a:gd name="connsiteY608" fmla="*/ 2691787 h 4073898"/>
              <a:gd name="connsiteX609" fmla="*/ 633236 w 6697570"/>
              <a:gd name="connsiteY609" fmla="*/ 2426197 h 4073898"/>
              <a:gd name="connsiteX610" fmla="*/ 1096947 w 6697570"/>
              <a:gd name="connsiteY610" fmla="*/ 1949622 h 4073898"/>
              <a:gd name="connsiteX611" fmla="*/ 1228885 w 6697570"/>
              <a:gd name="connsiteY611" fmla="*/ 1892766 h 4073898"/>
              <a:gd name="connsiteX612" fmla="*/ 5882779 w 6697570"/>
              <a:gd name="connsiteY612" fmla="*/ 1884768 h 4073898"/>
              <a:gd name="connsiteX613" fmla="*/ 5912949 w 6697570"/>
              <a:gd name="connsiteY613" fmla="*/ 1884963 h 4073898"/>
              <a:gd name="connsiteX614" fmla="*/ 5951901 w 6697570"/>
              <a:gd name="connsiteY614" fmla="*/ 1899306 h 4073898"/>
              <a:gd name="connsiteX615" fmla="*/ 6266663 w 6697570"/>
              <a:gd name="connsiteY615" fmla="*/ 2092852 h 4073898"/>
              <a:gd name="connsiteX616" fmla="*/ 6300685 w 6697570"/>
              <a:gd name="connsiteY616" fmla="*/ 2236367 h 4073898"/>
              <a:gd name="connsiteX617" fmla="*/ 6049960 w 6697570"/>
              <a:gd name="connsiteY617" fmla="*/ 2644044 h 4073898"/>
              <a:gd name="connsiteX618" fmla="*/ 5906445 w 6697570"/>
              <a:gd name="connsiteY618" fmla="*/ 2678064 h 4073898"/>
              <a:gd name="connsiteX619" fmla="*/ 5591682 w 6697570"/>
              <a:gd name="connsiteY619" fmla="*/ 2484518 h 4073898"/>
              <a:gd name="connsiteX620" fmla="*/ 5557375 w 6697570"/>
              <a:gd name="connsiteY620" fmla="*/ 2341002 h 4073898"/>
              <a:gd name="connsiteX621" fmla="*/ 5601116 w 6697570"/>
              <a:gd name="connsiteY621" fmla="*/ 2270103 h 4073898"/>
              <a:gd name="connsiteX622" fmla="*/ 5587966 w 6697570"/>
              <a:gd name="connsiteY622" fmla="*/ 2146313 h 4073898"/>
              <a:gd name="connsiteX623" fmla="*/ 5650289 w 6697570"/>
              <a:gd name="connsiteY623" fmla="*/ 2044823 h 4073898"/>
              <a:gd name="connsiteX624" fmla="*/ 5766645 w 6697570"/>
              <a:gd name="connsiteY624" fmla="*/ 2000796 h 4073898"/>
              <a:gd name="connsiteX625" fmla="*/ 5808099 w 6697570"/>
              <a:gd name="connsiteY625" fmla="*/ 1933326 h 4073898"/>
              <a:gd name="connsiteX626" fmla="*/ 5882779 w 6697570"/>
              <a:gd name="connsiteY626" fmla="*/ 1884768 h 4073898"/>
              <a:gd name="connsiteX627" fmla="*/ 5162569 w 6697570"/>
              <a:gd name="connsiteY627" fmla="*/ 1865580 h 4073898"/>
              <a:gd name="connsiteX628" fmla="*/ 5440733 w 6697570"/>
              <a:gd name="connsiteY628" fmla="*/ 2074555 h 4073898"/>
              <a:gd name="connsiteX629" fmla="*/ 5268913 w 6697570"/>
              <a:gd name="connsiteY629" fmla="*/ 2485948 h 4073898"/>
              <a:gd name="connsiteX630" fmla="*/ 5039632 w 6697570"/>
              <a:gd name="connsiteY630" fmla="*/ 1879579 h 4073898"/>
              <a:gd name="connsiteX631" fmla="*/ 5162569 w 6697570"/>
              <a:gd name="connsiteY631" fmla="*/ 1865580 h 4073898"/>
              <a:gd name="connsiteX632" fmla="*/ 759601 w 6697570"/>
              <a:gd name="connsiteY632" fmla="*/ 1705474 h 4073898"/>
              <a:gd name="connsiteX633" fmla="*/ 721577 w 6697570"/>
              <a:gd name="connsiteY633" fmla="*/ 1712621 h 4073898"/>
              <a:gd name="connsiteX634" fmla="*/ 737873 w 6697570"/>
              <a:gd name="connsiteY634" fmla="*/ 1734348 h 4073898"/>
              <a:gd name="connsiteX635" fmla="*/ 819352 w 6697570"/>
              <a:gd name="connsiteY635" fmla="*/ 1944191 h 4073898"/>
              <a:gd name="connsiteX636" fmla="*/ 632667 w 6697570"/>
              <a:gd name="connsiteY636" fmla="*/ 2063120 h 4073898"/>
              <a:gd name="connsiteX637" fmla="*/ 383372 w 6697570"/>
              <a:gd name="connsiteY637" fmla="*/ 1873290 h 4073898"/>
              <a:gd name="connsiteX638" fmla="*/ 297320 w 6697570"/>
              <a:gd name="connsiteY638" fmla="*/ 1716052 h 4073898"/>
              <a:gd name="connsiteX639" fmla="*/ 276164 w 6697570"/>
              <a:gd name="connsiteY639" fmla="*/ 1744640 h 4073898"/>
              <a:gd name="connsiteX640" fmla="*/ 351067 w 6697570"/>
              <a:gd name="connsiteY640" fmla="*/ 1886155 h 4073898"/>
              <a:gd name="connsiteX641" fmla="*/ 639528 w 6697570"/>
              <a:gd name="connsiteY641" fmla="*/ 2097998 h 4073898"/>
              <a:gd name="connsiteX642" fmla="*/ 852801 w 6697570"/>
              <a:gd name="connsiteY642" fmla="*/ 1955340 h 4073898"/>
              <a:gd name="connsiteX643" fmla="*/ 763602 w 6697570"/>
              <a:gd name="connsiteY643" fmla="*/ 1710619 h 4073898"/>
              <a:gd name="connsiteX644" fmla="*/ 759601 w 6697570"/>
              <a:gd name="connsiteY644" fmla="*/ 1705474 h 4073898"/>
              <a:gd name="connsiteX645" fmla="*/ 1248183 w 6697570"/>
              <a:gd name="connsiteY645" fmla="*/ 1639719 h 4073898"/>
              <a:gd name="connsiteX646" fmla="*/ 1235031 w 6697570"/>
              <a:gd name="connsiteY646" fmla="*/ 1643150 h 4073898"/>
              <a:gd name="connsiteX647" fmla="*/ 1233317 w 6697570"/>
              <a:gd name="connsiteY647" fmla="*/ 1645151 h 4073898"/>
              <a:gd name="connsiteX648" fmla="*/ 1232744 w 6697570"/>
              <a:gd name="connsiteY648" fmla="*/ 1643722 h 4073898"/>
              <a:gd name="connsiteX649" fmla="*/ 1225597 w 6697570"/>
              <a:gd name="connsiteY649" fmla="*/ 1645723 h 4073898"/>
              <a:gd name="connsiteX650" fmla="*/ 1226169 w 6697570"/>
              <a:gd name="connsiteY650" fmla="*/ 1658017 h 4073898"/>
              <a:gd name="connsiteX651" fmla="*/ 1237034 w 6697570"/>
              <a:gd name="connsiteY651" fmla="*/ 1669166 h 4073898"/>
              <a:gd name="connsiteX652" fmla="*/ 1247611 w 6697570"/>
              <a:gd name="connsiteY652" fmla="*/ 1658588 h 4073898"/>
              <a:gd name="connsiteX653" fmla="*/ 3207945 w 6697570"/>
              <a:gd name="connsiteY653" fmla="*/ 1630571 h 4073898"/>
              <a:gd name="connsiteX654" fmla="*/ 3208231 w 6697570"/>
              <a:gd name="connsiteY654" fmla="*/ 1718053 h 4073898"/>
              <a:gd name="connsiteX655" fmla="*/ 3299144 w 6697570"/>
              <a:gd name="connsiteY655" fmla="*/ 1718053 h 4073898"/>
              <a:gd name="connsiteX656" fmla="*/ 3299716 w 6697570"/>
              <a:gd name="connsiteY656" fmla="*/ 1784664 h 4073898"/>
              <a:gd name="connsiteX657" fmla="*/ 3208517 w 6697570"/>
              <a:gd name="connsiteY657" fmla="*/ 1784664 h 4073898"/>
              <a:gd name="connsiteX658" fmla="*/ 3208803 w 6697570"/>
              <a:gd name="connsiteY658" fmla="*/ 1871574 h 4073898"/>
              <a:gd name="connsiteX659" fmla="*/ 3146194 w 6697570"/>
              <a:gd name="connsiteY659" fmla="*/ 1871860 h 4073898"/>
              <a:gd name="connsiteX660" fmla="*/ 3146194 w 6697570"/>
              <a:gd name="connsiteY660" fmla="*/ 1784950 h 4073898"/>
              <a:gd name="connsiteX661" fmla="*/ 3057282 w 6697570"/>
              <a:gd name="connsiteY661" fmla="*/ 1785521 h 4073898"/>
              <a:gd name="connsiteX662" fmla="*/ 3056711 w 6697570"/>
              <a:gd name="connsiteY662" fmla="*/ 1718910 h 4073898"/>
              <a:gd name="connsiteX663" fmla="*/ 3145621 w 6697570"/>
              <a:gd name="connsiteY663" fmla="*/ 1718339 h 4073898"/>
              <a:gd name="connsiteX664" fmla="*/ 3145336 w 6697570"/>
              <a:gd name="connsiteY664" fmla="*/ 1630857 h 4073898"/>
              <a:gd name="connsiteX665" fmla="*/ 2001497 w 6697570"/>
              <a:gd name="connsiteY665" fmla="*/ 1615705 h 4073898"/>
              <a:gd name="connsiteX666" fmla="*/ 2173030 w 6697570"/>
              <a:gd name="connsiteY666" fmla="*/ 1615705 h 4073898"/>
              <a:gd name="connsiteX667" fmla="*/ 1966619 w 6697570"/>
              <a:gd name="connsiteY667" fmla="*/ 1827548 h 4073898"/>
              <a:gd name="connsiteX668" fmla="*/ 3125895 w 6697570"/>
              <a:gd name="connsiteY668" fmla="*/ 1604270 h 4073898"/>
              <a:gd name="connsiteX669" fmla="*/ 3125895 w 6697570"/>
              <a:gd name="connsiteY669" fmla="*/ 1699185 h 4073898"/>
              <a:gd name="connsiteX670" fmla="*/ 3030981 w 6697570"/>
              <a:gd name="connsiteY670" fmla="*/ 1699185 h 4073898"/>
              <a:gd name="connsiteX671" fmla="*/ 3030981 w 6697570"/>
              <a:gd name="connsiteY671" fmla="*/ 1803534 h 4073898"/>
              <a:gd name="connsiteX672" fmla="*/ 3125895 w 6697570"/>
              <a:gd name="connsiteY672" fmla="*/ 1803534 h 4073898"/>
              <a:gd name="connsiteX673" fmla="*/ 3125895 w 6697570"/>
              <a:gd name="connsiteY673" fmla="*/ 1898448 h 4073898"/>
              <a:gd name="connsiteX674" fmla="*/ 3230530 w 6697570"/>
              <a:gd name="connsiteY674" fmla="*/ 1898448 h 4073898"/>
              <a:gd name="connsiteX675" fmla="*/ 3230530 w 6697570"/>
              <a:gd name="connsiteY675" fmla="*/ 1803534 h 4073898"/>
              <a:gd name="connsiteX676" fmla="*/ 3325445 w 6697570"/>
              <a:gd name="connsiteY676" fmla="*/ 1803534 h 4073898"/>
              <a:gd name="connsiteX677" fmla="*/ 3325445 w 6697570"/>
              <a:gd name="connsiteY677" fmla="*/ 1699185 h 4073898"/>
              <a:gd name="connsiteX678" fmla="*/ 3230530 w 6697570"/>
              <a:gd name="connsiteY678" fmla="*/ 1699185 h 4073898"/>
              <a:gd name="connsiteX679" fmla="*/ 3230530 w 6697570"/>
              <a:gd name="connsiteY679" fmla="*/ 1604270 h 4073898"/>
              <a:gd name="connsiteX680" fmla="*/ 1234460 w 6697570"/>
              <a:gd name="connsiteY680" fmla="*/ 1516215 h 4073898"/>
              <a:gd name="connsiteX681" fmla="*/ 1222168 w 6697570"/>
              <a:gd name="connsiteY681" fmla="*/ 1532797 h 4073898"/>
              <a:gd name="connsiteX682" fmla="*/ 1224454 w 6697570"/>
              <a:gd name="connsiteY682" fmla="*/ 1602554 h 4073898"/>
              <a:gd name="connsiteX683" fmla="*/ 1235604 w 6697570"/>
              <a:gd name="connsiteY683" fmla="*/ 1630285 h 4073898"/>
              <a:gd name="connsiteX684" fmla="*/ 1246467 w 6697570"/>
              <a:gd name="connsiteY684" fmla="*/ 1618278 h 4073898"/>
              <a:gd name="connsiteX685" fmla="*/ 1249326 w 6697570"/>
              <a:gd name="connsiteY685" fmla="*/ 1615133 h 4073898"/>
              <a:gd name="connsiteX686" fmla="*/ 1252185 w 6697570"/>
              <a:gd name="connsiteY686" fmla="*/ 1525936 h 4073898"/>
              <a:gd name="connsiteX687" fmla="*/ 1251327 w 6697570"/>
              <a:gd name="connsiteY687" fmla="*/ 1525650 h 4073898"/>
              <a:gd name="connsiteX688" fmla="*/ 1234460 w 6697570"/>
              <a:gd name="connsiteY688" fmla="*/ 1516215 h 4073898"/>
              <a:gd name="connsiteX689" fmla="*/ 4126504 w 6697570"/>
              <a:gd name="connsiteY689" fmla="*/ 1487626 h 4073898"/>
              <a:gd name="connsiteX690" fmla="*/ 4096200 w 6697570"/>
              <a:gd name="connsiteY690" fmla="*/ 1515644 h 4073898"/>
              <a:gd name="connsiteX691" fmla="*/ 4151091 w 6697570"/>
              <a:gd name="connsiteY691" fmla="*/ 1692609 h 4073898"/>
              <a:gd name="connsiteX692" fmla="*/ 4434120 w 6697570"/>
              <a:gd name="connsiteY692" fmla="*/ 1995936 h 4073898"/>
              <a:gd name="connsiteX693" fmla="*/ 4707429 w 6697570"/>
              <a:gd name="connsiteY693" fmla="*/ 1879294 h 4073898"/>
              <a:gd name="connsiteX694" fmla="*/ 4658542 w 6697570"/>
              <a:gd name="connsiteY694" fmla="*/ 1581112 h 4073898"/>
              <a:gd name="connsiteX695" fmla="*/ 4655112 w 6697570"/>
              <a:gd name="connsiteY695" fmla="*/ 1574537 h 4073898"/>
              <a:gd name="connsiteX696" fmla="*/ 4610227 w 6697570"/>
              <a:gd name="connsiteY696" fmla="*/ 1574537 h 4073898"/>
              <a:gd name="connsiteX697" fmla="*/ 4624235 w 6697570"/>
              <a:gd name="connsiteY697" fmla="*/ 1602840 h 4073898"/>
              <a:gd name="connsiteX698" fmla="*/ 4671979 w 6697570"/>
              <a:gd name="connsiteY698" fmla="*/ 1859282 h 4073898"/>
              <a:gd name="connsiteX699" fmla="*/ 4433834 w 6697570"/>
              <a:gd name="connsiteY699" fmla="*/ 1954768 h 4073898"/>
              <a:gd name="connsiteX700" fmla="*/ 4190829 w 6697570"/>
              <a:gd name="connsiteY700" fmla="*/ 1685176 h 4073898"/>
              <a:gd name="connsiteX701" fmla="*/ 4126504 w 6697570"/>
              <a:gd name="connsiteY701" fmla="*/ 1487626 h 4073898"/>
              <a:gd name="connsiteX702" fmla="*/ 1678158 w 6697570"/>
              <a:gd name="connsiteY702" fmla="*/ 1471617 h 4073898"/>
              <a:gd name="connsiteX703" fmla="*/ 1725615 w 6697570"/>
              <a:gd name="connsiteY703" fmla="*/ 1796671 h 4073898"/>
              <a:gd name="connsiteX704" fmla="*/ 1736765 w 6697570"/>
              <a:gd name="connsiteY704" fmla="*/ 1805248 h 4073898"/>
              <a:gd name="connsiteX705" fmla="*/ 1748200 w 6697570"/>
              <a:gd name="connsiteY705" fmla="*/ 1796958 h 4073898"/>
              <a:gd name="connsiteX706" fmla="*/ 1777075 w 6697570"/>
              <a:gd name="connsiteY706" fmla="*/ 1660589 h 4073898"/>
              <a:gd name="connsiteX707" fmla="*/ 1779362 w 6697570"/>
              <a:gd name="connsiteY707" fmla="*/ 1680887 h 4073898"/>
              <a:gd name="connsiteX708" fmla="*/ 1791370 w 6697570"/>
              <a:gd name="connsiteY708" fmla="*/ 1691465 h 4073898"/>
              <a:gd name="connsiteX709" fmla="*/ 1802519 w 6697570"/>
              <a:gd name="connsiteY709" fmla="*/ 1683745 h 4073898"/>
              <a:gd name="connsiteX710" fmla="*/ 1871990 w 6697570"/>
              <a:gd name="connsiteY710" fmla="*/ 1491629 h 4073898"/>
              <a:gd name="connsiteX711" fmla="*/ 1926881 w 6697570"/>
              <a:gd name="connsiteY711" fmla="*/ 1857566 h 4073898"/>
              <a:gd name="connsiteX712" fmla="*/ 1843401 w 6697570"/>
              <a:gd name="connsiteY712" fmla="*/ 1915030 h 4073898"/>
              <a:gd name="connsiteX713" fmla="*/ 1513487 w 6697570"/>
              <a:gd name="connsiteY713" fmla="*/ 1615418 h 4073898"/>
              <a:gd name="connsiteX714" fmla="*/ 1621553 w 6697570"/>
              <a:gd name="connsiteY714" fmla="*/ 1615418 h 4073898"/>
              <a:gd name="connsiteX715" fmla="*/ 1632988 w 6697570"/>
              <a:gd name="connsiteY715" fmla="*/ 1607414 h 4073898"/>
              <a:gd name="connsiteX716" fmla="*/ 6065685 w 6697570"/>
              <a:gd name="connsiteY716" fmla="*/ 1429878 h 4073898"/>
              <a:gd name="connsiteX717" fmla="*/ 6058537 w 6697570"/>
              <a:gd name="connsiteY717" fmla="*/ 1471903 h 4073898"/>
              <a:gd name="connsiteX718" fmla="*/ 6107710 w 6697570"/>
              <a:gd name="connsiteY718" fmla="*/ 1541089 h 4073898"/>
              <a:gd name="connsiteX719" fmla="*/ 6478793 w 6697570"/>
              <a:gd name="connsiteY719" fmla="*/ 1603983 h 4073898"/>
              <a:gd name="connsiteX720" fmla="*/ 6548263 w 6697570"/>
              <a:gd name="connsiteY720" fmla="*/ 1554810 h 4073898"/>
              <a:gd name="connsiteX721" fmla="*/ 6555411 w 6697570"/>
              <a:gd name="connsiteY721" fmla="*/ 1512785 h 4073898"/>
              <a:gd name="connsiteX722" fmla="*/ 1230744 w 6697570"/>
              <a:gd name="connsiteY722" fmla="*/ 1380704 h 4073898"/>
              <a:gd name="connsiteX723" fmla="*/ 1228458 w 6697570"/>
              <a:gd name="connsiteY723" fmla="*/ 1388710 h 4073898"/>
              <a:gd name="connsiteX724" fmla="*/ 1228170 w 6697570"/>
              <a:gd name="connsiteY724" fmla="*/ 1391283 h 4073898"/>
              <a:gd name="connsiteX725" fmla="*/ 1240464 w 6697570"/>
              <a:gd name="connsiteY725" fmla="*/ 1425303 h 4073898"/>
              <a:gd name="connsiteX726" fmla="*/ 1230744 w 6697570"/>
              <a:gd name="connsiteY726" fmla="*/ 1380704 h 4073898"/>
              <a:gd name="connsiteX727" fmla="*/ 1228743 w 6697570"/>
              <a:gd name="connsiteY727" fmla="*/ 1349543 h 4073898"/>
              <a:gd name="connsiteX728" fmla="*/ 1236462 w 6697570"/>
              <a:gd name="connsiteY728" fmla="*/ 1355261 h 4073898"/>
              <a:gd name="connsiteX729" fmla="*/ 1252471 w 6697570"/>
              <a:gd name="connsiteY729" fmla="*/ 1452177 h 4073898"/>
              <a:gd name="connsiteX730" fmla="*/ 1244753 w 6697570"/>
              <a:gd name="connsiteY730" fmla="*/ 1464184 h 4073898"/>
              <a:gd name="connsiteX731" fmla="*/ 1234746 w 6697570"/>
              <a:gd name="connsiteY731" fmla="*/ 1453892 h 4073898"/>
              <a:gd name="connsiteX732" fmla="*/ 1205585 w 6697570"/>
              <a:gd name="connsiteY732" fmla="*/ 1386994 h 4073898"/>
              <a:gd name="connsiteX733" fmla="*/ 1221881 w 6697570"/>
              <a:gd name="connsiteY733" fmla="*/ 1356118 h 4073898"/>
              <a:gd name="connsiteX734" fmla="*/ 2324265 w 6697570"/>
              <a:gd name="connsiteY734" fmla="*/ 1325529 h 4073898"/>
              <a:gd name="connsiteX735" fmla="*/ 2289673 w 6697570"/>
              <a:gd name="connsiteY735" fmla="*/ 1360121 h 4073898"/>
              <a:gd name="connsiteX736" fmla="*/ 2324265 w 6697570"/>
              <a:gd name="connsiteY736" fmla="*/ 1394713 h 4073898"/>
              <a:gd name="connsiteX737" fmla="*/ 2461492 w 6697570"/>
              <a:gd name="connsiteY737" fmla="*/ 1394713 h 4073898"/>
              <a:gd name="connsiteX738" fmla="*/ 2461492 w 6697570"/>
              <a:gd name="connsiteY738" fmla="*/ 1676027 h 4073898"/>
              <a:gd name="connsiteX739" fmla="*/ 2408888 w 6697570"/>
              <a:gd name="connsiteY739" fmla="*/ 1676027 h 4073898"/>
              <a:gd name="connsiteX740" fmla="*/ 2369150 w 6697570"/>
              <a:gd name="connsiteY740" fmla="*/ 1685747 h 4073898"/>
              <a:gd name="connsiteX741" fmla="*/ 2323408 w 6697570"/>
              <a:gd name="connsiteY741" fmla="*/ 1761222 h 4073898"/>
              <a:gd name="connsiteX742" fmla="*/ 2323408 w 6697570"/>
              <a:gd name="connsiteY742" fmla="*/ 2120297 h 4073898"/>
              <a:gd name="connsiteX743" fmla="*/ 2658754 w 6697570"/>
              <a:gd name="connsiteY743" fmla="*/ 2120297 h 4073898"/>
              <a:gd name="connsiteX744" fmla="*/ 2658754 w 6697570"/>
              <a:gd name="connsiteY744" fmla="*/ 2112864 h 4073898"/>
              <a:gd name="connsiteX745" fmla="*/ 2565555 w 6697570"/>
              <a:gd name="connsiteY745" fmla="*/ 2112864 h 4073898"/>
              <a:gd name="connsiteX746" fmla="*/ 2542971 w 6697570"/>
              <a:gd name="connsiteY746" fmla="*/ 2090565 h 4073898"/>
              <a:gd name="connsiteX747" fmla="*/ 2565555 w 6697570"/>
              <a:gd name="connsiteY747" fmla="*/ 2067980 h 4073898"/>
              <a:gd name="connsiteX748" fmla="*/ 2659041 w 6697570"/>
              <a:gd name="connsiteY748" fmla="*/ 2067980 h 4073898"/>
              <a:gd name="connsiteX749" fmla="*/ 2659041 w 6697570"/>
              <a:gd name="connsiteY749" fmla="*/ 2005656 h 4073898"/>
              <a:gd name="connsiteX750" fmla="*/ 2565841 w 6697570"/>
              <a:gd name="connsiteY750" fmla="*/ 2005656 h 4073898"/>
              <a:gd name="connsiteX751" fmla="*/ 2543256 w 6697570"/>
              <a:gd name="connsiteY751" fmla="*/ 1983071 h 4073898"/>
              <a:gd name="connsiteX752" fmla="*/ 2565841 w 6697570"/>
              <a:gd name="connsiteY752" fmla="*/ 1960485 h 4073898"/>
              <a:gd name="connsiteX753" fmla="*/ 2659327 w 6697570"/>
              <a:gd name="connsiteY753" fmla="*/ 1960485 h 4073898"/>
              <a:gd name="connsiteX754" fmla="*/ 2659327 w 6697570"/>
              <a:gd name="connsiteY754" fmla="*/ 1898448 h 4073898"/>
              <a:gd name="connsiteX755" fmla="*/ 2566127 w 6697570"/>
              <a:gd name="connsiteY755" fmla="*/ 1898448 h 4073898"/>
              <a:gd name="connsiteX756" fmla="*/ 2543542 w 6697570"/>
              <a:gd name="connsiteY756" fmla="*/ 1875863 h 4073898"/>
              <a:gd name="connsiteX757" fmla="*/ 2566127 w 6697570"/>
              <a:gd name="connsiteY757" fmla="*/ 1853278 h 4073898"/>
              <a:gd name="connsiteX758" fmla="*/ 2659613 w 6697570"/>
              <a:gd name="connsiteY758" fmla="*/ 1853278 h 4073898"/>
              <a:gd name="connsiteX759" fmla="*/ 2659613 w 6697570"/>
              <a:gd name="connsiteY759" fmla="*/ 1790954 h 4073898"/>
              <a:gd name="connsiteX760" fmla="*/ 2566127 w 6697570"/>
              <a:gd name="connsiteY760" fmla="*/ 1790954 h 4073898"/>
              <a:gd name="connsiteX761" fmla="*/ 2543542 w 6697570"/>
              <a:gd name="connsiteY761" fmla="*/ 1768369 h 4073898"/>
              <a:gd name="connsiteX762" fmla="*/ 2566127 w 6697570"/>
              <a:gd name="connsiteY762" fmla="*/ 1745784 h 4073898"/>
              <a:gd name="connsiteX763" fmla="*/ 2657897 w 6697570"/>
              <a:gd name="connsiteY763" fmla="*/ 1745784 h 4073898"/>
              <a:gd name="connsiteX764" fmla="*/ 2634454 w 6697570"/>
              <a:gd name="connsiteY764" fmla="*/ 1701472 h 4073898"/>
              <a:gd name="connsiteX765" fmla="*/ 2574132 w 6697570"/>
              <a:gd name="connsiteY765" fmla="*/ 1676313 h 4073898"/>
              <a:gd name="connsiteX766" fmla="*/ 2521814 w 6697570"/>
              <a:gd name="connsiteY766" fmla="*/ 1676313 h 4073898"/>
              <a:gd name="connsiteX767" fmla="*/ 2521814 w 6697570"/>
              <a:gd name="connsiteY767" fmla="*/ 1394713 h 4073898"/>
              <a:gd name="connsiteX768" fmla="*/ 2659041 w 6697570"/>
              <a:gd name="connsiteY768" fmla="*/ 1394713 h 4073898"/>
              <a:gd name="connsiteX769" fmla="*/ 2675050 w 6697570"/>
              <a:gd name="connsiteY769" fmla="*/ 1390710 h 4073898"/>
              <a:gd name="connsiteX770" fmla="*/ 2693633 w 6697570"/>
              <a:gd name="connsiteY770" fmla="*/ 1360121 h 4073898"/>
              <a:gd name="connsiteX771" fmla="*/ 2659041 w 6697570"/>
              <a:gd name="connsiteY771" fmla="*/ 1325529 h 4073898"/>
              <a:gd name="connsiteX772" fmla="*/ 3671656 w 6697570"/>
              <a:gd name="connsiteY772" fmla="*/ 1316381 h 4073898"/>
              <a:gd name="connsiteX773" fmla="*/ 3659649 w 6697570"/>
              <a:gd name="connsiteY773" fmla="*/ 1319526 h 4073898"/>
              <a:gd name="connsiteX774" fmla="*/ 3658220 w 6697570"/>
              <a:gd name="connsiteY774" fmla="*/ 1321241 h 4073898"/>
              <a:gd name="connsiteX775" fmla="*/ 3657648 w 6697570"/>
              <a:gd name="connsiteY775" fmla="*/ 1320097 h 4073898"/>
              <a:gd name="connsiteX776" fmla="*/ 3650787 w 6697570"/>
              <a:gd name="connsiteY776" fmla="*/ 1321813 h 4073898"/>
              <a:gd name="connsiteX777" fmla="*/ 3651073 w 6697570"/>
              <a:gd name="connsiteY777" fmla="*/ 1333249 h 4073898"/>
              <a:gd name="connsiteX778" fmla="*/ 3661079 w 6697570"/>
              <a:gd name="connsiteY778" fmla="*/ 1343540 h 4073898"/>
              <a:gd name="connsiteX779" fmla="*/ 3671085 w 6697570"/>
              <a:gd name="connsiteY779" fmla="*/ 1333820 h 4073898"/>
              <a:gd name="connsiteX780" fmla="*/ 5094906 w 6697570"/>
              <a:gd name="connsiteY780" fmla="*/ 1289930 h 4073898"/>
              <a:gd name="connsiteX781" fmla="*/ 5012472 w 6697570"/>
              <a:gd name="connsiteY781" fmla="*/ 1299226 h 4073898"/>
              <a:gd name="connsiteX782" fmla="*/ 5017904 w 6697570"/>
              <a:gd name="connsiteY782" fmla="*/ 1313521 h 4073898"/>
              <a:gd name="connsiteX783" fmla="*/ 5269485 w 6697570"/>
              <a:gd name="connsiteY783" fmla="*/ 1448745 h 4073898"/>
              <a:gd name="connsiteX784" fmla="*/ 5255763 w 6697570"/>
              <a:gd name="connsiteY784" fmla="*/ 1632000 h 4073898"/>
              <a:gd name="connsiteX785" fmla="*/ 5281207 w 6697570"/>
              <a:gd name="connsiteY785" fmla="*/ 1429878 h 4073898"/>
              <a:gd name="connsiteX786" fmla="*/ 5094906 w 6697570"/>
              <a:gd name="connsiteY786" fmla="*/ 1289930 h 4073898"/>
              <a:gd name="connsiteX787" fmla="*/ 4962442 w 6697570"/>
              <a:gd name="connsiteY787" fmla="*/ 1289221 h 4073898"/>
              <a:gd name="connsiteX788" fmla="*/ 5140835 w 6697570"/>
              <a:gd name="connsiteY788" fmla="*/ 1761507 h 4073898"/>
              <a:gd name="connsiteX789" fmla="*/ 4828646 w 6697570"/>
              <a:gd name="connsiteY789" fmla="*/ 1609702 h 4073898"/>
              <a:gd name="connsiteX790" fmla="*/ 4962442 w 6697570"/>
              <a:gd name="connsiteY790" fmla="*/ 1289221 h 4073898"/>
              <a:gd name="connsiteX791" fmla="*/ 2324838 w 6697570"/>
              <a:gd name="connsiteY791" fmla="*/ 1286934 h 4073898"/>
              <a:gd name="connsiteX792" fmla="*/ 2659613 w 6697570"/>
              <a:gd name="connsiteY792" fmla="*/ 1286934 h 4073898"/>
              <a:gd name="connsiteX793" fmla="*/ 2732228 w 6697570"/>
              <a:gd name="connsiteY793" fmla="*/ 1359549 h 4073898"/>
              <a:gd name="connsiteX794" fmla="*/ 2693062 w 6697570"/>
              <a:gd name="connsiteY794" fmla="*/ 1423874 h 4073898"/>
              <a:gd name="connsiteX795" fmla="*/ 2659327 w 6697570"/>
              <a:gd name="connsiteY795" fmla="*/ 1432165 h 4073898"/>
              <a:gd name="connsiteX796" fmla="*/ 2560124 w 6697570"/>
              <a:gd name="connsiteY796" fmla="*/ 1432165 h 4073898"/>
              <a:gd name="connsiteX797" fmla="*/ 2560124 w 6697570"/>
              <a:gd name="connsiteY797" fmla="*/ 1637432 h 4073898"/>
              <a:gd name="connsiteX798" fmla="*/ 2574418 w 6697570"/>
              <a:gd name="connsiteY798" fmla="*/ 1637432 h 4073898"/>
              <a:gd name="connsiteX799" fmla="*/ 2661614 w 6697570"/>
              <a:gd name="connsiteY799" fmla="*/ 1673454 h 4073898"/>
              <a:gd name="connsiteX800" fmla="*/ 2697922 w 6697570"/>
              <a:gd name="connsiteY800" fmla="*/ 1760650 h 4073898"/>
              <a:gd name="connsiteX801" fmla="*/ 2697635 w 6697570"/>
              <a:gd name="connsiteY801" fmla="*/ 2549129 h 4073898"/>
              <a:gd name="connsiteX802" fmla="*/ 2587569 w 6697570"/>
              <a:gd name="connsiteY802" fmla="*/ 2731239 h 4073898"/>
              <a:gd name="connsiteX803" fmla="*/ 2506948 w 6697570"/>
              <a:gd name="connsiteY803" fmla="*/ 2753825 h 4073898"/>
              <a:gd name="connsiteX804" fmla="*/ 2506948 w 6697570"/>
              <a:gd name="connsiteY804" fmla="*/ 3062584 h 4073898"/>
              <a:gd name="connsiteX805" fmla="*/ 2475501 w 6697570"/>
              <a:gd name="connsiteY805" fmla="*/ 3119761 h 4073898"/>
              <a:gd name="connsiteX806" fmla="*/ 2475501 w 6697570"/>
              <a:gd name="connsiteY806" fmla="*/ 2754111 h 4073898"/>
              <a:gd name="connsiteX807" fmla="*/ 2288530 w 6697570"/>
              <a:gd name="connsiteY807" fmla="*/ 2568284 h 4073898"/>
              <a:gd name="connsiteX808" fmla="*/ 2287672 w 6697570"/>
              <a:gd name="connsiteY808" fmla="*/ 2568284 h 4073898"/>
              <a:gd name="connsiteX809" fmla="*/ 2286243 w 6697570"/>
              <a:gd name="connsiteY809" fmla="*/ 2549415 h 4073898"/>
              <a:gd name="connsiteX810" fmla="*/ 2286243 w 6697570"/>
              <a:gd name="connsiteY810" fmla="*/ 1760935 h 4073898"/>
              <a:gd name="connsiteX811" fmla="*/ 2352283 w 6697570"/>
              <a:gd name="connsiteY811" fmla="*/ 1651441 h 4073898"/>
              <a:gd name="connsiteX812" fmla="*/ 2409746 w 6697570"/>
              <a:gd name="connsiteY812" fmla="*/ 1637432 h 4073898"/>
              <a:gd name="connsiteX813" fmla="*/ 2424041 w 6697570"/>
              <a:gd name="connsiteY813" fmla="*/ 1637432 h 4073898"/>
              <a:gd name="connsiteX814" fmla="*/ 2424041 w 6697570"/>
              <a:gd name="connsiteY814" fmla="*/ 1432165 h 4073898"/>
              <a:gd name="connsiteX815" fmla="*/ 2324838 w 6697570"/>
              <a:gd name="connsiteY815" fmla="*/ 1432165 h 4073898"/>
              <a:gd name="connsiteX816" fmla="*/ 2252222 w 6697570"/>
              <a:gd name="connsiteY816" fmla="*/ 1359549 h 4073898"/>
              <a:gd name="connsiteX817" fmla="*/ 2291103 w 6697570"/>
              <a:gd name="connsiteY817" fmla="*/ 1295224 h 4073898"/>
              <a:gd name="connsiteX818" fmla="*/ 2324838 w 6697570"/>
              <a:gd name="connsiteY818" fmla="*/ 1286934 h 4073898"/>
              <a:gd name="connsiteX819" fmla="*/ 5085218 w 6697570"/>
              <a:gd name="connsiteY819" fmla="*/ 1268033 h 4073898"/>
              <a:gd name="connsiteX820" fmla="*/ 5301791 w 6697570"/>
              <a:gd name="connsiteY820" fmla="*/ 1430735 h 4073898"/>
              <a:gd name="connsiteX821" fmla="*/ 5168281 w 6697570"/>
              <a:gd name="connsiteY821" fmla="*/ 1751215 h 4073898"/>
              <a:gd name="connsiteX822" fmla="*/ 4989601 w 6697570"/>
              <a:gd name="connsiteY822" fmla="*/ 1278928 h 4073898"/>
              <a:gd name="connsiteX823" fmla="*/ 5085218 w 6697570"/>
              <a:gd name="connsiteY823" fmla="*/ 1268033 h 4073898"/>
              <a:gd name="connsiteX824" fmla="*/ 6325269 w 6697570"/>
              <a:gd name="connsiteY824" fmla="*/ 1258630 h 4073898"/>
              <a:gd name="connsiteX825" fmla="*/ 6365867 w 6697570"/>
              <a:gd name="connsiteY825" fmla="*/ 1265206 h 4073898"/>
              <a:gd name="connsiteX826" fmla="*/ 6356431 w 6697570"/>
              <a:gd name="connsiteY826" fmla="*/ 1322669 h 4073898"/>
              <a:gd name="connsiteX827" fmla="*/ 6415611 w 6697570"/>
              <a:gd name="connsiteY827" fmla="*/ 1332389 h 4073898"/>
              <a:gd name="connsiteX828" fmla="*/ 6408749 w 6697570"/>
              <a:gd name="connsiteY828" fmla="*/ 1376130 h 4073898"/>
              <a:gd name="connsiteX829" fmla="*/ 6349571 w 6697570"/>
              <a:gd name="connsiteY829" fmla="*/ 1366123 h 4073898"/>
              <a:gd name="connsiteX830" fmla="*/ 6339851 w 6697570"/>
              <a:gd name="connsiteY830" fmla="*/ 1423016 h 4073898"/>
              <a:gd name="connsiteX831" fmla="*/ 6299254 w 6697570"/>
              <a:gd name="connsiteY831" fmla="*/ 1416440 h 4073898"/>
              <a:gd name="connsiteX832" fmla="*/ 6308689 w 6697570"/>
              <a:gd name="connsiteY832" fmla="*/ 1359549 h 4073898"/>
              <a:gd name="connsiteX833" fmla="*/ 6250939 w 6697570"/>
              <a:gd name="connsiteY833" fmla="*/ 1350114 h 4073898"/>
              <a:gd name="connsiteX834" fmla="*/ 6257801 w 6697570"/>
              <a:gd name="connsiteY834" fmla="*/ 1306374 h 4073898"/>
              <a:gd name="connsiteX835" fmla="*/ 6315836 w 6697570"/>
              <a:gd name="connsiteY835" fmla="*/ 1315808 h 4073898"/>
              <a:gd name="connsiteX836" fmla="*/ 6314121 w 6697570"/>
              <a:gd name="connsiteY836" fmla="*/ 1239190 h 4073898"/>
              <a:gd name="connsiteX837" fmla="*/ 6303543 w 6697570"/>
              <a:gd name="connsiteY837" fmla="*/ 1301800 h 4073898"/>
              <a:gd name="connsiteX838" fmla="*/ 6240934 w 6697570"/>
              <a:gd name="connsiteY838" fmla="*/ 1291221 h 4073898"/>
              <a:gd name="connsiteX839" fmla="*/ 6229212 w 6697570"/>
              <a:gd name="connsiteY839" fmla="*/ 1360121 h 4073898"/>
              <a:gd name="connsiteX840" fmla="*/ 6291822 w 6697570"/>
              <a:gd name="connsiteY840" fmla="*/ 1370698 h 4073898"/>
              <a:gd name="connsiteX841" fmla="*/ 6281243 w 6697570"/>
              <a:gd name="connsiteY841" fmla="*/ 1433308 h 4073898"/>
              <a:gd name="connsiteX842" fmla="*/ 6350143 w 6697570"/>
              <a:gd name="connsiteY842" fmla="*/ 1445030 h 4073898"/>
              <a:gd name="connsiteX843" fmla="*/ 6360721 w 6697570"/>
              <a:gd name="connsiteY843" fmla="*/ 1382420 h 4073898"/>
              <a:gd name="connsiteX844" fmla="*/ 6423330 w 6697570"/>
              <a:gd name="connsiteY844" fmla="*/ 1392997 h 4073898"/>
              <a:gd name="connsiteX845" fmla="*/ 6435052 w 6697570"/>
              <a:gd name="connsiteY845" fmla="*/ 1324099 h 4073898"/>
              <a:gd name="connsiteX846" fmla="*/ 6372442 w 6697570"/>
              <a:gd name="connsiteY846" fmla="*/ 1313521 h 4073898"/>
              <a:gd name="connsiteX847" fmla="*/ 6383021 w 6697570"/>
              <a:gd name="connsiteY847" fmla="*/ 1250912 h 4073898"/>
              <a:gd name="connsiteX848" fmla="*/ 1623087 w 6697570"/>
              <a:gd name="connsiteY848" fmla="*/ 1223728 h 4073898"/>
              <a:gd name="connsiteX849" fmla="*/ 1843116 w 6697570"/>
              <a:gd name="connsiteY849" fmla="*/ 1390139 h 4073898"/>
              <a:gd name="connsiteX850" fmla="*/ 2187039 w 6697570"/>
              <a:gd name="connsiteY850" fmla="*/ 1593691 h 4073898"/>
              <a:gd name="connsiteX851" fmla="*/ 1991492 w 6697570"/>
              <a:gd name="connsiteY851" fmla="*/ 1593691 h 4073898"/>
              <a:gd name="connsiteX852" fmla="*/ 1979770 w 6697570"/>
              <a:gd name="connsiteY852" fmla="*/ 1602268 h 4073898"/>
              <a:gd name="connsiteX853" fmla="*/ 1944321 w 6697570"/>
              <a:gd name="connsiteY853" fmla="*/ 1816969 h 4073898"/>
              <a:gd name="connsiteX854" fmla="*/ 1887714 w 6697570"/>
              <a:gd name="connsiteY854" fmla="*/ 1442171 h 4073898"/>
              <a:gd name="connsiteX855" fmla="*/ 1877137 w 6697570"/>
              <a:gd name="connsiteY855" fmla="*/ 1433593 h 4073898"/>
              <a:gd name="connsiteX856" fmla="*/ 1865129 w 6697570"/>
              <a:gd name="connsiteY856" fmla="*/ 1441312 h 4073898"/>
              <a:gd name="connsiteX857" fmla="*/ 1797088 w 6697570"/>
              <a:gd name="connsiteY857" fmla="*/ 1629141 h 4073898"/>
              <a:gd name="connsiteX858" fmla="*/ 1792514 w 6697570"/>
              <a:gd name="connsiteY858" fmla="*/ 1585686 h 4073898"/>
              <a:gd name="connsiteX859" fmla="*/ 1779649 w 6697570"/>
              <a:gd name="connsiteY859" fmla="*/ 1575108 h 4073898"/>
              <a:gd name="connsiteX860" fmla="*/ 1769357 w 6697570"/>
              <a:gd name="connsiteY860" fmla="*/ 1583399 h 4073898"/>
              <a:gd name="connsiteX861" fmla="*/ 1738767 w 6697570"/>
              <a:gd name="connsiteY861" fmla="*/ 1727773 h 4073898"/>
              <a:gd name="connsiteX862" fmla="*/ 1693882 w 6697570"/>
              <a:gd name="connsiteY862" fmla="*/ 1419013 h 4073898"/>
              <a:gd name="connsiteX863" fmla="*/ 1683304 w 6697570"/>
              <a:gd name="connsiteY863" fmla="*/ 1410437 h 4073898"/>
              <a:gd name="connsiteX864" fmla="*/ 1671011 w 6697570"/>
              <a:gd name="connsiteY864" fmla="*/ 1418156 h 4073898"/>
              <a:gd name="connsiteX865" fmla="*/ 1612692 w 6697570"/>
              <a:gd name="connsiteY865" fmla="*/ 1593691 h 4073898"/>
              <a:gd name="connsiteX866" fmla="*/ 1499193 w 6697570"/>
              <a:gd name="connsiteY866" fmla="*/ 1593691 h 4073898"/>
              <a:gd name="connsiteX867" fmla="*/ 1623087 w 6697570"/>
              <a:gd name="connsiteY867" fmla="*/ 1223728 h 4073898"/>
              <a:gd name="connsiteX868" fmla="*/ 3658792 w 6697570"/>
              <a:gd name="connsiteY868" fmla="*/ 1200882 h 4073898"/>
              <a:gd name="connsiteX869" fmla="*/ 3647070 w 6697570"/>
              <a:gd name="connsiteY869" fmla="*/ 1216034 h 4073898"/>
              <a:gd name="connsiteX870" fmla="*/ 3649071 w 6697570"/>
              <a:gd name="connsiteY870" fmla="*/ 1281216 h 4073898"/>
              <a:gd name="connsiteX871" fmla="*/ 3659649 w 6697570"/>
              <a:gd name="connsiteY871" fmla="*/ 1307232 h 4073898"/>
              <a:gd name="connsiteX872" fmla="*/ 3669941 w 6697570"/>
              <a:gd name="connsiteY872" fmla="*/ 1296082 h 4073898"/>
              <a:gd name="connsiteX873" fmla="*/ 3672515 w 6697570"/>
              <a:gd name="connsiteY873" fmla="*/ 1292938 h 4073898"/>
              <a:gd name="connsiteX874" fmla="*/ 3675087 w 6697570"/>
              <a:gd name="connsiteY874" fmla="*/ 1209745 h 4073898"/>
              <a:gd name="connsiteX875" fmla="*/ 3674515 w 6697570"/>
              <a:gd name="connsiteY875" fmla="*/ 1209459 h 4073898"/>
              <a:gd name="connsiteX876" fmla="*/ 3658792 w 6697570"/>
              <a:gd name="connsiteY876" fmla="*/ 1200882 h 4073898"/>
              <a:gd name="connsiteX877" fmla="*/ 1235890 w 6697570"/>
              <a:gd name="connsiteY877" fmla="*/ 1151423 h 4073898"/>
              <a:gd name="connsiteX878" fmla="*/ 1221596 w 6697570"/>
              <a:gd name="connsiteY878" fmla="*/ 1193163 h 4073898"/>
              <a:gd name="connsiteX879" fmla="*/ 1267624 w 6697570"/>
              <a:gd name="connsiteY879" fmla="*/ 1242907 h 4073898"/>
              <a:gd name="connsiteX880" fmla="*/ 1285634 w 6697570"/>
              <a:gd name="connsiteY880" fmla="*/ 1207743 h 4073898"/>
              <a:gd name="connsiteX881" fmla="*/ 1251043 w 6697570"/>
              <a:gd name="connsiteY881" fmla="*/ 1159999 h 4073898"/>
              <a:gd name="connsiteX882" fmla="*/ 1239892 w 6697570"/>
              <a:gd name="connsiteY882" fmla="*/ 1153710 h 4073898"/>
              <a:gd name="connsiteX883" fmla="*/ 402527 w 6697570"/>
              <a:gd name="connsiteY883" fmla="*/ 1145419 h 4073898"/>
              <a:gd name="connsiteX884" fmla="*/ 384515 w 6697570"/>
              <a:gd name="connsiteY884" fmla="*/ 1152852 h 4073898"/>
              <a:gd name="connsiteX885" fmla="*/ 368506 w 6697570"/>
              <a:gd name="connsiteY885" fmla="*/ 1152852 h 4073898"/>
              <a:gd name="connsiteX886" fmla="*/ 464849 w 6697570"/>
              <a:gd name="connsiteY886" fmla="*/ 1350115 h 4073898"/>
              <a:gd name="connsiteX887" fmla="*/ 503159 w 6697570"/>
              <a:gd name="connsiteY887" fmla="*/ 1342968 h 4073898"/>
              <a:gd name="connsiteX888" fmla="*/ 402527 w 6697570"/>
              <a:gd name="connsiteY888" fmla="*/ 1145419 h 4073898"/>
              <a:gd name="connsiteX889" fmla="*/ 1231316 w 6697570"/>
              <a:gd name="connsiteY889" fmla="*/ 1122834 h 4073898"/>
              <a:gd name="connsiteX890" fmla="*/ 1248469 w 6697570"/>
              <a:gd name="connsiteY890" fmla="*/ 1131982 h 4073898"/>
              <a:gd name="connsiteX891" fmla="*/ 1262764 w 6697570"/>
              <a:gd name="connsiteY891" fmla="*/ 1140559 h 4073898"/>
              <a:gd name="connsiteX892" fmla="*/ 1308506 w 6697570"/>
              <a:gd name="connsiteY892" fmla="*/ 1207171 h 4073898"/>
              <a:gd name="connsiteX893" fmla="*/ 1274485 w 6697570"/>
              <a:gd name="connsiteY893" fmla="*/ 1266921 h 4073898"/>
              <a:gd name="connsiteX894" fmla="*/ 1273341 w 6697570"/>
              <a:gd name="connsiteY894" fmla="*/ 1267779 h 4073898"/>
              <a:gd name="connsiteX895" fmla="*/ 1271054 w 6697570"/>
              <a:gd name="connsiteY895" fmla="*/ 1268065 h 4073898"/>
              <a:gd name="connsiteX896" fmla="*/ 1263907 w 6697570"/>
              <a:gd name="connsiteY896" fmla="*/ 1266921 h 4073898"/>
              <a:gd name="connsiteX897" fmla="*/ 1199010 w 6697570"/>
              <a:gd name="connsiteY897" fmla="*/ 1197737 h 4073898"/>
              <a:gd name="connsiteX898" fmla="*/ 1225312 w 6697570"/>
              <a:gd name="connsiteY898" fmla="*/ 1129124 h 4073898"/>
              <a:gd name="connsiteX899" fmla="*/ 2970944 w 6697570"/>
              <a:gd name="connsiteY899" fmla="*/ 1107397 h 4073898"/>
              <a:gd name="connsiteX900" fmla="*/ 2906334 w 6697570"/>
              <a:gd name="connsiteY900" fmla="*/ 1267779 h 4073898"/>
              <a:gd name="connsiteX901" fmla="*/ 2807702 w 6697570"/>
              <a:gd name="connsiteY901" fmla="*/ 1475619 h 4073898"/>
              <a:gd name="connsiteX902" fmla="*/ 2807702 w 6697570"/>
              <a:gd name="connsiteY902" fmla="*/ 1554811 h 4073898"/>
              <a:gd name="connsiteX903" fmla="*/ 3548725 w 6697570"/>
              <a:gd name="connsiteY903" fmla="*/ 1554811 h 4073898"/>
              <a:gd name="connsiteX904" fmla="*/ 3548438 w 6697570"/>
              <a:gd name="connsiteY904" fmla="*/ 1471903 h 4073898"/>
              <a:gd name="connsiteX905" fmla="*/ 3450093 w 6697570"/>
              <a:gd name="connsiteY905" fmla="*/ 1267779 h 4073898"/>
              <a:gd name="connsiteX906" fmla="*/ 3385482 w 6697570"/>
              <a:gd name="connsiteY906" fmla="*/ 1107397 h 4073898"/>
              <a:gd name="connsiteX907" fmla="*/ 3655074 w 6697570"/>
              <a:gd name="connsiteY907" fmla="*/ 1074519 h 4073898"/>
              <a:gd name="connsiteX908" fmla="*/ 3652787 w 6697570"/>
              <a:gd name="connsiteY908" fmla="*/ 1081952 h 4073898"/>
              <a:gd name="connsiteX909" fmla="*/ 3652501 w 6697570"/>
              <a:gd name="connsiteY909" fmla="*/ 1084239 h 4073898"/>
              <a:gd name="connsiteX910" fmla="*/ 3664223 w 6697570"/>
              <a:gd name="connsiteY910" fmla="*/ 1115972 h 4073898"/>
              <a:gd name="connsiteX911" fmla="*/ 3655074 w 6697570"/>
              <a:gd name="connsiteY911" fmla="*/ 1074519 h 4073898"/>
              <a:gd name="connsiteX912" fmla="*/ 896256 w 6697570"/>
              <a:gd name="connsiteY912" fmla="*/ 1045930 h 4073898"/>
              <a:gd name="connsiteX913" fmla="*/ 875385 w 6697570"/>
              <a:gd name="connsiteY913" fmla="*/ 1272640 h 4073898"/>
              <a:gd name="connsiteX914" fmla="*/ 913981 w 6697570"/>
              <a:gd name="connsiteY914" fmla="*/ 1265493 h 4073898"/>
              <a:gd name="connsiteX915" fmla="*/ 931705 w 6697570"/>
              <a:gd name="connsiteY915" fmla="*/ 1048789 h 4073898"/>
              <a:gd name="connsiteX916" fmla="*/ 927703 w 6697570"/>
              <a:gd name="connsiteY916" fmla="*/ 1049933 h 4073898"/>
              <a:gd name="connsiteX917" fmla="*/ 896256 w 6697570"/>
              <a:gd name="connsiteY917" fmla="*/ 1045930 h 4073898"/>
              <a:gd name="connsiteX918" fmla="*/ 3653360 w 6697570"/>
              <a:gd name="connsiteY918" fmla="*/ 1045358 h 4073898"/>
              <a:gd name="connsiteX919" fmla="*/ 3660507 w 6697570"/>
              <a:gd name="connsiteY919" fmla="*/ 1050790 h 4073898"/>
              <a:gd name="connsiteX920" fmla="*/ 3675659 w 6697570"/>
              <a:gd name="connsiteY920" fmla="*/ 1141131 h 4073898"/>
              <a:gd name="connsiteX921" fmla="*/ 3668511 w 6697570"/>
              <a:gd name="connsiteY921" fmla="*/ 1152280 h 4073898"/>
              <a:gd name="connsiteX922" fmla="*/ 3659077 w 6697570"/>
              <a:gd name="connsiteY922" fmla="*/ 1142560 h 4073898"/>
              <a:gd name="connsiteX923" fmla="*/ 3631918 w 6697570"/>
              <a:gd name="connsiteY923" fmla="*/ 1080236 h 4073898"/>
              <a:gd name="connsiteX924" fmla="*/ 3647070 w 6697570"/>
              <a:gd name="connsiteY924" fmla="*/ 1051361 h 4073898"/>
              <a:gd name="connsiteX925" fmla="*/ 1232173 w 6697570"/>
              <a:gd name="connsiteY925" fmla="*/ 912420 h 4073898"/>
              <a:gd name="connsiteX926" fmla="*/ 1203870 w 6697570"/>
              <a:gd name="connsiteY926" fmla="*/ 965881 h 4073898"/>
              <a:gd name="connsiteX927" fmla="*/ 1222453 w 6697570"/>
              <a:gd name="connsiteY927" fmla="*/ 1003618 h 4073898"/>
              <a:gd name="connsiteX928" fmla="*/ 1282489 w 6697570"/>
              <a:gd name="connsiteY928" fmla="*/ 953016 h 4073898"/>
              <a:gd name="connsiteX929" fmla="*/ 1236177 w 6697570"/>
              <a:gd name="connsiteY929" fmla="*/ 914135 h 4073898"/>
              <a:gd name="connsiteX930" fmla="*/ 1232173 w 6697570"/>
              <a:gd name="connsiteY930" fmla="*/ 912420 h 4073898"/>
              <a:gd name="connsiteX931" fmla="*/ 6267807 w 6697570"/>
              <a:gd name="connsiteY931" fmla="*/ 894124 h 4073898"/>
              <a:gd name="connsiteX932" fmla="*/ 6207199 w 6697570"/>
              <a:gd name="connsiteY932" fmla="*/ 992754 h 4073898"/>
              <a:gd name="connsiteX933" fmla="*/ 6118573 w 6697570"/>
              <a:gd name="connsiteY933" fmla="*/ 1118831 h 4073898"/>
              <a:gd name="connsiteX934" fmla="*/ 6109711 w 6697570"/>
              <a:gd name="connsiteY934" fmla="*/ 1171149 h 4073898"/>
              <a:gd name="connsiteX935" fmla="*/ 6598865 w 6697570"/>
              <a:gd name="connsiteY935" fmla="*/ 1254056 h 4073898"/>
              <a:gd name="connsiteX936" fmla="*/ 6608014 w 6697570"/>
              <a:gd name="connsiteY936" fmla="*/ 1199166 h 4073898"/>
              <a:gd name="connsiteX937" fmla="*/ 6565989 w 6697570"/>
              <a:gd name="connsiteY937" fmla="*/ 1053362 h 4073898"/>
              <a:gd name="connsiteX938" fmla="*/ 6541403 w 6697570"/>
              <a:gd name="connsiteY938" fmla="*/ 940437 h 4073898"/>
              <a:gd name="connsiteX939" fmla="*/ 1230173 w 6697570"/>
              <a:gd name="connsiteY939" fmla="*/ 886976 h 4073898"/>
              <a:gd name="connsiteX940" fmla="*/ 1235604 w 6697570"/>
              <a:gd name="connsiteY940" fmla="*/ 889263 h 4073898"/>
              <a:gd name="connsiteX941" fmla="*/ 1244466 w 6697570"/>
              <a:gd name="connsiteY941" fmla="*/ 892693 h 4073898"/>
              <a:gd name="connsiteX942" fmla="*/ 1305074 w 6697570"/>
              <a:gd name="connsiteY942" fmla="*/ 953588 h 4073898"/>
              <a:gd name="connsiteX943" fmla="*/ 1222738 w 6697570"/>
              <a:gd name="connsiteY943" fmla="*/ 1027347 h 4073898"/>
              <a:gd name="connsiteX944" fmla="*/ 1216736 w 6697570"/>
              <a:gd name="connsiteY944" fmla="*/ 1029348 h 4073898"/>
              <a:gd name="connsiteX945" fmla="*/ 1211875 w 6697570"/>
              <a:gd name="connsiteY945" fmla="*/ 1025060 h 4073898"/>
              <a:gd name="connsiteX946" fmla="*/ 1181000 w 6697570"/>
              <a:gd name="connsiteY946" fmla="*/ 965881 h 4073898"/>
              <a:gd name="connsiteX947" fmla="*/ 1225026 w 6697570"/>
              <a:gd name="connsiteY947" fmla="*/ 890120 h 4073898"/>
              <a:gd name="connsiteX948" fmla="*/ 3399491 w 6697570"/>
              <a:gd name="connsiteY948" fmla="*/ 882688 h 4073898"/>
              <a:gd name="connsiteX949" fmla="*/ 3386912 w 6697570"/>
              <a:gd name="connsiteY949" fmla="*/ 892980 h 4073898"/>
              <a:gd name="connsiteX950" fmla="*/ 3386912 w 6697570"/>
              <a:gd name="connsiteY950" fmla="*/ 1081380 h 4073898"/>
              <a:gd name="connsiteX951" fmla="*/ 3399491 w 6697570"/>
              <a:gd name="connsiteY951" fmla="*/ 1091672 h 4073898"/>
              <a:gd name="connsiteX952" fmla="*/ 3412069 w 6697570"/>
              <a:gd name="connsiteY952" fmla="*/ 1081380 h 4073898"/>
              <a:gd name="connsiteX953" fmla="*/ 3412069 w 6697570"/>
              <a:gd name="connsiteY953" fmla="*/ 892980 h 4073898"/>
              <a:gd name="connsiteX954" fmla="*/ 3399491 w 6697570"/>
              <a:gd name="connsiteY954" fmla="*/ 882688 h 4073898"/>
              <a:gd name="connsiteX955" fmla="*/ 3354892 w 6697570"/>
              <a:gd name="connsiteY955" fmla="*/ 882688 h 4073898"/>
              <a:gd name="connsiteX956" fmla="*/ 3342599 w 6697570"/>
              <a:gd name="connsiteY956" fmla="*/ 892980 h 4073898"/>
              <a:gd name="connsiteX957" fmla="*/ 3342599 w 6697570"/>
              <a:gd name="connsiteY957" fmla="*/ 1081380 h 4073898"/>
              <a:gd name="connsiteX958" fmla="*/ 3354892 w 6697570"/>
              <a:gd name="connsiteY958" fmla="*/ 1091672 h 4073898"/>
              <a:gd name="connsiteX959" fmla="*/ 3367471 w 6697570"/>
              <a:gd name="connsiteY959" fmla="*/ 1081380 h 4073898"/>
              <a:gd name="connsiteX960" fmla="*/ 3367471 w 6697570"/>
              <a:gd name="connsiteY960" fmla="*/ 892980 h 4073898"/>
              <a:gd name="connsiteX961" fmla="*/ 3354892 w 6697570"/>
              <a:gd name="connsiteY961" fmla="*/ 882688 h 4073898"/>
              <a:gd name="connsiteX962" fmla="*/ 3310865 w 6697570"/>
              <a:gd name="connsiteY962" fmla="*/ 882688 h 4073898"/>
              <a:gd name="connsiteX963" fmla="*/ 3298286 w 6697570"/>
              <a:gd name="connsiteY963" fmla="*/ 892980 h 4073898"/>
              <a:gd name="connsiteX964" fmla="*/ 3298286 w 6697570"/>
              <a:gd name="connsiteY964" fmla="*/ 1081380 h 4073898"/>
              <a:gd name="connsiteX965" fmla="*/ 3310865 w 6697570"/>
              <a:gd name="connsiteY965" fmla="*/ 1091672 h 4073898"/>
              <a:gd name="connsiteX966" fmla="*/ 3323445 w 6697570"/>
              <a:gd name="connsiteY966" fmla="*/ 1081380 h 4073898"/>
              <a:gd name="connsiteX967" fmla="*/ 3323445 w 6697570"/>
              <a:gd name="connsiteY967" fmla="*/ 892980 h 4073898"/>
              <a:gd name="connsiteX968" fmla="*/ 3310865 w 6697570"/>
              <a:gd name="connsiteY968" fmla="*/ 882688 h 4073898"/>
              <a:gd name="connsiteX969" fmla="*/ 3266552 w 6697570"/>
              <a:gd name="connsiteY969" fmla="*/ 882688 h 4073898"/>
              <a:gd name="connsiteX970" fmla="*/ 3254259 w 6697570"/>
              <a:gd name="connsiteY970" fmla="*/ 892980 h 4073898"/>
              <a:gd name="connsiteX971" fmla="*/ 3254259 w 6697570"/>
              <a:gd name="connsiteY971" fmla="*/ 1081380 h 4073898"/>
              <a:gd name="connsiteX972" fmla="*/ 3266552 w 6697570"/>
              <a:gd name="connsiteY972" fmla="*/ 1091672 h 4073898"/>
              <a:gd name="connsiteX973" fmla="*/ 3279131 w 6697570"/>
              <a:gd name="connsiteY973" fmla="*/ 1081380 h 4073898"/>
              <a:gd name="connsiteX974" fmla="*/ 3279131 w 6697570"/>
              <a:gd name="connsiteY974" fmla="*/ 892980 h 4073898"/>
              <a:gd name="connsiteX975" fmla="*/ 3266552 w 6697570"/>
              <a:gd name="connsiteY975" fmla="*/ 882688 h 4073898"/>
              <a:gd name="connsiteX976" fmla="*/ 3222240 w 6697570"/>
              <a:gd name="connsiteY976" fmla="*/ 882688 h 4073898"/>
              <a:gd name="connsiteX977" fmla="*/ 3209947 w 6697570"/>
              <a:gd name="connsiteY977" fmla="*/ 892980 h 4073898"/>
              <a:gd name="connsiteX978" fmla="*/ 3209947 w 6697570"/>
              <a:gd name="connsiteY978" fmla="*/ 1081380 h 4073898"/>
              <a:gd name="connsiteX979" fmla="*/ 3222240 w 6697570"/>
              <a:gd name="connsiteY979" fmla="*/ 1091672 h 4073898"/>
              <a:gd name="connsiteX980" fmla="*/ 3234819 w 6697570"/>
              <a:gd name="connsiteY980" fmla="*/ 1081380 h 4073898"/>
              <a:gd name="connsiteX981" fmla="*/ 3234819 w 6697570"/>
              <a:gd name="connsiteY981" fmla="*/ 892980 h 4073898"/>
              <a:gd name="connsiteX982" fmla="*/ 3222240 w 6697570"/>
              <a:gd name="connsiteY982" fmla="*/ 882688 h 4073898"/>
              <a:gd name="connsiteX983" fmla="*/ 3178499 w 6697570"/>
              <a:gd name="connsiteY983" fmla="*/ 882688 h 4073898"/>
              <a:gd name="connsiteX984" fmla="*/ 3165920 w 6697570"/>
              <a:gd name="connsiteY984" fmla="*/ 892980 h 4073898"/>
              <a:gd name="connsiteX985" fmla="*/ 3165920 w 6697570"/>
              <a:gd name="connsiteY985" fmla="*/ 1081380 h 4073898"/>
              <a:gd name="connsiteX986" fmla="*/ 3178499 w 6697570"/>
              <a:gd name="connsiteY986" fmla="*/ 1091672 h 4073898"/>
              <a:gd name="connsiteX987" fmla="*/ 3191078 w 6697570"/>
              <a:gd name="connsiteY987" fmla="*/ 1081380 h 4073898"/>
              <a:gd name="connsiteX988" fmla="*/ 3191078 w 6697570"/>
              <a:gd name="connsiteY988" fmla="*/ 892980 h 4073898"/>
              <a:gd name="connsiteX989" fmla="*/ 3178499 w 6697570"/>
              <a:gd name="connsiteY989" fmla="*/ 882688 h 4073898"/>
              <a:gd name="connsiteX990" fmla="*/ 3133900 w 6697570"/>
              <a:gd name="connsiteY990" fmla="*/ 882688 h 4073898"/>
              <a:gd name="connsiteX991" fmla="*/ 3121607 w 6697570"/>
              <a:gd name="connsiteY991" fmla="*/ 892980 h 4073898"/>
              <a:gd name="connsiteX992" fmla="*/ 3121607 w 6697570"/>
              <a:gd name="connsiteY992" fmla="*/ 1081380 h 4073898"/>
              <a:gd name="connsiteX993" fmla="*/ 3133900 w 6697570"/>
              <a:gd name="connsiteY993" fmla="*/ 1091672 h 4073898"/>
              <a:gd name="connsiteX994" fmla="*/ 3146480 w 6697570"/>
              <a:gd name="connsiteY994" fmla="*/ 1081380 h 4073898"/>
              <a:gd name="connsiteX995" fmla="*/ 3146480 w 6697570"/>
              <a:gd name="connsiteY995" fmla="*/ 892980 h 4073898"/>
              <a:gd name="connsiteX996" fmla="*/ 3133900 w 6697570"/>
              <a:gd name="connsiteY996" fmla="*/ 882688 h 4073898"/>
              <a:gd name="connsiteX997" fmla="*/ 3089873 w 6697570"/>
              <a:gd name="connsiteY997" fmla="*/ 882688 h 4073898"/>
              <a:gd name="connsiteX998" fmla="*/ 3077580 w 6697570"/>
              <a:gd name="connsiteY998" fmla="*/ 892980 h 4073898"/>
              <a:gd name="connsiteX999" fmla="*/ 3077580 w 6697570"/>
              <a:gd name="connsiteY999" fmla="*/ 1081380 h 4073898"/>
              <a:gd name="connsiteX1000" fmla="*/ 3089873 w 6697570"/>
              <a:gd name="connsiteY1000" fmla="*/ 1091672 h 4073898"/>
              <a:gd name="connsiteX1001" fmla="*/ 3102452 w 6697570"/>
              <a:gd name="connsiteY1001" fmla="*/ 1081380 h 4073898"/>
              <a:gd name="connsiteX1002" fmla="*/ 3102452 w 6697570"/>
              <a:gd name="connsiteY1002" fmla="*/ 892980 h 4073898"/>
              <a:gd name="connsiteX1003" fmla="*/ 3089873 w 6697570"/>
              <a:gd name="connsiteY1003" fmla="*/ 882688 h 4073898"/>
              <a:gd name="connsiteX1004" fmla="*/ 3045847 w 6697570"/>
              <a:gd name="connsiteY1004" fmla="*/ 882688 h 4073898"/>
              <a:gd name="connsiteX1005" fmla="*/ 3033268 w 6697570"/>
              <a:gd name="connsiteY1005" fmla="*/ 892980 h 4073898"/>
              <a:gd name="connsiteX1006" fmla="*/ 3033268 w 6697570"/>
              <a:gd name="connsiteY1006" fmla="*/ 1081380 h 4073898"/>
              <a:gd name="connsiteX1007" fmla="*/ 3045847 w 6697570"/>
              <a:gd name="connsiteY1007" fmla="*/ 1091672 h 4073898"/>
              <a:gd name="connsiteX1008" fmla="*/ 3058426 w 6697570"/>
              <a:gd name="connsiteY1008" fmla="*/ 1081380 h 4073898"/>
              <a:gd name="connsiteX1009" fmla="*/ 3058426 w 6697570"/>
              <a:gd name="connsiteY1009" fmla="*/ 892980 h 4073898"/>
              <a:gd name="connsiteX1010" fmla="*/ 3045847 w 6697570"/>
              <a:gd name="connsiteY1010" fmla="*/ 882688 h 4073898"/>
              <a:gd name="connsiteX1011" fmla="*/ 3001534 w 6697570"/>
              <a:gd name="connsiteY1011" fmla="*/ 882688 h 4073898"/>
              <a:gd name="connsiteX1012" fmla="*/ 2988956 w 6697570"/>
              <a:gd name="connsiteY1012" fmla="*/ 892980 h 4073898"/>
              <a:gd name="connsiteX1013" fmla="*/ 2988956 w 6697570"/>
              <a:gd name="connsiteY1013" fmla="*/ 1081380 h 4073898"/>
              <a:gd name="connsiteX1014" fmla="*/ 3001534 w 6697570"/>
              <a:gd name="connsiteY1014" fmla="*/ 1091672 h 4073898"/>
              <a:gd name="connsiteX1015" fmla="*/ 3014113 w 6697570"/>
              <a:gd name="connsiteY1015" fmla="*/ 1081380 h 4073898"/>
              <a:gd name="connsiteX1016" fmla="*/ 3014113 w 6697570"/>
              <a:gd name="connsiteY1016" fmla="*/ 892980 h 4073898"/>
              <a:gd name="connsiteX1017" fmla="*/ 3001534 w 6697570"/>
              <a:gd name="connsiteY1017" fmla="*/ 882688 h 4073898"/>
              <a:gd name="connsiteX1018" fmla="*/ 2957508 w 6697570"/>
              <a:gd name="connsiteY1018" fmla="*/ 882688 h 4073898"/>
              <a:gd name="connsiteX1019" fmla="*/ 2944928 w 6697570"/>
              <a:gd name="connsiteY1019" fmla="*/ 892980 h 4073898"/>
              <a:gd name="connsiteX1020" fmla="*/ 2944928 w 6697570"/>
              <a:gd name="connsiteY1020" fmla="*/ 1081380 h 4073898"/>
              <a:gd name="connsiteX1021" fmla="*/ 2957508 w 6697570"/>
              <a:gd name="connsiteY1021" fmla="*/ 1091672 h 4073898"/>
              <a:gd name="connsiteX1022" fmla="*/ 2969801 w 6697570"/>
              <a:gd name="connsiteY1022" fmla="*/ 1081380 h 4073898"/>
              <a:gd name="connsiteX1023" fmla="*/ 2969801 w 6697570"/>
              <a:gd name="connsiteY1023" fmla="*/ 892980 h 4073898"/>
              <a:gd name="connsiteX1024" fmla="*/ 2957508 w 6697570"/>
              <a:gd name="connsiteY1024" fmla="*/ 882688 h 4073898"/>
              <a:gd name="connsiteX1025" fmla="*/ 2948931 w 6697570"/>
              <a:gd name="connsiteY1025" fmla="*/ 861532 h 4073898"/>
              <a:gd name="connsiteX1026" fmla="*/ 3407781 w 6697570"/>
              <a:gd name="connsiteY1026" fmla="*/ 861532 h 4073898"/>
              <a:gd name="connsiteX1027" fmla="*/ 3431796 w 6697570"/>
              <a:gd name="connsiteY1027" fmla="*/ 885547 h 4073898"/>
              <a:gd name="connsiteX1028" fmla="*/ 3431796 w 6697570"/>
              <a:gd name="connsiteY1028" fmla="*/ 1107397 h 4073898"/>
              <a:gd name="connsiteX1029" fmla="*/ 3413499 w 6697570"/>
              <a:gd name="connsiteY1029" fmla="*/ 1107397 h 4073898"/>
              <a:gd name="connsiteX1030" fmla="*/ 3467532 w 6697570"/>
              <a:gd name="connsiteY1030" fmla="*/ 1245766 h 4073898"/>
              <a:gd name="connsiteX1031" fmla="*/ 3576455 w 6697570"/>
              <a:gd name="connsiteY1031" fmla="*/ 1470474 h 4073898"/>
              <a:gd name="connsiteX1032" fmla="*/ 3577313 w 6697570"/>
              <a:gd name="connsiteY1032" fmla="*/ 2010516 h 4073898"/>
              <a:gd name="connsiteX1033" fmla="*/ 3459527 w 6697570"/>
              <a:gd name="connsiteY1033" fmla="*/ 2128302 h 4073898"/>
              <a:gd name="connsiteX1034" fmla="*/ 2896899 w 6697570"/>
              <a:gd name="connsiteY1034" fmla="*/ 2128302 h 4073898"/>
              <a:gd name="connsiteX1035" fmla="*/ 2779113 w 6697570"/>
              <a:gd name="connsiteY1035" fmla="*/ 2010516 h 4073898"/>
              <a:gd name="connsiteX1036" fmla="*/ 2779685 w 6697570"/>
              <a:gd name="connsiteY1036" fmla="*/ 1473905 h 4073898"/>
              <a:gd name="connsiteX1037" fmla="*/ 2888894 w 6697570"/>
              <a:gd name="connsiteY1037" fmla="*/ 1245766 h 4073898"/>
              <a:gd name="connsiteX1038" fmla="*/ 2942927 w 6697570"/>
              <a:gd name="connsiteY1038" fmla="*/ 1107397 h 4073898"/>
              <a:gd name="connsiteX1039" fmla="*/ 2924916 w 6697570"/>
              <a:gd name="connsiteY1039" fmla="*/ 1107397 h 4073898"/>
              <a:gd name="connsiteX1040" fmla="*/ 2924916 w 6697570"/>
              <a:gd name="connsiteY1040" fmla="*/ 885547 h 4073898"/>
              <a:gd name="connsiteX1041" fmla="*/ 2948931 w 6697570"/>
              <a:gd name="connsiteY1041" fmla="*/ 861532 h 4073898"/>
              <a:gd name="connsiteX1042" fmla="*/ 4368652 w 6697570"/>
              <a:gd name="connsiteY1042" fmla="*/ 860675 h 4073898"/>
              <a:gd name="connsiteX1043" fmla="*/ 4346638 w 6697570"/>
              <a:gd name="connsiteY1043" fmla="*/ 865249 h 4073898"/>
              <a:gd name="connsiteX1044" fmla="*/ 4328055 w 6697570"/>
              <a:gd name="connsiteY1044" fmla="*/ 861818 h 4073898"/>
              <a:gd name="connsiteX1045" fmla="*/ 4395239 w 6697570"/>
              <a:gd name="connsiteY1045" fmla="*/ 1107109 h 4073898"/>
              <a:gd name="connsiteX1046" fmla="*/ 4440696 w 6697570"/>
              <a:gd name="connsiteY1046" fmla="*/ 1107109 h 4073898"/>
              <a:gd name="connsiteX1047" fmla="*/ 4368652 w 6697570"/>
              <a:gd name="connsiteY1047" fmla="*/ 860675 h 4073898"/>
              <a:gd name="connsiteX1048" fmla="*/ 3659935 w 6697570"/>
              <a:gd name="connsiteY1048" fmla="*/ 860389 h 4073898"/>
              <a:gd name="connsiteX1049" fmla="*/ 3646499 w 6697570"/>
              <a:gd name="connsiteY1049" fmla="*/ 899555 h 4073898"/>
              <a:gd name="connsiteX1050" fmla="*/ 3689668 w 6697570"/>
              <a:gd name="connsiteY1050" fmla="*/ 945869 h 4073898"/>
              <a:gd name="connsiteX1051" fmla="*/ 3706535 w 6697570"/>
              <a:gd name="connsiteY1051" fmla="*/ 912992 h 4073898"/>
              <a:gd name="connsiteX1052" fmla="*/ 3674229 w 6697570"/>
              <a:gd name="connsiteY1052" fmla="*/ 868107 h 4073898"/>
              <a:gd name="connsiteX1053" fmla="*/ 3663937 w 6697570"/>
              <a:gd name="connsiteY1053" fmla="*/ 862390 h 4073898"/>
              <a:gd name="connsiteX1054" fmla="*/ 4952150 w 6697570"/>
              <a:gd name="connsiteY1054" fmla="*/ 853813 h 4073898"/>
              <a:gd name="connsiteX1055" fmla="*/ 4879534 w 6697570"/>
              <a:gd name="connsiteY1055" fmla="*/ 1107397 h 4073898"/>
              <a:gd name="connsiteX1056" fmla="*/ 4925276 w 6697570"/>
              <a:gd name="connsiteY1056" fmla="*/ 1107397 h 4073898"/>
              <a:gd name="connsiteX1057" fmla="*/ 4991888 w 6697570"/>
              <a:gd name="connsiteY1057" fmla="*/ 864678 h 4073898"/>
              <a:gd name="connsiteX1058" fmla="*/ 4987027 w 6697570"/>
              <a:gd name="connsiteY1058" fmla="*/ 865249 h 4073898"/>
              <a:gd name="connsiteX1059" fmla="*/ 4952150 w 6697570"/>
              <a:gd name="connsiteY1059" fmla="*/ 853813 h 4073898"/>
              <a:gd name="connsiteX1060" fmla="*/ 3655647 w 6697570"/>
              <a:gd name="connsiteY1060" fmla="*/ 833801 h 4073898"/>
              <a:gd name="connsiteX1061" fmla="*/ 3671656 w 6697570"/>
              <a:gd name="connsiteY1061" fmla="*/ 842377 h 4073898"/>
              <a:gd name="connsiteX1062" fmla="*/ 3684808 w 6697570"/>
              <a:gd name="connsiteY1062" fmla="*/ 849524 h 4073898"/>
              <a:gd name="connsiteX1063" fmla="*/ 3727404 w 6697570"/>
              <a:gd name="connsiteY1063" fmla="*/ 911848 h 4073898"/>
              <a:gd name="connsiteX1064" fmla="*/ 3695957 w 6697570"/>
              <a:gd name="connsiteY1064" fmla="*/ 967596 h 4073898"/>
              <a:gd name="connsiteX1065" fmla="*/ 3694814 w 6697570"/>
              <a:gd name="connsiteY1065" fmla="*/ 968454 h 4073898"/>
              <a:gd name="connsiteX1066" fmla="*/ 3692813 w 6697570"/>
              <a:gd name="connsiteY1066" fmla="*/ 968740 h 4073898"/>
              <a:gd name="connsiteX1067" fmla="*/ 3685951 w 6697570"/>
              <a:gd name="connsiteY1067" fmla="*/ 967882 h 4073898"/>
              <a:gd name="connsiteX1068" fmla="*/ 3625343 w 6697570"/>
              <a:gd name="connsiteY1068" fmla="*/ 903558 h 4073898"/>
              <a:gd name="connsiteX1069" fmla="*/ 3649929 w 6697570"/>
              <a:gd name="connsiteY1069" fmla="*/ 839518 h 4073898"/>
              <a:gd name="connsiteX1070" fmla="*/ 6575137 w 6697570"/>
              <a:gd name="connsiteY1070" fmla="*/ 793776 h 4073898"/>
              <a:gd name="connsiteX1071" fmla="*/ 6565989 w 6697570"/>
              <a:gd name="connsiteY1071" fmla="*/ 799209 h 4073898"/>
              <a:gd name="connsiteX1072" fmla="*/ 6544547 w 6697570"/>
              <a:gd name="connsiteY1072" fmla="*/ 923570 h 4073898"/>
              <a:gd name="connsiteX1073" fmla="*/ 6551694 w 6697570"/>
              <a:gd name="connsiteY1073" fmla="*/ 931574 h 4073898"/>
              <a:gd name="connsiteX1074" fmla="*/ 6561129 w 6697570"/>
              <a:gd name="connsiteY1074" fmla="*/ 926143 h 4073898"/>
              <a:gd name="connsiteX1075" fmla="*/ 6582283 w 6697570"/>
              <a:gd name="connsiteY1075" fmla="*/ 801782 h 4073898"/>
              <a:gd name="connsiteX1076" fmla="*/ 6575137 w 6697570"/>
              <a:gd name="connsiteY1076" fmla="*/ 793776 h 4073898"/>
              <a:gd name="connsiteX1077" fmla="*/ 6546263 w 6697570"/>
              <a:gd name="connsiteY1077" fmla="*/ 788630 h 4073898"/>
              <a:gd name="connsiteX1078" fmla="*/ 6536828 w 6697570"/>
              <a:gd name="connsiteY1078" fmla="*/ 794062 h 4073898"/>
              <a:gd name="connsiteX1079" fmla="*/ 6515386 w 6697570"/>
              <a:gd name="connsiteY1079" fmla="*/ 918424 h 4073898"/>
              <a:gd name="connsiteX1080" fmla="*/ 6522534 w 6697570"/>
              <a:gd name="connsiteY1080" fmla="*/ 926429 h 4073898"/>
              <a:gd name="connsiteX1081" fmla="*/ 6531968 w 6697570"/>
              <a:gd name="connsiteY1081" fmla="*/ 920997 h 4073898"/>
              <a:gd name="connsiteX1082" fmla="*/ 6553123 w 6697570"/>
              <a:gd name="connsiteY1082" fmla="*/ 796636 h 4073898"/>
              <a:gd name="connsiteX1083" fmla="*/ 6546263 w 6697570"/>
              <a:gd name="connsiteY1083" fmla="*/ 788630 h 4073898"/>
              <a:gd name="connsiteX1084" fmla="*/ 6517101 w 6697570"/>
              <a:gd name="connsiteY1084" fmla="*/ 783770 h 4073898"/>
              <a:gd name="connsiteX1085" fmla="*/ 6507667 w 6697570"/>
              <a:gd name="connsiteY1085" fmla="*/ 789203 h 4073898"/>
              <a:gd name="connsiteX1086" fmla="*/ 6486512 w 6697570"/>
              <a:gd name="connsiteY1086" fmla="*/ 913564 h 4073898"/>
              <a:gd name="connsiteX1087" fmla="*/ 6493659 w 6697570"/>
              <a:gd name="connsiteY1087" fmla="*/ 921569 h 4073898"/>
              <a:gd name="connsiteX1088" fmla="*/ 6503093 w 6697570"/>
              <a:gd name="connsiteY1088" fmla="*/ 916137 h 4073898"/>
              <a:gd name="connsiteX1089" fmla="*/ 6524249 w 6697570"/>
              <a:gd name="connsiteY1089" fmla="*/ 791776 h 4073898"/>
              <a:gd name="connsiteX1090" fmla="*/ 6517101 w 6697570"/>
              <a:gd name="connsiteY1090" fmla="*/ 783770 h 4073898"/>
              <a:gd name="connsiteX1091" fmla="*/ 6487941 w 6697570"/>
              <a:gd name="connsiteY1091" fmla="*/ 778910 h 4073898"/>
              <a:gd name="connsiteX1092" fmla="*/ 6478507 w 6697570"/>
              <a:gd name="connsiteY1092" fmla="*/ 784342 h 4073898"/>
              <a:gd name="connsiteX1093" fmla="*/ 6457351 w 6697570"/>
              <a:gd name="connsiteY1093" fmla="*/ 908704 h 4073898"/>
              <a:gd name="connsiteX1094" fmla="*/ 6464498 w 6697570"/>
              <a:gd name="connsiteY1094" fmla="*/ 916708 h 4073898"/>
              <a:gd name="connsiteX1095" fmla="*/ 6473933 w 6697570"/>
              <a:gd name="connsiteY1095" fmla="*/ 911277 h 4073898"/>
              <a:gd name="connsiteX1096" fmla="*/ 6495087 w 6697570"/>
              <a:gd name="connsiteY1096" fmla="*/ 786915 h 4073898"/>
              <a:gd name="connsiteX1097" fmla="*/ 6487941 w 6697570"/>
              <a:gd name="connsiteY1097" fmla="*/ 778910 h 4073898"/>
              <a:gd name="connsiteX1098" fmla="*/ 6458495 w 6697570"/>
              <a:gd name="connsiteY1098" fmla="*/ 773764 h 4073898"/>
              <a:gd name="connsiteX1099" fmla="*/ 6449061 w 6697570"/>
              <a:gd name="connsiteY1099" fmla="*/ 779196 h 4073898"/>
              <a:gd name="connsiteX1100" fmla="*/ 6427905 w 6697570"/>
              <a:gd name="connsiteY1100" fmla="*/ 903558 h 4073898"/>
              <a:gd name="connsiteX1101" fmla="*/ 6435052 w 6697570"/>
              <a:gd name="connsiteY1101" fmla="*/ 911563 h 4073898"/>
              <a:gd name="connsiteX1102" fmla="*/ 6444486 w 6697570"/>
              <a:gd name="connsiteY1102" fmla="*/ 906131 h 4073898"/>
              <a:gd name="connsiteX1103" fmla="*/ 6465641 w 6697570"/>
              <a:gd name="connsiteY1103" fmla="*/ 781769 h 4073898"/>
              <a:gd name="connsiteX1104" fmla="*/ 6458495 w 6697570"/>
              <a:gd name="connsiteY1104" fmla="*/ 773764 h 4073898"/>
              <a:gd name="connsiteX1105" fmla="*/ 6429619 w 6697570"/>
              <a:gd name="connsiteY1105" fmla="*/ 768904 h 4073898"/>
              <a:gd name="connsiteX1106" fmla="*/ 6420185 w 6697570"/>
              <a:gd name="connsiteY1106" fmla="*/ 774336 h 4073898"/>
              <a:gd name="connsiteX1107" fmla="*/ 6399030 w 6697570"/>
              <a:gd name="connsiteY1107" fmla="*/ 898698 h 4073898"/>
              <a:gd name="connsiteX1108" fmla="*/ 6406177 w 6697570"/>
              <a:gd name="connsiteY1108" fmla="*/ 906703 h 4073898"/>
              <a:gd name="connsiteX1109" fmla="*/ 6415611 w 6697570"/>
              <a:gd name="connsiteY1109" fmla="*/ 901271 h 4073898"/>
              <a:gd name="connsiteX1110" fmla="*/ 6436481 w 6697570"/>
              <a:gd name="connsiteY1110" fmla="*/ 776909 h 4073898"/>
              <a:gd name="connsiteX1111" fmla="*/ 6429619 w 6697570"/>
              <a:gd name="connsiteY1111" fmla="*/ 768904 h 4073898"/>
              <a:gd name="connsiteX1112" fmla="*/ 6400173 w 6697570"/>
              <a:gd name="connsiteY1112" fmla="*/ 764044 h 4073898"/>
              <a:gd name="connsiteX1113" fmla="*/ 6390739 w 6697570"/>
              <a:gd name="connsiteY1113" fmla="*/ 769476 h 4073898"/>
              <a:gd name="connsiteX1114" fmla="*/ 6369583 w 6697570"/>
              <a:gd name="connsiteY1114" fmla="*/ 893838 h 4073898"/>
              <a:gd name="connsiteX1115" fmla="*/ 6376731 w 6697570"/>
              <a:gd name="connsiteY1115" fmla="*/ 901842 h 4073898"/>
              <a:gd name="connsiteX1116" fmla="*/ 6386165 w 6697570"/>
              <a:gd name="connsiteY1116" fmla="*/ 896410 h 4073898"/>
              <a:gd name="connsiteX1117" fmla="*/ 6407321 w 6697570"/>
              <a:gd name="connsiteY1117" fmla="*/ 772049 h 4073898"/>
              <a:gd name="connsiteX1118" fmla="*/ 6400173 w 6697570"/>
              <a:gd name="connsiteY1118" fmla="*/ 764044 h 4073898"/>
              <a:gd name="connsiteX1119" fmla="*/ 1582099 w 6697570"/>
              <a:gd name="connsiteY1119" fmla="*/ 761757 h 4073898"/>
              <a:gd name="connsiteX1120" fmla="*/ 1520063 w 6697570"/>
              <a:gd name="connsiteY1120" fmla="*/ 786343 h 4073898"/>
              <a:gd name="connsiteX1121" fmla="*/ 1478894 w 6697570"/>
              <a:gd name="connsiteY1121" fmla="*/ 778053 h 4073898"/>
              <a:gd name="connsiteX1122" fmla="*/ 1467744 w 6697570"/>
              <a:gd name="connsiteY1122" fmla="*/ 794920 h 4073898"/>
              <a:gd name="connsiteX1123" fmla="*/ 1465457 w 6697570"/>
              <a:gd name="connsiteY1123" fmla="*/ 797494 h 4073898"/>
              <a:gd name="connsiteX1124" fmla="*/ 1463171 w 6697570"/>
              <a:gd name="connsiteY1124" fmla="*/ 800352 h 4073898"/>
              <a:gd name="connsiteX1125" fmla="*/ 1441443 w 6697570"/>
              <a:gd name="connsiteY1125" fmla="*/ 818649 h 4073898"/>
              <a:gd name="connsiteX1126" fmla="*/ 1432866 w 6697570"/>
              <a:gd name="connsiteY1126" fmla="*/ 823508 h 4073898"/>
              <a:gd name="connsiteX1127" fmla="*/ 1676443 w 6697570"/>
              <a:gd name="connsiteY1127" fmla="*/ 927286 h 4073898"/>
              <a:gd name="connsiteX1128" fmla="*/ 1807952 w 6697570"/>
              <a:gd name="connsiteY1128" fmla="*/ 894410 h 4073898"/>
              <a:gd name="connsiteX1129" fmla="*/ 1801662 w 6697570"/>
              <a:gd name="connsiteY1129" fmla="*/ 892980 h 4073898"/>
              <a:gd name="connsiteX1130" fmla="*/ 1799946 w 6697570"/>
              <a:gd name="connsiteY1130" fmla="*/ 892408 h 4073898"/>
              <a:gd name="connsiteX1131" fmla="*/ 1783079 w 6697570"/>
              <a:gd name="connsiteY1131" fmla="*/ 887548 h 4073898"/>
              <a:gd name="connsiteX1132" fmla="*/ 1782222 w 6697570"/>
              <a:gd name="connsiteY1132" fmla="*/ 883260 h 4073898"/>
              <a:gd name="connsiteX1133" fmla="*/ 1781078 w 6697570"/>
              <a:gd name="connsiteY1133" fmla="*/ 887262 h 4073898"/>
              <a:gd name="connsiteX1134" fmla="*/ 1683304 w 6697570"/>
              <a:gd name="connsiteY1134" fmla="*/ 839804 h 4073898"/>
              <a:gd name="connsiteX1135" fmla="*/ 1582099 w 6697570"/>
              <a:gd name="connsiteY1135" fmla="*/ 761757 h 4073898"/>
              <a:gd name="connsiteX1136" fmla="*/ 897112 w 6697570"/>
              <a:gd name="connsiteY1136" fmla="*/ 761186 h 4073898"/>
              <a:gd name="connsiteX1137" fmla="*/ 795907 w 6697570"/>
              <a:gd name="connsiteY1137" fmla="*/ 839233 h 4073898"/>
              <a:gd name="connsiteX1138" fmla="*/ 698991 w 6697570"/>
              <a:gd name="connsiteY1138" fmla="*/ 886405 h 4073898"/>
              <a:gd name="connsiteX1139" fmla="*/ 697275 w 6697570"/>
              <a:gd name="connsiteY1139" fmla="*/ 886976 h 4073898"/>
              <a:gd name="connsiteX1140" fmla="*/ 679265 w 6697570"/>
              <a:gd name="connsiteY1140" fmla="*/ 892122 h 4073898"/>
              <a:gd name="connsiteX1141" fmla="*/ 677263 w 6697570"/>
              <a:gd name="connsiteY1141" fmla="*/ 892694 h 4073898"/>
              <a:gd name="connsiteX1142" fmla="*/ 671260 w 6697570"/>
              <a:gd name="connsiteY1142" fmla="*/ 893838 h 4073898"/>
              <a:gd name="connsiteX1143" fmla="*/ 802769 w 6697570"/>
              <a:gd name="connsiteY1143" fmla="*/ 926715 h 4073898"/>
              <a:gd name="connsiteX1144" fmla="*/ 1046346 w 6697570"/>
              <a:gd name="connsiteY1144" fmla="*/ 822937 h 4073898"/>
              <a:gd name="connsiteX1145" fmla="*/ 1037483 w 6697570"/>
              <a:gd name="connsiteY1145" fmla="*/ 817791 h 4073898"/>
              <a:gd name="connsiteX1146" fmla="*/ 1015755 w 6697570"/>
              <a:gd name="connsiteY1146" fmla="*/ 799494 h 4073898"/>
              <a:gd name="connsiteX1147" fmla="*/ 1013468 w 6697570"/>
              <a:gd name="connsiteY1147" fmla="*/ 796922 h 4073898"/>
              <a:gd name="connsiteX1148" fmla="*/ 1016041 w 6697570"/>
              <a:gd name="connsiteY1148" fmla="*/ 793491 h 4073898"/>
              <a:gd name="connsiteX1149" fmla="*/ 1012897 w 6697570"/>
              <a:gd name="connsiteY1149" fmla="*/ 796064 h 4073898"/>
              <a:gd name="connsiteX1150" fmla="*/ 1011467 w 6697570"/>
              <a:gd name="connsiteY1150" fmla="*/ 794349 h 4073898"/>
              <a:gd name="connsiteX1151" fmla="*/ 1000317 w 6697570"/>
              <a:gd name="connsiteY1151" fmla="*/ 777481 h 4073898"/>
              <a:gd name="connsiteX1152" fmla="*/ 959149 w 6697570"/>
              <a:gd name="connsiteY1152" fmla="*/ 785772 h 4073898"/>
              <a:gd name="connsiteX1153" fmla="*/ 897112 w 6697570"/>
              <a:gd name="connsiteY1153" fmla="*/ 761186 h 4073898"/>
              <a:gd name="connsiteX1154" fmla="*/ 6371013 w 6697570"/>
              <a:gd name="connsiteY1154" fmla="*/ 758898 h 4073898"/>
              <a:gd name="connsiteX1155" fmla="*/ 6361579 w 6697570"/>
              <a:gd name="connsiteY1155" fmla="*/ 764330 h 4073898"/>
              <a:gd name="connsiteX1156" fmla="*/ 6340423 w 6697570"/>
              <a:gd name="connsiteY1156" fmla="*/ 888692 h 4073898"/>
              <a:gd name="connsiteX1157" fmla="*/ 6347570 w 6697570"/>
              <a:gd name="connsiteY1157" fmla="*/ 896696 h 4073898"/>
              <a:gd name="connsiteX1158" fmla="*/ 6357005 w 6697570"/>
              <a:gd name="connsiteY1158" fmla="*/ 891265 h 4073898"/>
              <a:gd name="connsiteX1159" fmla="*/ 6378161 w 6697570"/>
              <a:gd name="connsiteY1159" fmla="*/ 766903 h 4073898"/>
              <a:gd name="connsiteX1160" fmla="*/ 6371013 w 6697570"/>
              <a:gd name="connsiteY1160" fmla="*/ 758898 h 4073898"/>
              <a:gd name="connsiteX1161" fmla="*/ 2213912 w 6697570"/>
              <a:gd name="connsiteY1161" fmla="*/ 756325 h 4073898"/>
              <a:gd name="connsiteX1162" fmla="*/ 2213341 w 6697570"/>
              <a:gd name="connsiteY1162" fmla="*/ 958734 h 4073898"/>
              <a:gd name="connsiteX1163" fmla="*/ 2274521 w 6697570"/>
              <a:gd name="connsiteY1163" fmla="*/ 1107682 h 4073898"/>
              <a:gd name="connsiteX1164" fmla="*/ 2422896 w 6697570"/>
              <a:gd name="connsiteY1164" fmla="*/ 1169719 h 4073898"/>
              <a:gd name="connsiteX1165" fmla="*/ 2423468 w 6697570"/>
              <a:gd name="connsiteY1165" fmla="*/ 1182299 h 4073898"/>
              <a:gd name="connsiteX1166" fmla="*/ 2423468 w 6697570"/>
              <a:gd name="connsiteY1166" fmla="*/ 1169719 h 4073898"/>
              <a:gd name="connsiteX1167" fmla="*/ 2633882 w 6697570"/>
              <a:gd name="connsiteY1167" fmla="*/ 960163 h 4073898"/>
              <a:gd name="connsiteX1168" fmla="*/ 2634453 w 6697570"/>
              <a:gd name="connsiteY1168" fmla="*/ 757468 h 4073898"/>
              <a:gd name="connsiteX1169" fmla="*/ 2424040 w 6697570"/>
              <a:gd name="connsiteY1169" fmla="*/ 756897 h 4073898"/>
              <a:gd name="connsiteX1170" fmla="*/ 6341853 w 6697570"/>
              <a:gd name="connsiteY1170" fmla="*/ 754038 h 4073898"/>
              <a:gd name="connsiteX1171" fmla="*/ 6332419 w 6697570"/>
              <a:gd name="connsiteY1171" fmla="*/ 759470 h 4073898"/>
              <a:gd name="connsiteX1172" fmla="*/ 6311262 w 6697570"/>
              <a:gd name="connsiteY1172" fmla="*/ 883831 h 4073898"/>
              <a:gd name="connsiteX1173" fmla="*/ 6318409 w 6697570"/>
              <a:gd name="connsiteY1173" fmla="*/ 891836 h 4073898"/>
              <a:gd name="connsiteX1174" fmla="*/ 6327843 w 6697570"/>
              <a:gd name="connsiteY1174" fmla="*/ 886405 h 4073898"/>
              <a:gd name="connsiteX1175" fmla="*/ 6348999 w 6697570"/>
              <a:gd name="connsiteY1175" fmla="*/ 762043 h 4073898"/>
              <a:gd name="connsiteX1176" fmla="*/ 6341853 w 6697570"/>
              <a:gd name="connsiteY1176" fmla="*/ 754038 h 4073898"/>
              <a:gd name="connsiteX1177" fmla="*/ 6312691 w 6697570"/>
              <a:gd name="connsiteY1177" fmla="*/ 749178 h 4073898"/>
              <a:gd name="connsiteX1178" fmla="*/ 6303257 w 6697570"/>
              <a:gd name="connsiteY1178" fmla="*/ 754610 h 4073898"/>
              <a:gd name="connsiteX1179" fmla="*/ 6282102 w 6697570"/>
              <a:gd name="connsiteY1179" fmla="*/ 878971 h 4073898"/>
              <a:gd name="connsiteX1180" fmla="*/ 6289249 w 6697570"/>
              <a:gd name="connsiteY1180" fmla="*/ 886976 h 4073898"/>
              <a:gd name="connsiteX1181" fmla="*/ 6298683 w 6697570"/>
              <a:gd name="connsiteY1181" fmla="*/ 881545 h 4073898"/>
              <a:gd name="connsiteX1182" fmla="*/ 6319839 w 6697570"/>
              <a:gd name="connsiteY1182" fmla="*/ 757183 h 4073898"/>
              <a:gd name="connsiteX1183" fmla="*/ 6312691 w 6697570"/>
              <a:gd name="connsiteY1183" fmla="*/ 749178 h 4073898"/>
              <a:gd name="connsiteX1184" fmla="*/ 5715184 w 6697570"/>
              <a:gd name="connsiteY1184" fmla="*/ 748606 h 4073898"/>
              <a:gd name="connsiteX1185" fmla="*/ 5670301 w 6697570"/>
              <a:gd name="connsiteY1185" fmla="*/ 793490 h 4073898"/>
              <a:gd name="connsiteX1186" fmla="*/ 5670301 w 6697570"/>
              <a:gd name="connsiteY1186" fmla="*/ 823223 h 4073898"/>
              <a:gd name="connsiteX1187" fmla="*/ 5619126 w 6697570"/>
              <a:gd name="connsiteY1187" fmla="*/ 823223 h 4073898"/>
              <a:gd name="connsiteX1188" fmla="*/ 5602259 w 6697570"/>
              <a:gd name="connsiteY1188" fmla="*/ 840090 h 4073898"/>
              <a:gd name="connsiteX1189" fmla="*/ 5619126 w 6697570"/>
              <a:gd name="connsiteY1189" fmla="*/ 856957 h 4073898"/>
              <a:gd name="connsiteX1190" fmla="*/ 5670301 w 6697570"/>
              <a:gd name="connsiteY1190" fmla="*/ 856957 h 4073898"/>
              <a:gd name="connsiteX1191" fmla="*/ 5670301 w 6697570"/>
              <a:gd name="connsiteY1191" fmla="*/ 900413 h 4073898"/>
              <a:gd name="connsiteX1192" fmla="*/ 5619126 w 6697570"/>
              <a:gd name="connsiteY1192" fmla="*/ 900413 h 4073898"/>
              <a:gd name="connsiteX1193" fmla="*/ 5602259 w 6697570"/>
              <a:gd name="connsiteY1193" fmla="*/ 917280 h 4073898"/>
              <a:gd name="connsiteX1194" fmla="*/ 5619126 w 6697570"/>
              <a:gd name="connsiteY1194" fmla="*/ 934147 h 4073898"/>
              <a:gd name="connsiteX1195" fmla="*/ 5670301 w 6697570"/>
              <a:gd name="connsiteY1195" fmla="*/ 934147 h 4073898"/>
              <a:gd name="connsiteX1196" fmla="*/ 5670301 w 6697570"/>
              <a:gd name="connsiteY1196" fmla="*/ 977602 h 4073898"/>
              <a:gd name="connsiteX1197" fmla="*/ 5619126 w 6697570"/>
              <a:gd name="connsiteY1197" fmla="*/ 977602 h 4073898"/>
              <a:gd name="connsiteX1198" fmla="*/ 5602259 w 6697570"/>
              <a:gd name="connsiteY1198" fmla="*/ 994470 h 4073898"/>
              <a:gd name="connsiteX1199" fmla="*/ 5619126 w 6697570"/>
              <a:gd name="connsiteY1199" fmla="*/ 1011337 h 4073898"/>
              <a:gd name="connsiteX1200" fmla="*/ 5670301 w 6697570"/>
              <a:gd name="connsiteY1200" fmla="*/ 1011337 h 4073898"/>
              <a:gd name="connsiteX1201" fmla="*/ 5670301 w 6697570"/>
              <a:gd name="connsiteY1201" fmla="*/ 1054792 h 4073898"/>
              <a:gd name="connsiteX1202" fmla="*/ 5619126 w 6697570"/>
              <a:gd name="connsiteY1202" fmla="*/ 1054792 h 4073898"/>
              <a:gd name="connsiteX1203" fmla="*/ 5602259 w 6697570"/>
              <a:gd name="connsiteY1203" fmla="*/ 1071660 h 4073898"/>
              <a:gd name="connsiteX1204" fmla="*/ 5619126 w 6697570"/>
              <a:gd name="connsiteY1204" fmla="*/ 1088527 h 4073898"/>
              <a:gd name="connsiteX1205" fmla="*/ 5670301 w 6697570"/>
              <a:gd name="connsiteY1205" fmla="*/ 1088527 h 4073898"/>
              <a:gd name="connsiteX1206" fmla="*/ 5670301 w 6697570"/>
              <a:gd name="connsiteY1206" fmla="*/ 1131982 h 4073898"/>
              <a:gd name="connsiteX1207" fmla="*/ 5619126 w 6697570"/>
              <a:gd name="connsiteY1207" fmla="*/ 1131982 h 4073898"/>
              <a:gd name="connsiteX1208" fmla="*/ 5602259 w 6697570"/>
              <a:gd name="connsiteY1208" fmla="*/ 1148850 h 4073898"/>
              <a:gd name="connsiteX1209" fmla="*/ 5619126 w 6697570"/>
              <a:gd name="connsiteY1209" fmla="*/ 1165717 h 4073898"/>
              <a:gd name="connsiteX1210" fmla="*/ 5670301 w 6697570"/>
              <a:gd name="connsiteY1210" fmla="*/ 1165717 h 4073898"/>
              <a:gd name="connsiteX1211" fmla="*/ 5670301 w 6697570"/>
              <a:gd name="connsiteY1211" fmla="*/ 1209172 h 4073898"/>
              <a:gd name="connsiteX1212" fmla="*/ 5619126 w 6697570"/>
              <a:gd name="connsiteY1212" fmla="*/ 1209172 h 4073898"/>
              <a:gd name="connsiteX1213" fmla="*/ 5602259 w 6697570"/>
              <a:gd name="connsiteY1213" fmla="*/ 1226040 h 4073898"/>
              <a:gd name="connsiteX1214" fmla="*/ 5619126 w 6697570"/>
              <a:gd name="connsiteY1214" fmla="*/ 1242907 h 4073898"/>
              <a:gd name="connsiteX1215" fmla="*/ 5670301 w 6697570"/>
              <a:gd name="connsiteY1215" fmla="*/ 1242907 h 4073898"/>
              <a:gd name="connsiteX1216" fmla="*/ 5670301 w 6697570"/>
              <a:gd name="connsiteY1216" fmla="*/ 1286361 h 4073898"/>
              <a:gd name="connsiteX1217" fmla="*/ 5619126 w 6697570"/>
              <a:gd name="connsiteY1217" fmla="*/ 1286361 h 4073898"/>
              <a:gd name="connsiteX1218" fmla="*/ 5602259 w 6697570"/>
              <a:gd name="connsiteY1218" fmla="*/ 1303229 h 4073898"/>
              <a:gd name="connsiteX1219" fmla="*/ 5619126 w 6697570"/>
              <a:gd name="connsiteY1219" fmla="*/ 1320096 h 4073898"/>
              <a:gd name="connsiteX1220" fmla="*/ 5670301 w 6697570"/>
              <a:gd name="connsiteY1220" fmla="*/ 1320096 h 4073898"/>
              <a:gd name="connsiteX1221" fmla="*/ 5670301 w 6697570"/>
              <a:gd name="connsiteY1221" fmla="*/ 1349543 h 4073898"/>
              <a:gd name="connsiteX1222" fmla="*/ 5563664 w 6697570"/>
              <a:gd name="connsiteY1222" fmla="*/ 1494202 h 4073898"/>
              <a:gd name="connsiteX1223" fmla="*/ 5715184 w 6697570"/>
              <a:gd name="connsiteY1223" fmla="*/ 1645723 h 4073898"/>
              <a:gd name="connsiteX1224" fmla="*/ 5866705 w 6697570"/>
              <a:gd name="connsiteY1224" fmla="*/ 1494202 h 4073898"/>
              <a:gd name="connsiteX1225" fmla="*/ 5760069 w 6697570"/>
              <a:gd name="connsiteY1225" fmla="*/ 1349543 h 4073898"/>
              <a:gd name="connsiteX1226" fmla="*/ 5760069 w 6697570"/>
              <a:gd name="connsiteY1226" fmla="*/ 1320096 h 4073898"/>
              <a:gd name="connsiteX1227" fmla="*/ 5811529 w 6697570"/>
              <a:gd name="connsiteY1227" fmla="*/ 1320096 h 4073898"/>
              <a:gd name="connsiteX1228" fmla="*/ 5828396 w 6697570"/>
              <a:gd name="connsiteY1228" fmla="*/ 1303229 h 4073898"/>
              <a:gd name="connsiteX1229" fmla="*/ 5811529 w 6697570"/>
              <a:gd name="connsiteY1229" fmla="*/ 1286361 h 4073898"/>
              <a:gd name="connsiteX1230" fmla="*/ 5760069 w 6697570"/>
              <a:gd name="connsiteY1230" fmla="*/ 1286361 h 4073898"/>
              <a:gd name="connsiteX1231" fmla="*/ 5760069 w 6697570"/>
              <a:gd name="connsiteY1231" fmla="*/ 1242907 h 4073898"/>
              <a:gd name="connsiteX1232" fmla="*/ 5811529 w 6697570"/>
              <a:gd name="connsiteY1232" fmla="*/ 1242907 h 4073898"/>
              <a:gd name="connsiteX1233" fmla="*/ 5828396 w 6697570"/>
              <a:gd name="connsiteY1233" fmla="*/ 1226040 h 4073898"/>
              <a:gd name="connsiteX1234" fmla="*/ 5811529 w 6697570"/>
              <a:gd name="connsiteY1234" fmla="*/ 1209172 h 4073898"/>
              <a:gd name="connsiteX1235" fmla="*/ 5760069 w 6697570"/>
              <a:gd name="connsiteY1235" fmla="*/ 1209172 h 4073898"/>
              <a:gd name="connsiteX1236" fmla="*/ 5760069 w 6697570"/>
              <a:gd name="connsiteY1236" fmla="*/ 1165717 h 4073898"/>
              <a:gd name="connsiteX1237" fmla="*/ 5811529 w 6697570"/>
              <a:gd name="connsiteY1237" fmla="*/ 1165717 h 4073898"/>
              <a:gd name="connsiteX1238" fmla="*/ 5828396 w 6697570"/>
              <a:gd name="connsiteY1238" fmla="*/ 1148850 h 4073898"/>
              <a:gd name="connsiteX1239" fmla="*/ 5811529 w 6697570"/>
              <a:gd name="connsiteY1239" fmla="*/ 1131982 h 4073898"/>
              <a:gd name="connsiteX1240" fmla="*/ 5760069 w 6697570"/>
              <a:gd name="connsiteY1240" fmla="*/ 1131982 h 4073898"/>
              <a:gd name="connsiteX1241" fmla="*/ 5760069 w 6697570"/>
              <a:gd name="connsiteY1241" fmla="*/ 1088527 h 4073898"/>
              <a:gd name="connsiteX1242" fmla="*/ 5811529 w 6697570"/>
              <a:gd name="connsiteY1242" fmla="*/ 1088527 h 4073898"/>
              <a:gd name="connsiteX1243" fmla="*/ 5828396 w 6697570"/>
              <a:gd name="connsiteY1243" fmla="*/ 1071660 h 4073898"/>
              <a:gd name="connsiteX1244" fmla="*/ 5811529 w 6697570"/>
              <a:gd name="connsiteY1244" fmla="*/ 1054792 h 4073898"/>
              <a:gd name="connsiteX1245" fmla="*/ 5760069 w 6697570"/>
              <a:gd name="connsiteY1245" fmla="*/ 1054792 h 4073898"/>
              <a:gd name="connsiteX1246" fmla="*/ 5760069 w 6697570"/>
              <a:gd name="connsiteY1246" fmla="*/ 1011337 h 4073898"/>
              <a:gd name="connsiteX1247" fmla="*/ 5811529 w 6697570"/>
              <a:gd name="connsiteY1247" fmla="*/ 1011337 h 4073898"/>
              <a:gd name="connsiteX1248" fmla="*/ 5828396 w 6697570"/>
              <a:gd name="connsiteY1248" fmla="*/ 994470 h 4073898"/>
              <a:gd name="connsiteX1249" fmla="*/ 5811529 w 6697570"/>
              <a:gd name="connsiteY1249" fmla="*/ 977602 h 4073898"/>
              <a:gd name="connsiteX1250" fmla="*/ 5760069 w 6697570"/>
              <a:gd name="connsiteY1250" fmla="*/ 977602 h 4073898"/>
              <a:gd name="connsiteX1251" fmla="*/ 5760069 w 6697570"/>
              <a:gd name="connsiteY1251" fmla="*/ 934147 h 4073898"/>
              <a:gd name="connsiteX1252" fmla="*/ 5811529 w 6697570"/>
              <a:gd name="connsiteY1252" fmla="*/ 934147 h 4073898"/>
              <a:gd name="connsiteX1253" fmla="*/ 5828396 w 6697570"/>
              <a:gd name="connsiteY1253" fmla="*/ 917280 h 4073898"/>
              <a:gd name="connsiteX1254" fmla="*/ 5811529 w 6697570"/>
              <a:gd name="connsiteY1254" fmla="*/ 900413 h 4073898"/>
              <a:gd name="connsiteX1255" fmla="*/ 5760069 w 6697570"/>
              <a:gd name="connsiteY1255" fmla="*/ 900413 h 4073898"/>
              <a:gd name="connsiteX1256" fmla="*/ 5760069 w 6697570"/>
              <a:gd name="connsiteY1256" fmla="*/ 856957 h 4073898"/>
              <a:gd name="connsiteX1257" fmla="*/ 5811529 w 6697570"/>
              <a:gd name="connsiteY1257" fmla="*/ 856957 h 4073898"/>
              <a:gd name="connsiteX1258" fmla="*/ 5828396 w 6697570"/>
              <a:gd name="connsiteY1258" fmla="*/ 840090 h 4073898"/>
              <a:gd name="connsiteX1259" fmla="*/ 5811529 w 6697570"/>
              <a:gd name="connsiteY1259" fmla="*/ 823223 h 4073898"/>
              <a:gd name="connsiteX1260" fmla="*/ 5760069 w 6697570"/>
              <a:gd name="connsiteY1260" fmla="*/ 823223 h 4073898"/>
              <a:gd name="connsiteX1261" fmla="*/ 5760069 w 6697570"/>
              <a:gd name="connsiteY1261" fmla="*/ 793490 h 4073898"/>
              <a:gd name="connsiteX1262" fmla="*/ 5715184 w 6697570"/>
              <a:gd name="connsiteY1262" fmla="*/ 748606 h 4073898"/>
              <a:gd name="connsiteX1263" fmla="*/ 6283531 w 6697570"/>
              <a:gd name="connsiteY1263" fmla="*/ 744318 h 4073898"/>
              <a:gd name="connsiteX1264" fmla="*/ 6274097 w 6697570"/>
              <a:gd name="connsiteY1264" fmla="*/ 749750 h 4073898"/>
              <a:gd name="connsiteX1265" fmla="*/ 6252941 w 6697570"/>
              <a:gd name="connsiteY1265" fmla="*/ 874111 h 4073898"/>
              <a:gd name="connsiteX1266" fmla="*/ 6260089 w 6697570"/>
              <a:gd name="connsiteY1266" fmla="*/ 882116 h 4073898"/>
              <a:gd name="connsiteX1267" fmla="*/ 6269523 w 6697570"/>
              <a:gd name="connsiteY1267" fmla="*/ 876685 h 4073898"/>
              <a:gd name="connsiteX1268" fmla="*/ 6290679 w 6697570"/>
              <a:gd name="connsiteY1268" fmla="*/ 752323 h 4073898"/>
              <a:gd name="connsiteX1269" fmla="*/ 6283531 w 6697570"/>
              <a:gd name="connsiteY1269" fmla="*/ 744318 h 4073898"/>
              <a:gd name="connsiteX1270" fmla="*/ 4550477 w 6697570"/>
              <a:gd name="connsiteY1270" fmla="*/ 736028 h 4073898"/>
              <a:gd name="connsiteX1271" fmla="*/ 4550191 w 6697570"/>
              <a:gd name="connsiteY1271" fmla="*/ 854384 h 4073898"/>
              <a:gd name="connsiteX1272" fmla="*/ 4586213 w 6697570"/>
              <a:gd name="connsiteY1272" fmla="*/ 941580 h 4073898"/>
              <a:gd name="connsiteX1273" fmla="*/ 4673122 w 6697570"/>
              <a:gd name="connsiteY1273" fmla="*/ 977888 h 4073898"/>
              <a:gd name="connsiteX1274" fmla="*/ 4673409 w 6697570"/>
              <a:gd name="connsiteY1274" fmla="*/ 985321 h 4073898"/>
              <a:gd name="connsiteX1275" fmla="*/ 4673409 w 6697570"/>
              <a:gd name="connsiteY1275" fmla="*/ 977888 h 4073898"/>
              <a:gd name="connsiteX1276" fmla="*/ 4796626 w 6697570"/>
              <a:gd name="connsiteY1276" fmla="*/ 855242 h 4073898"/>
              <a:gd name="connsiteX1277" fmla="*/ 4796626 w 6697570"/>
              <a:gd name="connsiteY1277" fmla="*/ 736601 h 4073898"/>
              <a:gd name="connsiteX1278" fmla="*/ 4673695 w 6697570"/>
              <a:gd name="connsiteY1278" fmla="*/ 736315 h 4073898"/>
              <a:gd name="connsiteX1279" fmla="*/ 1165276 w 6697570"/>
              <a:gd name="connsiteY1279" fmla="*/ 732312 h 4073898"/>
              <a:gd name="connsiteX1280" fmla="*/ 1150981 w 6697570"/>
              <a:gd name="connsiteY1280" fmla="*/ 733742 h 4073898"/>
              <a:gd name="connsiteX1281" fmla="*/ 1166133 w 6697570"/>
              <a:gd name="connsiteY1281" fmla="*/ 753180 h 4073898"/>
              <a:gd name="connsiteX1282" fmla="*/ 6280386 w 6697570"/>
              <a:gd name="connsiteY1282" fmla="*/ 729452 h 4073898"/>
              <a:gd name="connsiteX1283" fmla="*/ 6583142 w 6697570"/>
              <a:gd name="connsiteY1283" fmla="*/ 780912 h 4073898"/>
              <a:gd name="connsiteX1284" fmla="*/ 6596293 w 6697570"/>
              <a:gd name="connsiteY1284" fmla="*/ 799494 h 4073898"/>
              <a:gd name="connsiteX1285" fmla="*/ 6571421 w 6697570"/>
              <a:gd name="connsiteY1285" fmla="*/ 945869 h 4073898"/>
              <a:gd name="connsiteX1286" fmla="*/ 6559413 w 6697570"/>
              <a:gd name="connsiteY1286" fmla="*/ 943868 h 4073898"/>
              <a:gd name="connsiteX1287" fmla="*/ 6579711 w 6697570"/>
              <a:gd name="connsiteY1287" fmla="*/ 1041069 h 4073898"/>
              <a:gd name="connsiteX1288" fmla="*/ 6626311 w 6697570"/>
              <a:gd name="connsiteY1288" fmla="*/ 1201453 h 4073898"/>
              <a:gd name="connsiteX1289" fmla="*/ 6566560 w 6697570"/>
              <a:gd name="connsiteY1289" fmla="*/ 1557956 h 4073898"/>
              <a:gd name="connsiteX1290" fmla="*/ 6475647 w 6697570"/>
              <a:gd name="connsiteY1290" fmla="*/ 1622566 h 4073898"/>
              <a:gd name="connsiteX1291" fmla="*/ 6104565 w 6697570"/>
              <a:gd name="connsiteY1291" fmla="*/ 1559670 h 4073898"/>
              <a:gd name="connsiteX1292" fmla="*/ 6039954 w 6697570"/>
              <a:gd name="connsiteY1292" fmla="*/ 1468759 h 4073898"/>
              <a:gd name="connsiteX1293" fmla="*/ 6100277 w 6697570"/>
              <a:gd name="connsiteY1293" fmla="*/ 1114543 h 4073898"/>
              <a:gd name="connsiteX1294" fmla="*/ 6197765 w 6697570"/>
              <a:gd name="connsiteY1294" fmla="*/ 976174 h 4073898"/>
              <a:gd name="connsiteX1295" fmla="*/ 6248939 w 6697570"/>
              <a:gd name="connsiteY1295" fmla="*/ 890978 h 4073898"/>
              <a:gd name="connsiteX1296" fmla="*/ 6236931 w 6697570"/>
              <a:gd name="connsiteY1296" fmla="*/ 888977 h 4073898"/>
              <a:gd name="connsiteX1297" fmla="*/ 6261803 w 6697570"/>
              <a:gd name="connsiteY1297" fmla="*/ 742602 h 4073898"/>
              <a:gd name="connsiteX1298" fmla="*/ 6280386 w 6697570"/>
              <a:gd name="connsiteY1298" fmla="*/ 729452 h 4073898"/>
              <a:gd name="connsiteX1299" fmla="*/ 1301072 w 6697570"/>
              <a:gd name="connsiteY1299" fmla="*/ 720590 h 4073898"/>
              <a:gd name="connsiteX1300" fmla="*/ 1300500 w 6697570"/>
              <a:gd name="connsiteY1300" fmla="*/ 794920 h 4073898"/>
              <a:gd name="connsiteX1301" fmla="*/ 1354247 w 6697570"/>
              <a:gd name="connsiteY1301" fmla="*/ 732883 h 4073898"/>
              <a:gd name="connsiteX1302" fmla="*/ 1311650 w 6697570"/>
              <a:gd name="connsiteY1302" fmla="*/ 726879 h 4073898"/>
              <a:gd name="connsiteX1303" fmla="*/ 1301072 w 6697570"/>
              <a:gd name="connsiteY1303" fmla="*/ 720590 h 4073898"/>
              <a:gd name="connsiteX1304" fmla="*/ 4987314 w 6697570"/>
              <a:gd name="connsiteY1304" fmla="*/ 712300 h 4073898"/>
              <a:gd name="connsiteX1305" fmla="*/ 5047636 w 6697570"/>
              <a:gd name="connsiteY1305" fmla="*/ 803783 h 4073898"/>
              <a:gd name="connsiteX1306" fmla="*/ 5021905 w 6697570"/>
              <a:gd name="connsiteY1306" fmla="*/ 854385 h 4073898"/>
              <a:gd name="connsiteX1307" fmla="*/ 4693992 w 6697570"/>
              <a:gd name="connsiteY1307" fmla="*/ 1325242 h 4073898"/>
              <a:gd name="connsiteX1308" fmla="*/ 4683415 w 6697570"/>
              <a:gd name="connsiteY1308" fmla="*/ 1566246 h 4073898"/>
              <a:gd name="connsiteX1309" fmla="*/ 4732873 w 6697570"/>
              <a:gd name="connsiteY1309" fmla="*/ 1893874 h 4073898"/>
              <a:gd name="connsiteX1310" fmla="*/ 4434406 w 6697570"/>
              <a:gd name="connsiteY1310" fmla="*/ 2025382 h 4073898"/>
              <a:gd name="connsiteX1311" fmla="*/ 4123360 w 6697570"/>
              <a:gd name="connsiteY1311" fmla="*/ 1698326 h 4073898"/>
              <a:gd name="connsiteX1312" fmla="*/ 4070470 w 6697570"/>
              <a:gd name="connsiteY1312" fmla="*/ 1528509 h 4073898"/>
              <a:gd name="connsiteX1313" fmla="*/ 4031304 w 6697570"/>
              <a:gd name="connsiteY1313" fmla="*/ 1535084 h 4073898"/>
              <a:gd name="connsiteX1314" fmla="*/ 3910373 w 6697570"/>
              <a:gd name="connsiteY1314" fmla="*/ 1412152 h 4073898"/>
              <a:gd name="connsiteX1315" fmla="*/ 4031304 w 6697570"/>
              <a:gd name="connsiteY1315" fmla="*/ 1289221 h 4073898"/>
              <a:gd name="connsiteX1316" fmla="*/ 4152520 w 6697570"/>
              <a:gd name="connsiteY1316" fmla="*/ 1412152 h 4073898"/>
              <a:gd name="connsiteX1317" fmla="*/ 4142514 w 6697570"/>
              <a:gd name="connsiteY1317" fmla="*/ 1461039 h 4073898"/>
              <a:gd name="connsiteX1318" fmla="*/ 4219418 w 6697570"/>
              <a:gd name="connsiteY1318" fmla="*/ 1679744 h 4073898"/>
              <a:gd name="connsiteX1319" fmla="*/ 4434406 w 6697570"/>
              <a:gd name="connsiteY1319" fmla="*/ 1925893 h 4073898"/>
              <a:gd name="connsiteX1320" fmla="*/ 4647393 w 6697570"/>
              <a:gd name="connsiteY1320" fmla="*/ 1845559 h 4073898"/>
              <a:gd name="connsiteX1321" fmla="*/ 4600220 w 6697570"/>
              <a:gd name="connsiteY1321" fmla="*/ 1618564 h 4073898"/>
              <a:gd name="connsiteX1322" fmla="*/ 4592216 w 6697570"/>
              <a:gd name="connsiteY1322" fmla="*/ 1318382 h 4073898"/>
              <a:gd name="connsiteX1323" fmla="*/ 4298609 w 6697570"/>
              <a:gd name="connsiteY1323" fmla="*/ 840662 h 4073898"/>
              <a:gd name="connsiteX1324" fmla="*/ 4286316 w 6697570"/>
              <a:gd name="connsiteY1324" fmla="*/ 804069 h 4073898"/>
              <a:gd name="connsiteX1325" fmla="*/ 4346638 w 6697570"/>
              <a:gd name="connsiteY1325" fmla="*/ 712587 h 4073898"/>
              <a:gd name="connsiteX1326" fmla="*/ 4406961 w 6697570"/>
              <a:gd name="connsiteY1326" fmla="*/ 804069 h 4073898"/>
              <a:gd name="connsiteX1327" fmla="*/ 4396096 w 6697570"/>
              <a:gd name="connsiteY1327" fmla="*/ 838947 h 4073898"/>
              <a:gd name="connsiteX1328" fmla="*/ 4660257 w 6697570"/>
              <a:gd name="connsiteY1328" fmla="*/ 1228040 h 4073898"/>
              <a:gd name="connsiteX1329" fmla="*/ 4924989 w 6697570"/>
              <a:gd name="connsiteY1329" fmla="*/ 813503 h 4073898"/>
              <a:gd name="connsiteX1330" fmla="*/ 4924989 w 6697570"/>
              <a:gd name="connsiteY1330" fmla="*/ 798923 h 4073898"/>
              <a:gd name="connsiteX1331" fmla="*/ 4926991 w 6697570"/>
              <a:gd name="connsiteY1331" fmla="*/ 798923 h 4073898"/>
              <a:gd name="connsiteX1332" fmla="*/ 4987314 w 6697570"/>
              <a:gd name="connsiteY1332" fmla="*/ 712300 h 4073898"/>
              <a:gd name="connsiteX1333" fmla="*/ 1627556 w 6697570"/>
              <a:gd name="connsiteY1333" fmla="*/ 679709 h 4073898"/>
              <a:gd name="connsiteX1334" fmla="*/ 1597824 w 6697570"/>
              <a:gd name="connsiteY1334" fmla="*/ 744319 h 4073898"/>
              <a:gd name="connsiteX1335" fmla="*/ 1658718 w 6697570"/>
              <a:gd name="connsiteY1335" fmla="*/ 794635 h 4073898"/>
              <a:gd name="connsiteX1336" fmla="*/ 1841114 w 6697570"/>
              <a:gd name="connsiteY1336" fmla="*/ 875826 h 4073898"/>
              <a:gd name="connsiteX1337" fmla="*/ 1861126 w 6697570"/>
              <a:gd name="connsiteY1337" fmla="*/ 876971 h 4073898"/>
              <a:gd name="connsiteX1338" fmla="*/ 1975768 w 6697570"/>
              <a:gd name="connsiteY1338" fmla="*/ 821794 h 4073898"/>
              <a:gd name="connsiteX1339" fmla="*/ 1873420 w 6697570"/>
              <a:gd name="connsiteY1339" fmla="*/ 796636 h 4073898"/>
              <a:gd name="connsiteX1340" fmla="*/ 1721613 w 6697570"/>
              <a:gd name="connsiteY1340" fmla="*/ 690859 h 4073898"/>
              <a:gd name="connsiteX1341" fmla="*/ 1715896 w 6697570"/>
              <a:gd name="connsiteY1341" fmla="*/ 689715 h 4073898"/>
              <a:gd name="connsiteX1342" fmla="*/ 1683876 w 6697570"/>
              <a:gd name="connsiteY1342" fmla="*/ 694575 h 4073898"/>
              <a:gd name="connsiteX1343" fmla="*/ 1627556 w 6697570"/>
              <a:gd name="connsiteY1343" fmla="*/ 679709 h 4073898"/>
              <a:gd name="connsiteX1344" fmla="*/ 851370 w 6697570"/>
              <a:gd name="connsiteY1344" fmla="*/ 679709 h 4073898"/>
              <a:gd name="connsiteX1345" fmla="*/ 795050 w 6697570"/>
              <a:gd name="connsiteY1345" fmla="*/ 694575 h 4073898"/>
              <a:gd name="connsiteX1346" fmla="*/ 763031 w 6697570"/>
              <a:gd name="connsiteY1346" fmla="*/ 689715 h 4073898"/>
              <a:gd name="connsiteX1347" fmla="*/ 757312 w 6697570"/>
              <a:gd name="connsiteY1347" fmla="*/ 690859 h 4073898"/>
              <a:gd name="connsiteX1348" fmla="*/ 605506 w 6697570"/>
              <a:gd name="connsiteY1348" fmla="*/ 796922 h 4073898"/>
              <a:gd name="connsiteX1349" fmla="*/ 502872 w 6697570"/>
              <a:gd name="connsiteY1349" fmla="*/ 821508 h 4073898"/>
              <a:gd name="connsiteX1350" fmla="*/ 617799 w 6697570"/>
              <a:gd name="connsiteY1350" fmla="*/ 876685 h 4073898"/>
              <a:gd name="connsiteX1351" fmla="*/ 637811 w 6697570"/>
              <a:gd name="connsiteY1351" fmla="*/ 875541 h 4073898"/>
              <a:gd name="connsiteX1352" fmla="*/ 820208 w 6697570"/>
              <a:gd name="connsiteY1352" fmla="*/ 794349 h 4073898"/>
              <a:gd name="connsiteX1353" fmla="*/ 881102 w 6697570"/>
              <a:gd name="connsiteY1353" fmla="*/ 744033 h 4073898"/>
              <a:gd name="connsiteX1354" fmla="*/ 851370 w 6697570"/>
              <a:gd name="connsiteY1354" fmla="*/ 679709 h 4073898"/>
              <a:gd name="connsiteX1355" fmla="*/ 1337379 w 6697570"/>
              <a:gd name="connsiteY1355" fmla="*/ 664272 h 4073898"/>
              <a:gd name="connsiteX1356" fmla="*/ 1354533 w 6697570"/>
              <a:gd name="connsiteY1356" fmla="*/ 669989 h 4073898"/>
              <a:gd name="connsiteX1357" fmla="*/ 1355391 w 6697570"/>
              <a:gd name="connsiteY1357" fmla="*/ 670561 h 4073898"/>
              <a:gd name="connsiteX1358" fmla="*/ 1354533 w 6697570"/>
              <a:gd name="connsiteY1358" fmla="*/ 671132 h 4073898"/>
              <a:gd name="connsiteX1359" fmla="*/ 1341096 w 6697570"/>
              <a:gd name="connsiteY1359" fmla="*/ 675707 h 4073898"/>
              <a:gd name="connsiteX1360" fmla="*/ 1325087 w 6697570"/>
              <a:gd name="connsiteY1360" fmla="*/ 668846 h 4073898"/>
              <a:gd name="connsiteX1361" fmla="*/ 1324514 w 6697570"/>
              <a:gd name="connsiteY1361" fmla="*/ 668274 h 4073898"/>
              <a:gd name="connsiteX1362" fmla="*/ 1325087 w 6697570"/>
              <a:gd name="connsiteY1362" fmla="*/ 667702 h 4073898"/>
              <a:gd name="connsiteX1363" fmla="*/ 1337379 w 6697570"/>
              <a:gd name="connsiteY1363" fmla="*/ 664272 h 4073898"/>
              <a:gd name="connsiteX1364" fmla="*/ 1160701 w 6697570"/>
              <a:gd name="connsiteY1364" fmla="*/ 664272 h 4073898"/>
              <a:gd name="connsiteX1365" fmla="*/ 1177855 w 6697570"/>
              <a:gd name="connsiteY1365" fmla="*/ 669704 h 4073898"/>
              <a:gd name="connsiteX1366" fmla="*/ 1178713 w 6697570"/>
              <a:gd name="connsiteY1366" fmla="*/ 670275 h 4073898"/>
              <a:gd name="connsiteX1367" fmla="*/ 1178140 w 6697570"/>
              <a:gd name="connsiteY1367" fmla="*/ 670847 h 4073898"/>
              <a:gd name="connsiteX1368" fmla="*/ 1164704 w 6697570"/>
              <a:gd name="connsiteY1368" fmla="*/ 675421 h 4073898"/>
              <a:gd name="connsiteX1369" fmla="*/ 1148123 w 6697570"/>
              <a:gd name="connsiteY1369" fmla="*/ 668846 h 4073898"/>
              <a:gd name="connsiteX1370" fmla="*/ 1147550 w 6697570"/>
              <a:gd name="connsiteY1370" fmla="*/ 668274 h 4073898"/>
              <a:gd name="connsiteX1371" fmla="*/ 1148408 w 6697570"/>
              <a:gd name="connsiteY1371" fmla="*/ 667702 h 4073898"/>
              <a:gd name="connsiteX1372" fmla="*/ 1160701 w 6697570"/>
              <a:gd name="connsiteY1372" fmla="*/ 664272 h 4073898"/>
              <a:gd name="connsiteX1373" fmla="*/ 1161273 w 6697570"/>
              <a:gd name="connsiteY1373" fmla="*/ 658553 h 4073898"/>
              <a:gd name="connsiteX1374" fmla="*/ 1137544 w 6697570"/>
              <a:gd name="connsiteY1374" fmla="*/ 663700 h 4073898"/>
              <a:gd name="connsiteX1375" fmla="*/ 1082939 w 6697570"/>
              <a:gd name="connsiteY1375" fmla="*/ 719446 h 4073898"/>
              <a:gd name="connsiteX1376" fmla="*/ 1092374 w 6697570"/>
              <a:gd name="connsiteY1376" fmla="*/ 775194 h 4073898"/>
              <a:gd name="connsiteX1377" fmla="*/ 1174709 w 6697570"/>
              <a:gd name="connsiteY1377" fmla="*/ 858387 h 4073898"/>
              <a:gd name="connsiteX1378" fmla="*/ 1187289 w 6697570"/>
              <a:gd name="connsiteY1378" fmla="*/ 867250 h 4073898"/>
              <a:gd name="connsiteX1379" fmla="*/ 1175281 w 6697570"/>
              <a:gd name="connsiteY1379" fmla="*/ 876685 h 4073898"/>
              <a:gd name="connsiteX1380" fmla="*/ 1113529 w 6697570"/>
              <a:gd name="connsiteY1380" fmla="*/ 981034 h 4073898"/>
              <a:gd name="connsiteX1381" fmla="*/ 1171850 w 6697570"/>
              <a:gd name="connsiteY1381" fmla="*/ 1086526 h 4073898"/>
              <a:gd name="connsiteX1382" fmla="*/ 1196723 w 6697570"/>
              <a:gd name="connsiteY1382" fmla="*/ 1106824 h 4073898"/>
              <a:gd name="connsiteX1383" fmla="*/ 1168706 w 6697570"/>
              <a:gd name="connsiteY1383" fmla="*/ 1106824 h 4073898"/>
              <a:gd name="connsiteX1384" fmla="*/ 1137544 w 6697570"/>
              <a:gd name="connsiteY1384" fmla="*/ 1166289 h 4073898"/>
              <a:gd name="connsiteX1385" fmla="*/ 1195579 w 6697570"/>
              <a:gd name="connsiteY1385" fmla="*/ 1309233 h 4073898"/>
              <a:gd name="connsiteX1386" fmla="*/ 1199582 w 6697570"/>
              <a:gd name="connsiteY1386" fmla="*/ 1314093 h 4073898"/>
              <a:gd name="connsiteX1387" fmla="*/ 1197296 w 6697570"/>
              <a:gd name="connsiteY1387" fmla="*/ 1316094 h 4073898"/>
              <a:gd name="connsiteX1388" fmla="*/ 1200439 w 6697570"/>
              <a:gd name="connsiteY1388" fmla="*/ 1321240 h 4073898"/>
              <a:gd name="connsiteX1389" fmla="*/ 1196437 w 6697570"/>
              <a:gd name="connsiteY1389" fmla="*/ 1324671 h 4073898"/>
              <a:gd name="connsiteX1390" fmla="*/ 1149551 w 6697570"/>
              <a:gd name="connsiteY1390" fmla="*/ 1392712 h 4073898"/>
              <a:gd name="connsiteX1391" fmla="*/ 1203584 w 6697570"/>
              <a:gd name="connsiteY1391" fmla="*/ 1468472 h 4073898"/>
              <a:gd name="connsiteX1392" fmla="*/ 1217021 w 6697570"/>
              <a:gd name="connsiteY1392" fmla="*/ 1476763 h 4073898"/>
              <a:gd name="connsiteX1393" fmla="*/ 1210445 w 6697570"/>
              <a:gd name="connsiteY1393" fmla="*/ 1482195 h 4073898"/>
              <a:gd name="connsiteX1394" fmla="*/ 1172136 w 6697570"/>
              <a:gd name="connsiteY1394" fmla="*/ 1545376 h 4073898"/>
              <a:gd name="connsiteX1395" fmla="*/ 1191576 w 6697570"/>
              <a:gd name="connsiteY1395" fmla="*/ 1588545 h 4073898"/>
              <a:gd name="connsiteX1396" fmla="*/ 1223310 w 6697570"/>
              <a:gd name="connsiteY1396" fmla="*/ 1496204 h 4073898"/>
              <a:gd name="connsiteX1397" fmla="*/ 1236747 w 6697570"/>
              <a:gd name="connsiteY1397" fmla="*/ 1485912 h 4073898"/>
              <a:gd name="connsiteX1398" fmla="*/ 1240464 w 6697570"/>
              <a:gd name="connsiteY1398" fmla="*/ 1487913 h 4073898"/>
              <a:gd name="connsiteX1399" fmla="*/ 1251900 w 6697570"/>
              <a:gd name="connsiteY1399" fmla="*/ 1496775 h 4073898"/>
              <a:gd name="connsiteX1400" fmla="*/ 1262477 w 6697570"/>
              <a:gd name="connsiteY1400" fmla="*/ 1505066 h 4073898"/>
              <a:gd name="connsiteX1401" fmla="*/ 1297070 w 6697570"/>
              <a:gd name="connsiteY1401" fmla="*/ 1548235 h 4073898"/>
              <a:gd name="connsiteX1402" fmla="*/ 1286778 w 6697570"/>
              <a:gd name="connsiteY1402" fmla="*/ 1599981 h 4073898"/>
              <a:gd name="connsiteX1403" fmla="*/ 1311364 w 6697570"/>
              <a:gd name="connsiteY1403" fmla="*/ 1568819 h 4073898"/>
              <a:gd name="connsiteX1404" fmla="*/ 1291924 w 6697570"/>
              <a:gd name="connsiteY1404" fmla="*/ 1505638 h 4073898"/>
              <a:gd name="connsiteX1405" fmla="*/ 1284776 w 6697570"/>
              <a:gd name="connsiteY1405" fmla="*/ 1497347 h 4073898"/>
              <a:gd name="connsiteX1406" fmla="*/ 1292495 w 6697570"/>
              <a:gd name="connsiteY1406" fmla="*/ 1489914 h 4073898"/>
              <a:gd name="connsiteX1407" fmla="*/ 1343383 w 6697570"/>
              <a:gd name="connsiteY1407" fmla="*/ 1384136 h 4073898"/>
              <a:gd name="connsiteX1408" fmla="*/ 1313937 w 6697570"/>
              <a:gd name="connsiteY1408" fmla="*/ 1323528 h 4073898"/>
              <a:gd name="connsiteX1409" fmla="*/ 1302501 w 6697570"/>
              <a:gd name="connsiteY1409" fmla="*/ 1313235 h 4073898"/>
              <a:gd name="connsiteX1410" fmla="*/ 1315938 w 6697570"/>
              <a:gd name="connsiteY1410" fmla="*/ 1305516 h 4073898"/>
              <a:gd name="connsiteX1411" fmla="*/ 1388554 w 6697570"/>
              <a:gd name="connsiteY1411" fmla="*/ 1202597 h 4073898"/>
              <a:gd name="connsiteX1412" fmla="*/ 1292781 w 6697570"/>
              <a:gd name="connsiteY1412" fmla="*/ 1083381 h 4073898"/>
              <a:gd name="connsiteX1413" fmla="*/ 1276772 w 6697570"/>
              <a:gd name="connsiteY1413" fmla="*/ 1073661 h 4073898"/>
              <a:gd name="connsiteX1414" fmla="*/ 1292781 w 6697570"/>
              <a:gd name="connsiteY1414" fmla="*/ 1063941 h 4073898"/>
              <a:gd name="connsiteX1415" fmla="*/ 1391698 w 6697570"/>
              <a:gd name="connsiteY1415" fmla="*/ 944154 h 4073898"/>
              <a:gd name="connsiteX1416" fmla="*/ 1346528 w 6697570"/>
              <a:gd name="connsiteY1416" fmla="*/ 871825 h 4073898"/>
              <a:gd name="connsiteX1417" fmla="*/ 1329375 w 6697570"/>
              <a:gd name="connsiteY1417" fmla="*/ 859531 h 4073898"/>
              <a:gd name="connsiteX1418" fmla="*/ 1349101 w 6697570"/>
              <a:gd name="connsiteY1418" fmla="*/ 851812 h 4073898"/>
              <a:gd name="connsiteX1419" fmla="*/ 1352818 w 6697570"/>
              <a:gd name="connsiteY1419" fmla="*/ 850096 h 4073898"/>
              <a:gd name="connsiteX1420" fmla="*/ 1432009 w 6697570"/>
              <a:gd name="connsiteY1420" fmla="*/ 752895 h 4073898"/>
              <a:gd name="connsiteX1421" fmla="*/ 1424576 w 6697570"/>
              <a:gd name="connsiteY1421" fmla="*/ 694004 h 4073898"/>
              <a:gd name="connsiteX1422" fmla="*/ 1352818 w 6697570"/>
              <a:gd name="connsiteY1422" fmla="*/ 660840 h 4073898"/>
              <a:gd name="connsiteX1423" fmla="*/ 1309077 w 6697570"/>
              <a:gd name="connsiteY1423" fmla="*/ 667416 h 4073898"/>
              <a:gd name="connsiteX1424" fmla="*/ 1303645 w 6697570"/>
              <a:gd name="connsiteY1424" fmla="*/ 677708 h 4073898"/>
              <a:gd name="connsiteX1425" fmla="*/ 1321656 w 6697570"/>
              <a:gd name="connsiteY1425" fmla="*/ 705440 h 4073898"/>
              <a:gd name="connsiteX1426" fmla="*/ 1345099 w 6697570"/>
              <a:gd name="connsiteY1426" fmla="*/ 709728 h 4073898"/>
              <a:gd name="connsiteX1427" fmla="*/ 1364539 w 6697570"/>
              <a:gd name="connsiteY1427" fmla="*/ 707441 h 4073898"/>
              <a:gd name="connsiteX1428" fmla="*/ 1379119 w 6697570"/>
              <a:gd name="connsiteY1428" fmla="*/ 703438 h 4073898"/>
              <a:gd name="connsiteX1429" fmla="*/ 1379119 w 6697570"/>
              <a:gd name="connsiteY1429" fmla="*/ 718589 h 4073898"/>
              <a:gd name="connsiteX1430" fmla="*/ 1297355 w 6697570"/>
              <a:gd name="connsiteY1430" fmla="*/ 819221 h 4073898"/>
              <a:gd name="connsiteX1431" fmla="*/ 1267051 w 6697570"/>
              <a:gd name="connsiteY1431" fmla="*/ 827511 h 4073898"/>
              <a:gd name="connsiteX1432" fmla="*/ 1263335 w 6697570"/>
              <a:gd name="connsiteY1432" fmla="*/ 828941 h 4073898"/>
              <a:gd name="connsiteX1433" fmla="*/ 1256759 w 6697570"/>
              <a:gd name="connsiteY1433" fmla="*/ 826654 h 4073898"/>
              <a:gd name="connsiteX1434" fmla="*/ 1253043 w 6697570"/>
              <a:gd name="connsiteY1434" fmla="*/ 825224 h 4073898"/>
              <a:gd name="connsiteX1435" fmla="*/ 1124107 w 6697570"/>
              <a:gd name="connsiteY1435" fmla="*/ 724021 h 4073898"/>
              <a:gd name="connsiteX1436" fmla="*/ 1121248 w 6697570"/>
              <a:gd name="connsiteY1436" fmla="*/ 709155 h 4073898"/>
              <a:gd name="connsiteX1437" fmla="*/ 1136401 w 6697570"/>
              <a:gd name="connsiteY1437" fmla="*/ 710299 h 4073898"/>
              <a:gd name="connsiteX1438" fmla="*/ 1143549 w 6697570"/>
              <a:gd name="connsiteY1438" fmla="*/ 710584 h 4073898"/>
              <a:gd name="connsiteX1439" fmla="*/ 1202727 w 6697570"/>
              <a:gd name="connsiteY1439" fmla="*/ 687142 h 4073898"/>
              <a:gd name="connsiteX1440" fmla="*/ 1202156 w 6697570"/>
              <a:gd name="connsiteY1440" fmla="*/ 674563 h 4073898"/>
              <a:gd name="connsiteX1441" fmla="*/ 1161273 w 6697570"/>
              <a:gd name="connsiteY1441" fmla="*/ 658553 h 4073898"/>
              <a:gd name="connsiteX1442" fmla="*/ 5583962 w 6697570"/>
              <a:gd name="connsiteY1442" fmla="*/ 647405 h 4073898"/>
              <a:gd name="connsiteX1443" fmla="*/ 5846693 w 6697570"/>
              <a:gd name="connsiteY1443" fmla="*/ 647405 h 4073898"/>
              <a:gd name="connsiteX1444" fmla="*/ 5966481 w 6697570"/>
              <a:gd name="connsiteY1444" fmla="*/ 767189 h 4073898"/>
              <a:gd name="connsiteX1445" fmla="*/ 5966481 w 6697570"/>
              <a:gd name="connsiteY1445" fmla="*/ 1628284 h 4073898"/>
              <a:gd name="connsiteX1446" fmla="*/ 5846693 w 6697570"/>
              <a:gd name="connsiteY1446" fmla="*/ 1748071 h 4073898"/>
              <a:gd name="connsiteX1447" fmla="*/ 5583962 w 6697570"/>
              <a:gd name="connsiteY1447" fmla="*/ 1748071 h 4073898"/>
              <a:gd name="connsiteX1448" fmla="*/ 5464175 w 6697570"/>
              <a:gd name="connsiteY1448" fmla="*/ 1628284 h 4073898"/>
              <a:gd name="connsiteX1449" fmla="*/ 5464175 w 6697570"/>
              <a:gd name="connsiteY1449" fmla="*/ 767189 h 4073898"/>
              <a:gd name="connsiteX1450" fmla="*/ 5583962 w 6697570"/>
              <a:gd name="connsiteY1450" fmla="*/ 647405 h 4073898"/>
              <a:gd name="connsiteX1451" fmla="*/ 3656790 w 6697570"/>
              <a:gd name="connsiteY1451" fmla="*/ 637684 h 4073898"/>
              <a:gd name="connsiteX1452" fmla="*/ 3630203 w 6697570"/>
              <a:gd name="connsiteY1452" fmla="*/ 687429 h 4073898"/>
              <a:gd name="connsiteX1453" fmla="*/ 3647642 w 6697570"/>
              <a:gd name="connsiteY1453" fmla="*/ 722592 h 4073898"/>
              <a:gd name="connsiteX1454" fmla="*/ 3703675 w 6697570"/>
              <a:gd name="connsiteY1454" fmla="*/ 675422 h 4073898"/>
              <a:gd name="connsiteX1455" fmla="*/ 3660507 w 6697570"/>
              <a:gd name="connsiteY1455" fmla="*/ 639114 h 4073898"/>
              <a:gd name="connsiteX1456" fmla="*/ 3656790 w 6697570"/>
              <a:gd name="connsiteY1456" fmla="*/ 637684 h 4073898"/>
              <a:gd name="connsiteX1457" fmla="*/ 3654503 w 6697570"/>
              <a:gd name="connsiteY1457" fmla="*/ 613384 h 4073898"/>
              <a:gd name="connsiteX1458" fmla="*/ 3659649 w 6697570"/>
              <a:gd name="connsiteY1458" fmla="*/ 615671 h 4073898"/>
              <a:gd name="connsiteX1459" fmla="*/ 3667940 w 6697570"/>
              <a:gd name="connsiteY1459" fmla="*/ 619102 h 4073898"/>
              <a:gd name="connsiteX1460" fmla="*/ 3724546 w 6697570"/>
              <a:gd name="connsiteY1460" fmla="*/ 675708 h 4073898"/>
              <a:gd name="connsiteX1461" fmla="*/ 3647642 w 6697570"/>
              <a:gd name="connsiteY1461" fmla="*/ 744605 h 4073898"/>
              <a:gd name="connsiteX1462" fmla="*/ 3641924 w 6697570"/>
              <a:gd name="connsiteY1462" fmla="*/ 746321 h 4073898"/>
              <a:gd name="connsiteX1463" fmla="*/ 3637350 w 6697570"/>
              <a:gd name="connsiteY1463" fmla="*/ 742318 h 4073898"/>
              <a:gd name="connsiteX1464" fmla="*/ 3608475 w 6697570"/>
              <a:gd name="connsiteY1464" fmla="*/ 687144 h 4073898"/>
              <a:gd name="connsiteX1465" fmla="*/ 3649643 w 6697570"/>
              <a:gd name="connsiteY1465" fmla="*/ 616244 h 4073898"/>
              <a:gd name="connsiteX1466" fmla="*/ 3983561 w 6697570"/>
              <a:gd name="connsiteY1466" fmla="*/ 496745 h 4073898"/>
              <a:gd name="connsiteX1467" fmla="*/ 3925811 w 6697570"/>
              <a:gd name="connsiteY1467" fmla="*/ 519617 h 4073898"/>
              <a:gd name="connsiteX1468" fmla="*/ 3887216 w 6697570"/>
              <a:gd name="connsiteY1468" fmla="*/ 511897 h 4073898"/>
              <a:gd name="connsiteX1469" fmla="*/ 3876925 w 6697570"/>
              <a:gd name="connsiteY1469" fmla="*/ 527621 h 4073898"/>
              <a:gd name="connsiteX1470" fmla="*/ 3874923 w 6697570"/>
              <a:gd name="connsiteY1470" fmla="*/ 529909 h 4073898"/>
              <a:gd name="connsiteX1471" fmla="*/ 3872636 w 6697570"/>
              <a:gd name="connsiteY1471" fmla="*/ 532481 h 4073898"/>
              <a:gd name="connsiteX1472" fmla="*/ 3852338 w 6697570"/>
              <a:gd name="connsiteY1472" fmla="*/ 549633 h 4073898"/>
              <a:gd name="connsiteX1473" fmla="*/ 3844333 w 6697570"/>
              <a:gd name="connsiteY1473" fmla="*/ 554207 h 4073898"/>
              <a:gd name="connsiteX1474" fmla="*/ 4071614 w 6697570"/>
              <a:gd name="connsiteY1474" fmla="*/ 650837 h 4073898"/>
              <a:gd name="connsiteX1475" fmla="*/ 4194260 w 6697570"/>
              <a:gd name="connsiteY1475" fmla="*/ 620247 h 4073898"/>
              <a:gd name="connsiteX1476" fmla="*/ 4188256 w 6697570"/>
              <a:gd name="connsiteY1476" fmla="*/ 618818 h 4073898"/>
              <a:gd name="connsiteX1477" fmla="*/ 4186541 w 6697570"/>
              <a:gd name="connsiteY1477" fmla="*/ 618532 h 4073898"/>
              <a:gd name="connsiteX1478" fmla="*/ 4170531 w 6697570"/>
              <a:gd name="connsiteY1478" fmla="*/ 614244 h 4073898"/>
              <a:gd name="connsiteX1479" fmla="*/ 4170246 w 6697570"/>
              <a:gd name="connsiteY1479" fmla="*/ 610241 h 4073898"/>
              <a:gd name="connsiteX1480" fmla="*/ 4169102 w 6697570"/>
              <a:gd name="connsiteY1480" fmla="*/ 613958 h 4073898"/>
              <a:gd name="connsiteX1481" fmla="*/ 4077904 w 6697570"/>
              <a:gd name="connsiteY1481" fmla="*/ 569645 h 4073898"/>
              <a:gd name="connsiteX1482" fmla="*/ 3983561 w 6697570"/>
              <a:gd name="connsiteY1482" fmla="*/ 496745 h 4073898"/>
              <a:gd name="connsiteX1483" fmla="*/ 3343457 w 6697570"/>
              <a:gd name="connsiteY1483" fmla="*/ 496745 h 4073898"/>
              <a:gd name="connsiteX1484" fmla="*/ 3249114 w 6697570"/>
              <a:gd name="connsiteY1484" fmla="*/ 569645 h 4073898"/>
              <a:gd name="connsiteX1485" fmla="*/ 3158774 w 6697570"/>
              <a:gd name="connsiteY1485" fmla="*/ 613671 h 4073898"/>
              <a:gd name="connsiteX1486" fmla="*/ 3157344 w 6697570"/>
              <a:gd name="connsiteY1486" fmla="*/ 614244 h 4073898"/>
              <a:gd name="connsiteX1487" fmla="*/ 3140762 w 6697570"/>
              <a:gd name="connsiteY1487" fmla="*/ 618818 h 4073898"/>
              <a:gd name="connsiteX1488" fmla="*/ 3139047 w 6697570"/>
              <a:gd name="connsiteY1488" fmla="*/ 619104 h 4073898"/>
              <a:gd name="connsiteX1489" fmla="*/ 3133043 w 6697570"/>
              <a:gd name="connsiteY1489" fmla="*/ 620819 h 4073898"/>
              <a:gd name="connsiteX1490" fmla="*/ 3255690 w 6697570"/>
              <a:gd name="connsiteY1490" fmla="*/ 651409 h 4073898"/>
              <a:gd name="connsiteX1491" fmla="*/ 3482970 w 6697570"/>
              <a:gd name="connsiteY1491" fmla="*/ 554778 h 4073898"/>
              <a:gd name="connsiteX1492" fmla="*/ 3474680 w 6697570"/>
              <a:gd name="connsiteY1492" fmla="*/ 549918 h 4073898"/>
              <a:gd name="connsiteX1493" fmla="*/ 3454382 w 6697570"/>
              <a:gd name="connsiteY1493" fmla="*/ 532767 h 4073898"/>
              <a:gd name="connsiteX1494" fmla="*/ 3452381 w 6697570"/>
              <a:gd name="connsiteY1494" fmla="*/ 530194 h 4073898"/>
              <a:gd name="connsiteX1495" fmla="*/ 3454668 w 6697570"/>
              <a:gd name="connsiteY1495" fmla="*/ 526764 h 4073898"/>
              <a:gd name="connsiteX1496" fmla="*/ 3451522 w 6697570"/>
              <a:gd name="connsiteY1496" fmla="*/ 529337 h 4073898"/>
              <a:gd name="connsiteX1497" fmla="*/ 3450093 w 6697570"/>
              <a:gd name="connsiteY1497" fmla="*/ 527621 h 4073898"/>
              <a:gd name="connsiteX1498" fmla="*/ 3439802 w 6697570"/>
              <a:gd name="connsiteY1498" fmla="*/ 511897 h 4073898"/>
              <a:gd name="connsiteX1499" fmla="*/ 3401207 w 6697570"/>
              <a:gd name="connsiteY1499" fmla="*/ 519617 h 4073898"/>
              <a:gd name="connsiteX1500" fmla="*/ 3343457 w 6697570"/>
              <a:gd name="connsiteY1500" fmla="*/ 496745 h 4073898"/>
              <a:gd name="connsiteX1501" fmla="*/ 4671122 w 6697570"/>
              <a:gd name="connsiteY1501" fmla="*/ 487884 h 4073898"/>
              <a:gd name="connsiteX1502" fmla="*/ 4557052 w 6697570"/>
              <a:gd name="connsiteY1502" fmla="*/ 601950 h 4073898"/>
              <a:gd name="connsiteX1503" fmla="*/ 4556479 w 6697570"/>
              <a:gd name="connsiteY1503" fmla="*/ 712586 h 4073898"/>
              <a:gd name="connsiteX1504" fmla="*/ 4574206 w 6697570"/>
              <a:gd name="connsiteY1504" fmla="*/ 712586 h 4073898"/>
              <a:gd name="connsiteX1505" fmla="*/ 4574491 w 6697570"/>
              <a:gd name="connsiteY1505" fmla="*/ 619961 h 4073898"/>
              <a:gd name="connsiteX1506" fmla="*/ 4688846 w 6697570"/>
              <a:gd name="connsiteY1506" fmla="*/ 505894 h 4073898"/>
              <a:gd name="connsiteX1507" fmla="*/ 4759746 w 6697570"/>
              <a:gd name="connsiteY1507" fmla="*/ 531052 h 4073898"/>
              <a:gd name="connsiteX1508" fmla="*/ 4671122 w 6697570"/>
              <a:gd name="connsiteY1508" fmla="*/ 487884 h 4073898"/>
              <a:gd name="connsiteX1509" fmla="*/ 3593895 w 6697570"/>
              <a:gd name="connsiteY1509" fmla="*/ 469586 h 4073898"/>
              <a:gd name="connsiteX1510" fmla="*/ 3580744 w 6697570"/>
              <a:gd name="connsiteY1510" fmla="*/ 471016 h 4073898"/>
              <a:gd name="connsiteX1511" fmla="*/ 3594752 w 6697570"/>
              <a:gd name="connsiteY1511" fmla="*/ 489026 h 4073898"/>
              <a:gd name="connsiteX1512" fmla="*/ 4674266 w 6697570"/>
              <a:gd name="connsiteY1512" fmla="*/ 465298 h 4073898"/>
              <a:gd name="connsiteX1513" fmla="*/ 4812921 w 6697570"/>
              <a:gd name="connsiteY1513" fmla="*/ 603379 h 4073898"/>
              <a:gd name="connsiteX1514" fmla="*/ 4812636 w 6697570"/>
              <a:gd name="connsiteY1514" fmla="*/ 721734 h 4073898"/>
              <a:gd name="connsiteX1515" fmla="*/ 4812064 w 6697570"/>
              <a:gd name="connsiteY1515" fmla="*/ 854957 h 4073898"/>
              <a:gd name="connsiteX1516" fmla="*/ 4673980 w 6697570"/>
              <a:gd name="connsiteY1516" fmla="*/ 992468 h 4073898"/>
              <a:gd name="connsiteX1517" fmla="*/ 4673695 w 6697570"/>
              <a:gd name="connsiteY1517" fmla="*/ 992468 h 4073898"/>
              <a:gd name="connsiteX1518" fmla="*/ 4576206 w 6697570"/>
              <a:gd name="connsiteY1518" fmla="*/ 951873 h 4073898"/>
              <a:gd name="connsiteX1519" fmla="*/ 4535896 w 6697570"/>
              <a:gd name="connsiteY1519" fmla="*/ 854384 h 4073898"/>
              <a:gd name="connsiteX1520" fmla="*/ 4536182 w 6697570"/>
              <a:gd name="connsiteY1520" fmla="*/ 736028 h 4073898"/>
              <a:gd name="connsiteX1521" fmla="*/ 4536182 w 6697570"/>
              <a:gd name="connsiteY1521" fmla="*/ 721448 h 4073898"/>
              <a:gd name="connsiteX1522" fmla="*/ 4536182 w 6697570"/>
              <a:gd name="connsiteY1522" fmla="*/ 721162 h 4073898"/>
              <a:gd name="connsiteX1523" fmla="*/ 4536468 w 6697570"/>
              <a:gd name="connsiteY1523" fmla="*/ 602807 h 4073898"/>
              <a:gd name="connsiteX1524" fmla="*/ 4674266 w 6697570"/>
              <a:gd name="connsiteY1524" fmla="*/ 465298 h 4073898"/>
              <a:gd name="connsiteX1525" fmla="*/ 3721116 w 6697570"/>
              <a:gd name="connsiteY1525" fmla="*/ 459007 h 4073898"/>
              <a:gd name="connsiteX1526" fmla="*/ 3720543 w 6697570"/>
              <a:gd name="connsiteY1526" fmla="*/ 528193 h 4073898"/>
              <a:gd name="connsiteX1527" fmla="*/ 3770574 w 6697570"/>
              <a:gd name="connsiteY1527" fmla="*/ 470157 h 4073898"/>
              <a:gd name="connsiteX1528" fmla="*/ 3730836 w 6697570"/>
              <a:gd name="connsiteY1528" fmla="*/ 465012 h 4073898"/>
              <a:gd name="connsiteX1529" fmla="*/ 3721116 w 6697570"/>
              <a:gd name="connsiteY1529" fmla="*/ 459007 h 4073898"/>
              <a:gd name="connsiteX1530" fmla="*/ 4025586 w 6697570"/>
              <a:gd name="connsiteY1530" fmla="*/ 420414 h 4073898"/>
              <a:gd name="connsiteX1531" fmla="*/ 3998141 w 6697570"/>
              <a:gd name="connsiteY1531" fmla="*/ 480736 h 4073898"/>
              <a:gd name="connsiteX1532" fmla="*/ 4054747 w 6697570"/>
              <a:gd name="connsiteY1532" fmla="*/ 527621 h 4073898"/>
              <a:gd name="connsiteX1533" fmla="*/ 4225137 w 6697570"/>
              <a:gd name="connsiteY1533" fmla="*/ 603379 h 4073898"/>
              <a:gd name="connsiteX1534" fmla="*/ 4243718 w 6697570"/>
              <a:gd name="connsiteY1534" fmla="*/ 604237 h 4073898"/>
              <a:gd name="connsiteX1535" fmla="*/ 4350927 w 6697570"/>
              <a:gd name="connsiteY1535" fmla="*/ 552778 h 4073898"/>
              <a:gd name="connsiteX1536" fmla="*/ 4255155 w 6697570"/>
              <a:gd name="connsiteY1536" fmla="*/ 529337 h 4073898"/>
              <a:gd name="connsiteX1537" fmla="*/ 4113640 w 6697570"/>
              <a:gd name="connsiteY1537" fmla="*/ 430705 h 4073898"/>
              <a:gd name="connsiteX1538" fmla="*/ 4108208 w 6697570"/>
              <a:gd name="connsiteY1538" fmla="*/ 429848 h 4073898"/>
              <a:gd name="connsiteX1539" fmla="*/ 4078190 w 6697570"/>
              <a:gd name="connsiteY1539" fmla="*/ 434135 h 4073898"/>
              <a:gd name="connsiteX1540" fmla="*/ 4025586 w 6697570"/>
              <a:gd name="connsiteY1540" fmla="*/ 420414 h 4073898"/>
              <a:gd name="connsiteX1541" fmla="*/ 3302003 w 6697570"/>
              <a:gd name="connsiteY1541" fmla="*/ 420414 h 4073898"/>
              <a:gd name="connsiteX1542" fmla="*/ 3249400 w 6697570"/>
              <a:gd name="connsiteY1542" fmla="*/ 434135 h 4073898"/>
              <a:gd name="connsiteX1543" fmla="*/ 3219382 w 6697570"/>
              <a:gd name="connsiteY1543" fmla="*/ 429848 h 4073898"/>
              <a:gd name="connsiteX1544" fmla="*/ 3213949 w 6697570"/>
              <a:gd name="connsiteY1544" fmla="*/ 430705 h 4073898"/>
              <a:gd name="connsiteX1545" fmla="*/ 3072149 w 6697570"/>
              <a:gd name="connsiteY1545" fmla="*/ 529623 h 4073898"/>
              <a:gd name="connsiteX1546" fmla="*/ 2977234 w 6697570"/>
              <a:gd name="connsiteY1546" fmla="*/ 552491 h 4073898"/>
              <a:gd name="connsiteX1547" fmla="*/ 3084442 w 6697570"/>
              <a:gd name="connsiteY1547" fmla="*/ 603951 h 4073898"/>
              <a:gd name="connsiteX1548" fmla="*/ 3103025 w 6697570"/>
              <a:gd name="connsiteY1548" fmla="*/ 603094 h 4073898"/>
              <a:gd name="connsiteX1549" fmla="*/ 3273129 w 6697570"/>
              <a:gd name="connsiteY1549" fmla="*/ 527335 h 4073898"/>
              <a:gd name="connsiteX1550" fmla="*/ 3329734 w 6697570"/>
              <a:gd name="connsiteY1550" fmla="*/ 480450 h 4073898"/>
              <a:gd name="connsiteX1551" fmla="*/ 3302003 w 6697570"/>
              <a:gd name="connsiteY1551" fmla="*/ 420414 h 4073898"/>
              <a:gd name="connsiteX1552" fmla="*/ 3754850 w 6697570"/>
              <a:gd name="connsiteY1552" fmla="*/ 405832 h 4073898"/>
              <a:gd name="connsiteX1553" fmla="*/ 3770859 w 6697570"/>
              <a:gd name="connsiteY1553" fmla="*/ 410692 h 4073898"/>
              <a:gd name="connsiteX1554" fmla="*/ 3771431 w 6697570"/>
              <a:gd name="connsiteY1554" fmla="*/ 411264 h 4073898"/>
              <a:gd name="connsiteX1555" fmla="*/ 3770859 w 6697570"/>
              <a:gd name="connsiteY1555" fmla="*/ 411835 h 4073898"/>
              <a:gd name="connsiteX1556" fmla="*/ 3758280 w 6697570"/>
              <a:gd name="connsiteY1556" fmla="*/ 416124 h 4073898"/>
              <a:gd name="connsiteX1557" fmla="*/ 3743414 w 6697570"/>
              <a:gd name="connsiteY1557" fmla="*/ 409835 h 4073898"/>
              <a:gd name="connsiteX1558" fmla="*/ 3742843 w 6697570"/>
              <a:gd name="connsiteY1558" fmla="*/ 409262 h 4073898"/>
              <a:gd name="connsiteX1559" fmla="*/ 3743414 w 6697570"/>
              <a:gd name="connsiteY1559" fmla="*/ 408976 h 4073898"/>
              <a:gd name="connsiteX1560" fmla="*/ 3754850 w 6697570"/>
              <a:gd name="connsiteY1560" fmla="*/ 405832 h 4073898"/>
              <a:gd name="connsiteX1561" fmla="*/ 3590178 w 6697570"/>
              <a:gd name="connsiteY1561" fmla="*/ 405832 h 4073898"/>
              <a:gd name="connsiteX1562" fmla="*/ 3606187 w 6697570"/>
              <a:gd name="connsiteY1562" fmla="*/ 410978 h 4073898"/>
              <a:gd name="connsiteX1563" fmla="*/ 3606759 w 6697570"/>
              <a:gd name="connsiteY1563" fmla="*/ 411550 h 4073898"/>
              <a:gd name="connsiteX1564" fmla="*/ 3606187 w 6697570"/>
              <a:gd name="connsiteY1564" fmla="*/ 412121 h 4073898"/>
              <a:gd name="connsiteX1565" fmla="*/ 3593609 w 6697570"/>
              <a:gd name="connsiteY1565" fmla="*/ 416410 h 4073898"/>
              <a:gd name="connsiteX1566" fmla="*/ 3578742 w 6697570"/>
              <a:gd name="connsiteY1566" fmla="*/ 409835 h 4073898"/>
              <a:gd name="connsiteX1567" fmla="*/ 3578171 w 6697570"/>
              <a:gd name="connsiteY1567" fmla="*/ 409262 h 4073898"/>
              <a:gd name="connsiteX1568" fmla="*/ 3578742 w 6697570"/>
              <a:gd name="connsiteY1568" fmla="*/ 408976 h 4073898"/>
              <a:gd name="connsiteX1569" fmla="*/ 3590178 w 6697570"/>
              <a:gd name="connsiteY1569" fmla="*/ 405832 h 4073898"/>
              <a:gd name="connsiteX1570" fmla="*/ 3589035 w 6697570"/>
              <a:gd name="connsiteY1570" fmla="*/ 400687 h 4073898"/>
              <a:gd name="connsiteX1571" fmla="*/ 3567022 w 6697570"/>
              <a:gd name="connsiteY1571" fmla="*/ 405547 h 4073898"/>
              <a:gd name="connsiteX1572" fmla="*/ 3516134 w 6697570"/>
              <a:gd name="connsiteY1572" fmla="*/ 457578 h 4073898"/>
              <a:gd name="connsiteX1573" fmla="*/ 3524996 w 6697570"/>
              <a:gd name="connsiteY1573" fmla="*/ 509610 h 4073898"/>
              <a:gd name="connsiteX1574" fmla="*/ 3601900 w 6697570"/>
              <a:gd name="connsiteY1574" fmla="*/ 587085 h 4073898"/>
              <a:gd name="connsiteX1575" fmla="*/ 3613621 w 6697570"/>
              <a:gd name="connsiteY1575" fmla="*/ 595375 h 4073898"/>
              <a:gd name="connsiteX1576" fmla="*/ 3602472 w 6697570"/>
              <a:gd name="connsiteY1576" fmla="*/ 604237 h 4073898"/>
              <a:gd name="connsiteX1577" fmla="*/ 3544723 w 6697570"/>
              <a:gd name="connsiteY1577" fmla="*/ 701439 h 4073898"/>
              <a:gd name="connsiteX1578" fmla="*/ 3599327 w 6697570"/>
              <a:gd name="connsiteY1578" fmla="*/ 799781 h 4073898"/>
              <a:gd name="connsiteX1579" fmla="*/ 3622484 w 6697570"/>
              <a:gd name="connsiteY1579" fmla="*/ 818650 h 4073898"/>
              <a:gd name="connsiteX1580" fmla="*/ 3596468 w 6697570"/>
              <a:gd name="connsiteY1580" fmla="*/ 818650 h 4073898"/>
              <a:gd name="connsiteX1581" fmla="*/ 3567307 w 6697570"/>
              <a:gd name="connsiteY1581" fmla="*/ 874112 h 4073898"/>
              <a:gd name="connsiteX1582" fmla="*/ 3621340 w 6697570"/>
              <a:gd name="connsiteY1582" fmla="*/ 1007336 h 4073898"/>
              <a:gd name="connsiteX1583" fmla="*/ 3625057 w 6697570"/>
              <a:gd name="connsiteY1583" fmla="*/ 1011910 h 4073898"/>
              <a:gd name="connsiteX1584" fmla="*/ 3623056 w 6697570"/>
              <a:gd name="connsiteY1584" fmla="*/ 1013625 h 4073898"/>
              <a:gd name="connsiteX1585" fmla="*/ 3625914 w 6697570"/>
              <a:gd name="connsiteY1585" fmla="*/ 1018486 h 4073898"/>
              <a:gd name="connsiteX1586" fmla="*/ 3621912 w 6697570"/>
              <a:gd name="connsiteY1586" fmla="*/ 1021630 h 4073898"/>
              <a:gd name="connsiteX1587" fmla="*/ 3578457 w 6697570"/>
              <a:gd name="connsiteY1587" fmla="*/ 1085097 h 4073898"/>
              <a:gd name="connsiteX1588" fmla="*/ 3628773 w 6697570"/>
              <a:gd name="connsiteY1588" fmla="*/ 1155712 h 4073898"/>
              <a:gd name="connsiteX1589" fmla="*/ 3641353 w 6697570"/>
              <a:gd name="connsiteY1589" fmla="*/ 1163431 h 4073898"/>
              <a:gd name="connsiteX1590" fmla="*/ 3635349 w 6697570"/>
              <a:gd name="connsiteY1590" fmla="*/ 1168577 h 4073898"/>
              <a:gd name="connsiteX1591" fmla="*/ 3599613 w 6697570"/>
              <a:gd name="connsiteY1591" fmla="*/ 1227755 h 4073898"/>
              <a:gd name="connsiteX1592" fmla="*/ 3617624 w 6697570"/>
              <a:gd name="connsiteY1592" fmla="*/ 1268066 h 4073898"/>
              <a:gd name="connsiteX1593" fmla="*/ 3647356 w 6697570"/>
              <a:gd name="connsiteY1593" fmla="*/ 1181727 h 4073898"/>
              <a:gd name="connsiteX1594" fmla="*/ 3659935 w 6697570"/>
              <a:gd name="connsiteY1594" fmla="*/ 1172007 h 4073898"/>
              <a:gd name="connsiteX1595" fmla="*/ 3663366 w 6697570"/>
              <a:gd name="connsiteY1595" fmla="*/ 1174008 h 4073898"/>
              <a:gd name="connsiteX1596" fmla="*/ 3674229 w 6697570"/>
              <a:gd name="connsiteY1596" fmla="*/ 1182299 h 4073898"/>
              <a:gd name="connsiteX1597" fmla="*/ 3684235 w 6697570"/>
              <a:gd name="connsiteY1597" fmla="*/ 1190019 h 4073898"/>
              <a:gd name="connsiteX1598" fmla="*/ 3716542 w 6697570"/>
              <a:gd name="connsiteY1598" fmla="*/ 1230328 h 4073898"/>
              <a:gd name="connsiteX1599" fmla="*/ 3706821 w 6697570"/>
              <a:gd name="connsiteY1599" fmla="*/ 1278643 h 4073898"/>
              <a:gd name="connsiteX1600" fmla="*/ 3729978 w 6697570"/>
              <a:gd name="connsiteY1600" fmla="*/ 1249769 h 4073898"/>
              <a:gd name="connsiteX1601" fmla="*/ 3711967 w 6697570"/>
              <a:gd name="connsiteY1601" fmla="*/ 1190876 h 4073898"/>
              <a:gd name="connsiteX1602" fmla="*/ 3705392 w 6697570"/>
              <a:gd name="connsiteY1602" fmla="*/ 1183443 h 4073898"/>
              <a:gd name="connsiteX1603" fmla="*/ 3712539 w 6697570"/>
              <a:gd name="connsiteY1603" fmla="*/ 1176296 h 4073898"/>
              <a:gd name="connsiteX1604" fmla="*/ 3760282 w 6697570"/>
              <a:gd name="connsiteY1604" fmla="*/ 1077378 h 4073898"/>
              <a:gd name="connsiteX1605" fmla="*/ 3732836 w 6697570"/>
              <a:gd name="connsiteY1605" fmla="*/ 1020773 h 4073898"/>
              <a:gd name="connsiteX1606" fmla="*/ 3722259 w 6697570"/>
              <a:gd name="connsiteY1606" fmla="*/ 1011053 h 4073898"/>
              <a:gd name="connsiteX1607" fmla="*/ 3734552 w 6697570"/>
              <a:gd name="connsiteY1607" fmla="*/ 1003905 h 4073898"/>
              <a:gd name="connsiteX1608" fmla="*/ 3802308 w 6697570"/>
              <a:gd name="connsiteY1608" fmla="*/ 907846 h 4073898"/>
              <a:gd name="connsiteX1609" fmla="*/ 3713110 w 6697570"/>
              <a:gd name="connsiteY1609" fmla="*/ 796636 h 4073898"/>
              <a:gd name="connsiteX1610" fmla="*/ 3698244 w 6697570"/>
              <a:gd name="connsiteY1610" fmla="*/ 787488 h 4073898"/>
              <a:gd name="connsiteX1611" fmla="*/ 3713110 w 6697570"/>
              <a:gd name="connsiteY1611" fmla="*/ 778625 h 4073898"/>
              <a:gd name="connsiteX1612" fmla="*/ 3805166 w 6697570"/>
              <a:gd name="connsiteY1612" fmla="*/ 666847 h 4073898"/>
              <a:gd name="connsiteX1613" fmla="*/ 3763141 w 6697570"/>
              <a:gd name="connsiteY1613" fmla="*/ 599378 h 4073898"/>
              <a:gd name="connsiteX1614" fmla="*/ 3747131 w 6697570"/>
              <a:gd name="connsiteY1614" fmla="*/ 587942 h 4073898"/>
              <a:gd name="connsiteX1615" fmla="*/ 3765428 w 6697570"/>
              <a:gd name="connsiteY1615" fmla="*/ 580795 h 4073898"/>
              <a:gd name="connsiteX1616" fmla="*/ 3769144 w 6697570"/>
              <a:gd name="connsiteY1616" fmla="*/ 579365 h 4073898"/>
              <a:gd name="connsiteX1617" fmla="*/ 3841760 w 6697570"/>
              <a:gd name="connsiteY1617" fmla="*/ 489312 h 4073898"/>
              <a:gd name="connsiteX1618" fmla="*/ 3834899 w 6697570"/>
              <a:gd name="connsiteY1618" fmla="*/ 434422 h 4073898"/>
              <a:gd name="connsiteX1619" fmla="*/ 3768001 w 6697570"/>
              <a:gd name="connsiteY1619" fmla="*/ 403546 h 4073898"/>
              <a:gd name="connsiteX1620" fmla="*/ 3727119 w 6697570"/>
              <a:gd name="connsiteY1620" fmla="*/ 409835 h 4073898"/>
              <a:gd name="connsiteX1621" fmla="*/ 3721973 w 6697570"/>
              <a:gd name="connsiteY1621" fmla="*/ 419269 h 4073898"/>
              <a:gd name="connsiteX1622" fmla="*/ 3738555 w 6697570"/>
              <a:gd name="connsiteY1622" fmla="*/ 445000 h 4073898"/>
              <a:gd name="connsiteX1623" fmla="*/ 3760568 w 6697570"/>
              <a:gd name="connsiteY1623" fmla="*/ 449003 h 4073898"/>
              <a:gd name="connsiteX1624" fmla="*/ 3778864 w 6697570"/>
              <a:gd name="connsiteY1624" fmla="*/ 446715 h 4073898"/>
              <a:gd name="connsiteX1625" fmla="*/ 3792587 w 6697570"/>
              <a:gd name="connsiteY1625" fmla="*/ 442998 h 4073898"/>
              <a:gd name="connsiteX1626" fmla="*/ 3792587 w 6697570"/>
              <a:gd name="connsiteY1626" fmla="*/ 457007 h 4073898"/>
              <a:gd name="connsiteX1627" fmla="*/ 3716255 w 6697570"/>
              <a:gd name="connsiteY1627" fmla="*/ 550777 h 4073898"/>
              <a:gd name="connsiteX1628" fmla="*/ 3687953 w 6697570"/>
              <a:gd name="connsiteY1628" fmla="*/ 558496 h 4073898"/>
              <a:gd name="connsiteX1629" fmla="*/ 3684235 w 6697570"/>
              <a:gd name="connsiteY1629" fmla="*/ 559639 h 4073898"/>
              <a:gd name="connsiteX1630" fmla="*/ 3678232 w 6697570"/>
              <a:gd name="connsiteY1630" fmla="*/ 557351 h 4073898"/>
              <a:gd name="connsiteX1631" fmla="*/ 3674801 w 6697570"/>
              <a:gd name="connsiteY1631" fmla="*/ 556208 h 4073898"/>
              <a:gd name="connsiteX1632" fmla="*/ 3554443 w 6697570"/>
              <a:gd name="connsiteY1632" fmla="*/ 461867 h 4073898"/>
              <a:gd name="connsiteX1633" fmla="*/ 3551584 w 6697570"/>
              <a:gd name="connsiteY1633" fmla="*/ 447858 h 4073898"/>
              <a:gd name="connsiteX1634" fmla="*/ 3565878 w 6697570"/>
              <a:gd name="connsiteY1634" fmla="*/ 449003 h 4073898"/>
              <a:gd name="connsiteX1635" fmla="*/ 3572453 w 6697570"/>
              <a:gd name="connsiteY1635" fmla="*/ 449287 h 4073898"/>
              <a:gd name="connsiteX1636" fmla="*/ 3627630 w 6697570"/>
              <a:gd name="connsiteY1636" fmla="*/ 427274 h 4073898"/>
              <a:gd name="connsiteX1637" fmla="*/ 3627058 w 6697570"/>
              <a:gd name="connsiteY1637" fmla="*/ 415553 h 4073898"/>
              <a:gd name="connsiteX1638" fmla="*/ 3589035 w 6697570"/>
              <a:gd name="connsiteY1638" fmla="*/ 400687 h 4073898"/>
              <a:gd name="connsiteX1639" fmla="*/ 913408 w 6697570"/>
              <a:gd name="connsiteY1639" fmla="*/ 392392 h 4073898"/>
              <a:gd name="connsiteX1640" fmla="*/ 656966 w 6697570"/>
              <a:gd name="connsiteY1640" fmla="*/ 511607 h 4073898"/>
              <a:gd name="connsiteX1641" fmla="*/ 455986 w 6697570"/>
              <a:gd name="connsiteY1641" fmla="*/ 623675 h 4073898"/>
              <a:gd name="connsiteX1642" fmla="*/ 384800 w 6697570"/>
              <a:gd name="connsiteY1642" fmla="*/ 642544 h 4073898"/>
              <a:gd name="connsiteX1643" fmla="*/ 274447 w 6697570"/>
              <a:gd name="connsiteY1643" fmla="*/ 692574 h 4073898"/>
              <a:gd name="connsiteX1644" fmla="*/ 365932 w 6697570"/>
              <a:gd name="connsiteY1644" fmla="*/ 771477 h 4073898"/>
              <a:gd name="connsiteX1645" fmla="*/ 486862 w 6697570"/>
              <a:gd name="connsiteY1645" fmla="*/ 796636 h 4073898"/>
              <a:gd name="connsiteX1646" fmla="*/ 735871 w 6697570"/>
              <a:gd name="connsiteY1646" fmla="*/ 678565 h 4073898"/>
              <a:gd name="connsiteX1647" fmla="*/ 694131 w 6697570"/>
              <a:gd name="connsiteY1647" fmla="*/ 645403 h 4073898"/>
              <a:gd name="connsiteX1648" fmla="*/ 691272 w 6697570"/>
              <a:gd name="connsiteY1648" fmla="*/ 642258 h 4073898"/>
              <a:gd name="connsiteX1649" fmla="*/ 694131 w 6697570"/>
              <a:gd name="connsiteY1649" fmla="*/ 638827 h 4073898"/>
              <a:gd name="connsiteX1650" fmla="*/ 707568 w 6697570"/>
              <a:gd name="connsiteY1650" fmla="*/ 626534 h 4073898"/>
              <a:gd name="connsiteX1651" fmla="*/ 710428 w 6697570"/>
              <a:gd name="connsiteY1651" fmla="*/ 629679 h 4073898"/>
              <a:gd name="connsiteX1652" fmla="*/ 794193 w 6697570"/>
              <a:gd name="connsiteY1652" fmla="*/ 671990 h 4073898"/>
              <a:gd name="connsiteX1653" fmla="*/ 850798 w 6697570"/>
              <a:gd name="connsiteY1653" fmla="*/ 651978 h 4073898"/>
              <a:gd name="connsiteX1654" fmla="*/ 865093 w 6697570"/>
              <a:gd name="connsiteY1654" fmla="*/ 639685 h 4073898"/>
              <a:gd name="connsiteX1655" fmla="*/ 865378 w 6697570"/>
              <a:gd name="connsiteY1655" fmla="*/ 641114 h 4073898"/>
              <a:gd name="connsiteX1656" fmla="*/ 867094 w 6697570"/>
              <a:gd name="connsiteY1656" fmla="*/ 639971 h 4073898"/>
              <a:gd name="connsiteX1657" fmla="*/ 870810 w 6697570"/>
              <a:gd name="connsiteY1657" fmla="*/ 659126 h 4073898"/>
              <a:gd name="connsiteX1658" fmla="*/ 884247 w 6697570"/>
              <a:gd name="connsiteY1658" fmla="*/ 701722 h 4073898"/>
              <a:gd name="connsiteX1659" fmla="*/ 905688 w 6697570"/>
              <a:gd name="connsiteY1659" fmla="*/ 737172 h 4073898"/>
              <a:gd name="connsiteX1660" fmla="*/ 911121 w 6697570"/>
              <a:gd name="connsiteY1660" fmla="*/ 743747 h 4073898"/>
              <a:gd name="connsiteX1661" fmla="*/ 931418 w 6697570"/>
              <a:gd name="connsiteY1661" fmla="*/ 757183 h 4073898"/>
              <a:gd name="connsiteX1662" fmla="*/ 958863 w 6697570"/>
              <a:gd name="connsiteY1662" fmla="*/ 762615 h 4073898"/>
              <a:gd name="connsiteX1663" fmla="*/ 999460 w 6697570"/>
              <a:gd name="connsiteY1663" fmla="*/ 752895 h 4073898"/>
              <a:gd name="connsiteX1664" fmla="*/ 1010324 w 6697570"/>
              <a:gd name="connsiteY1664" fmla="*/ 746606 h 4073898"/>
              <a:gd name="connsiteX1665" fmla="*/ 1015184 w 6697570"/>
              <a:gd name="connsiteY1665" fmla="*/ 757469 h 4073898"/>
              <a:gd name="connsiteX1666" fmla="*/ 1031480 w 6697570"/>
              <a:gd name="connsiteY1666" fmla="*/ 783770 h 4073898"/>
              <a:gd name="connsiteX1667" fmla="*/ 1047203 w 6697570"/>
              <a:gd name="connsiteY1667" fmla="*/ 797779 h 4073898"/>
              <a:gd name="connsiteX1668" fmla="*/ 1069216 w 6697570"/>
              <a:gd name="connsiteY1668" fmla="*/ 806070 h 4073898"/>
              <a:gd name="connsiteX1669" fmla="*/ 1085512 w 6697570"/>
              <a:gd name="connsiteY1669" fmla="*/ 806356 h 4073898"/>
              <a:gd name="connsiteX1670" fmla="*/ 1071789 w 6697570"/>
              <a:gd name="connsiteY1670" fmla="*/ 787202 h 4073898"/>
              <a:gd name="connsiteX1671" fmla="*/ 1060068 w 6697570"/>
              <a:gd name="connsiteY1671" fmla="*/ 712871 h 4073898"/>
              <a:gd name="connsiteX1672" fmla="*/ 1126395 w 6697570"/>
              <a:gd name="connsiteY1672" fmla="*/ 643687 h 4073898"/>
              <a:gd name="connsiteX1673" fmla="*/ 1141546 w 6697570"/>
              <a:gd name="connsiteY1673" fmla="*/ 638256 h 4073898"/>
              <a:gd name="connsiteX1674" fmla="*/ 1126680 w 6697570"/>
              <a:gd name="connsiteY1674" fmla="*/ 588225 h 4073898"/>
              <a:gd name="connsiteX1675" fmla="*/ 1125822 w 6697570"/>
              <a:gd name="connsiteY1675" fmla="*/ 585366 h 4073898"/>
              <a:gd name="connsiteX1676" fmla="*/ 988882 w 6697570"/>
              <a:gd name="connsiteY1676" fmla="*/ 409831 h 4073898"/>
              <a:gd name="connsiteX1677" fmla="*/ 913408 w 6697570"/>
              <a:gd name="connsiteY1677" fmla="*/ 392392 h 4073898"/>
              <a:gd name="connsiteX1678" fmla="*/ 1565519 w 6697570"/>
              <a:gd name="connsiteY1678" fmla="*/ 392106 h 4073898"/>
              <a:gd name="connsiteX1679" fmla="*/ 1490043 w 6697570"/>
              <a:gd name="connsiteY1679" fmla="*/ 409545 h 4073898"/>
              <a:gd name="connsiteX1680" fmla="*/ 1353104 w 6697570"/>
              <a:gd name="connsiteY1680" fmla="*/ 585080 h 4073898"/>
              <a:gd name="connsiteX1681" fmla="*/ 1336236 w 6697570"/>
              <a:gd name="connsiteY1681" fmla="*/ 639113 h 4073898"/>
              <a:gd name="connsiteX1682" fmla="*/ 1442872 w 6697570"/>
              <a:gd name="connsiteY1682" fmla="*/ 681139 h 4073898"/>
              <a:gd name="connsiteX1683" fmla="*/ 1453450 w 6697570"/>
              <a:gd name="connsiteY1683" fmla="*/ 759184 h 4073898"/>
              <a:gd name="connsiteX1684" fmla="*/ 1440871 w 6697570"/>
              <a:gd name="connsiteY1684" fmla="*/ 790632 h 4073898"/>
              <a:gd name="connsiteX1685" fmla="*/ 1447732 w 6697570"/>
              <a:gd name="connsiteY1685" fmla="*/ 783770 h 4073898"/>
              <a:gd name="connsiteX1686" fmla="*/ 1464028 w 6697570"/>
              <a:gd name="connsiteY1686" fmla="*/ 757469 h 4073898"/>
              <a:gd name="connsiteX1687" fmla="*/ 1468888 w 6697570"/>
              <a:gd name="connsiteY1687" fmla="*/ 746035 h 4073898"/>
              <a:gd name="connsiteX1688" fmla="*/ 1479752 w 6697570"/>
              <a:gd name="connsiteY1688" fmla="*/ 752609 h 4073898"/>
              <a:gd name="connsiteX1689" fmla="*/ 1520348 w 6697570"/>
              <a:gd name="connsiteY1689" fmla="*/ 762329 h 4073898"/>
              <a:gd name="connsiteX1690" fmla="*/ 1547793 w 6697570"/>
              <a:gd name="connsiteY1690" fmla="*/ 756897 h 4073898"/>
              <a:gd name="connsiteX1691" fmla="*/ 1568663 w 6697570"/>
              <a:gd name="connsiteY1691" fmla="*/ 742889 h 4073898"/>
              <a:gd name="connsiteX1692" fmla="*/ 1573809 w 6697570"/>
              <a:gd name="connsiteY1692" fmla="*/ 736886 h 4073898"/>
              <a:gd name="connsiteX1693" fmla="*/ 1594965 w 6697570"/>
              <a:gd name="connsiteY1693" fmla="*/ 701437 h 4073898"/>
              <a:gd name="connsiteX1694" fmla="*/ 1608401 w 6697570"/>
              <a:gd name="connsiteY1694" fmla="*/ 658553 h 4073898"/>
              <a:gd name="connsiteX1695" fmla="*/ 1611833 w 6697570"/>
              <a:gd name="connsiteY1695" fmla="*/ 639398 h 4073898"/>
              <a:gd name="connsiteX1696" fmla="*/ 1613547 w 6697570"/>
              <a:gd name="connsiteY1696" fmla="*/ 640543 h 4073898"/>
              <a:gd name="connsiteX1697" fmla="*/ 1613833 w 6697570"/>
              <a:gd name="connsiteY1697" fmla="*/ 639113 h 4073898"/>
              <a:gd name="connsiteX1698" fmla="*/ 1628128 w 6697570"/>
              <a:gd name="connsiteY1698" fmla="*/ 651406 h 4073898"/>
              <a:gd name="connsiteX1699" fmla="*/ 1684734 w 6697570"/>
              <a:gd name="connsiteY1699" fmla="*/ 671419 h 4073898"/>
              <a:gd name="connsiteX1700" fmla="*/ 1768213 w 6697570"/>
              <a:gd name="connsiteY1700" fmla="*/ 629679 h 4073898"/>
              <a:gd name="connsiteX1701" fmla="*/ 1771071 w 6697570"/>
              <a:gd name="connsiteY1701" fmla="*/ 626534 h 4073898"/>
              <a:gd name="connsiteX1702" fmla="*/ 1774503 w 6697570"/>
              <a:gd name="connsiteY1702" fmla="*/ 628821 h 4073898"/>
              <a:gd name="connsiteX1703" fmla="*/ 1788225 w 6697570"/>
              <a:gd name="connsiteY1703" fmla="*/ 641400 h 4073898"/>
              <a:gd name="connsiteX1704" fmla="*/ 1785080 w 6697570"/>
              <a:gd name="connsiteY1704" fmla="*/ 644545 h 4073898"/>
              <a:gd name="connsiteX1705" fmla="*/ 1742769 w 6697570"/>
              <a:gd name="connsiteY1705" fmla="*/ 678280 h 4073898"/>
              <a:gd name="connsiteX1706" fmla="*/ 1992063 w 6697570"/>
              <a:gd name="connsiteY1706" fmla="*/ 796349 h 4073898"/>
              <a:gd name="connsiteX1707" fmla="*/ 2112994 w 6697570"/>
              <a:gd name="connsiteY1707" fmla="*/ 771192 h 4073898"/>
              <a:gd name="connsiteX1708" fmla="*/ 2183073 w 6697570"/>
              <a:gd name="connsiteY1708" fmla="*/ 726487 h 4073898"/>
              <a:gd name="connsiteX1709" fmla="*/ 2188789 w 6697570"/>
              <a:gd name="connsiteY1709" fmla="*/ 719596 h 4073898"/>
              <a:gd name="connsiteX1710" fmla="*/ 2188918 w 6697570"/>
              <a:gd name="connsiteY1710" fmla="*/ 673590 h 4073898"/>
              <a:gd name="connsiteX1711" fmla="*/ 2173745 w 6697570"/>
              <a:gd name="connsiteY1711" fmla="*/ 665236 h 4073898"/>
              <a:gd name="connsiteX1712" fmla="*/ 2094126 w 6697570"/>
              <a:gd name="connsiteY1712" fmla="*/ 642258 h 4073898"/>
              <a:gd name="connsiteX1713" fmla="*/ 2022939 w 6697570"/>
              <a:gd name="connsiteY1713" fmla="*/ 623389 h 4073898"/>
              <a:gd name="connsiteX1714" fmla="*/ 1821960 w 6697570"/>
              <a:gd name="connsiteY1714" fmla="*/ 511322 h 4073898"/>
              <a:gd name="connsiteX1715" fmla="*/ 1565519 w 6697570"/>
              <a:gd name="connsiteY1715" fmla="*/ 392106 h 4073898"/>
              <a:gd name="connsiteX1716" fmla="*/ 2419752 w 6697570"/>
              <a:gd name="connsiteY1716" fmla="*/ 332646 h 4073898"/>
              <a:gd name="connsiteX1717" fmla="*/ 2224490 w 6697570"/>
              <a:gd name="connsiteY1717" fmla="*/ 527622 h 4073898"/>
              <a:gd name="connsiteX1718" fmla="*/ 2223782 w 6697570"/>
              <a:gd name="connsiteY1718" fmla="*/ 683356 h 4073898"/>
              <a:gd name="connsiteX1719" fmla="*/ 2226777 w 6697570"/>
              <a:gd name="connsiteY1719" fmla="*/ 690287 h 4073898"/>
              <a:gd name="connsiteX1720" fmla="*/ 2223696 w 6697570"/>
              <a:gd name="connsiteY1720" fmla="*/ 702406 h 4073898"/>
              <a:gd name="connsiteX1721" fmla="*/ 2223632 w 6697570"/>
              <a:gd name="connsiteY1721" fmla="*/ 716302 h 4073898"/>
              <a:gd name="connsiteX1722" fmla="*/ 2254223 w 6697570"/>
              <a:gd name="connsiteY1722" fmla="*/ 716302 h 4073898"/>
              <a:gd name="connsiteX1723" fmla="*/ 2254795 w 6697570"/>
              <a:gd name="connsiteY1723" fmla="*/ 558210 h 4073898"/>
              <a:gd name="connsiteX1724" fmla="*/ 2450056 w 6697570"/>
              <a:gd name="connsiteY1724" fmla="*/ 363236 h 4073898"/>
              <a:gd name="connsiteX1725" fmla="*/ 2570986 w 6697570"/>
              <a:gd name="connsiteY1725" fmla="*/ 406406 h 4073898"/>
              <a:gd name="connsiteX1726" fmla="*/ 2419752 w 6697570"/>
              <a:gd name="connsiteY1726" fmla="*/ 332646 h 4073898"/>
              <a:gd name="connsiteX1727" fmla="*/ 1237034 w 6697570"/>
              <a:gd name="connsiteY1727" fmla="*/ 303195 h 4073898"/>
              <a:gd name="connsiteX1728" fmla="*/ 1124679 w 6697570"/>
              <a:gd name="connsiteY1728" fmla="*/ 415549 h 4073898"/>
              <a:gd name="connsiteX1729" fmla="*/ 1183000 w 6697570"/>
              <a:gd name="connsiteY1729" fmla="*/ 514180 h 4073898"/>
              <a:gd name="connsiteX1730" fmla="*/ 1189289 w 6697570"/>
              <a:gd name="connsiteY1730" fmla="*/ 517611 h 4073898"/>
              <a:gd name="connsiteX1731" fmla="*/ 1189289 w 6697570"/>
              <a:gd name="connsiteY1731" fmla="*/ 520183 h 4073898"/>
              <a:gd name="connsiteX1732" fmla="*/ 1193006 w 6697570"/>
              <a:gd name="connsiteY1732" fmla="*/ 642258 h 4073898"/>
              <a:gd name="connsiteX1733" fmla="*/ 1220165 w 6697570"/>
              <a:gd name="connsiteY1733" fmla="*/ 662556 h 4073898"/>
              <a:gd name="connsiteX1734" fmla="*/ 1222738 w 6697570"/>
              <a:gd name="connsiteY1734" fmla="*/ 696862 h 4073898"/>
              <a:gd name="connsiteX1735" fmla="*/ 1190433 w 6697570"/>
              <a:gd name="connsiteY1735" fmla="*/ 725736 h 4073898"/>
              <a:gd name="connsiteX1736" fmla="*/ 1191576 w 6697570"/>
              <a:gd name="connsiteY1736" fmla="*/ 773193 h 4073898"/>
              <a:gd name="connsiteX1737" fmla="*/ 1259332 w 6697570"/>
              <a:gd name="connsiteY1737" fmla="*/ 804069 h 4073898"/>
              <a:gd name="connsiteX1738" fmla="*/ 1262764 w 6697570"/>
              <a:gd name="connsiteY1738" fmla="*/ 805498 h 4073898"/>
              <a:gd name="connsiteX1739" fmla="*/ 1275628 w 6697570"/>
              <a:gd name="connsiteY1739" fmla="*/ 801495 h 4073898"/>
              <a:gd name="connsiteX1740" fmla="*/ 1284491 w 6697570"/>
              <a:gd name="connsiteY1740" fmla="*/ 517611 h 4073898"/>
              <a:gd name="connsiteX1741" fmla="*/ 1290780 w 6697570"/>
              <a:gd name="connsiteY1741" fmla="*/ 514180 h 4073898"/>
              <a:gd name="connsiteX1742" fmla="*/ 1349387 w 6697570"/>
              <a:gd name="connsiteY1742" fmla="*/ 415549 h 4073898"/>
              <a:gd name="connsiteX1743" fmla="*/ 1237034 w 6697570"/>
              <a:gd name="connsiteY1743" fmla="*/ 303195 h 4073898"/>
              <a:gd name="connsiteX1744" fmla="*/ 1237034 w 6697570"/>
              <a:gd name="connsiteY1744" fmla="*/ 278037 h 4073898"/>
              <a:gd name="connsiteX1745" fmla="*/ 1374831 w 6697570"/>
              <a:gd name="connsiteY1745" fmla="*/ 415834 h 4073898"/>
              <a:gd name="connsiteX1746" fmla="*/ 1309363 w 6697570"/>
              <a:gd name="connsiteY1746" fmla="*/ 533048 h 4073898"/>
              <a:gd name="connsiteX1747" fmla="*/ 1307076 w 6697570"/>
              <a:gd name="connsiteY1747" fmla="*/ 645117 h 4073898"/>
              <a:gd name="connsiteX1748" fmla="*/ 1309363 w 6697570"/>
              <a:gd name="connsiteY1748" fmla="*/ 644545 h 4073898"/>
              <a:gd name="connsiteX1749" fmla="*/ 1330804 w 6697570"/>
              <a:gd name="connsiteY1749" fmla="*/ 579934 h 4073898"/>
              <a:gd name="connsiteX1750" fmla="*/ 1479752 w 6697570"/>
              <a:gd name="connsiteY1750" fmla="*/ 390105 h 4073898"/>
              <a:gd name="connsiteX1751" fmla="*/ 1565519 w 6697570"/>
              <a:gd name="connsiteY1751" fmla="*/ 370093 h 4073898"/>
              <a:gd name="connsiteX1752" fmla="*/ 1834825 w 6697570"/>
              <a:gd name="connsiteY1752" fmla="*/ 493596 h 4073898"/>
              <a:gd name="connsiteX1753" fmla="*/ 2028943 w 6697570"/>
              <a:gd name="connsiteY1753" fmla="*/ 602233 h 4073898"/>
              <a:gd name="connsiteX1754" fmla="*/ 2099558 w 6697570"/>
              <a:gd name="connsiteY1754" fmla="*/ 620817 h 4073898"/>
              <a:gd name="connsiteX1755" fmla="*/ 2152402 w 6697570"/>
              <a:gd name="connsiteY1755" fmla="*/ 634888 h 4073898"/>
              <a:gd name="connsiteX1756" fmla="*/ 2188990 w 6697570"/>
              <a:gd name="connsiteY1756" fmla="*/ 648016 h 4073898"/>
              <a:gd name="connsiteX1757" fmla="*/ 2189326 w 6697570"/>
              <a:gd name="connsiteY1757" fmla="*/ 529051 h 4073898"/>
              <a:gd name="connsiteX1758" fmla="*/ 2424898 w 6697570"/>
              <a:gd name="connsiteY1758" fmla="*/ 294052 h 4073898"/>
              <a:gd name="connsiteX1759" fmla="*/ 2660470 w 6697570"/>
              <a:gd name="connsiteY1759" fmla="*/ 530481 h 4073898"/>
              <a:gd name="connsiteX1760" fmla="*/ 2659898 w 6697570"/>
              <a:gd name="connsiteY1760" fmla="*/ 732884 h 4073898"/>
              <a:gd name="connsiteX1761" fmla="*/ 2659327 w 6697570"/>
              <a:gd name="connsiteY1761" fmla="*/ 960449 h 4073898"/>
              <a:gd name="connsiteX1762" fmla="*/ 2423754 w 6697570"/>
              <a:gd name="connsiteY1762" fmla="*/ 1195449 h 4073898"/>
              <a:gd name="connsiteX1763" fmla="*/ 2423182 w 6697570"/>
              <a:gd name="connsiteY1763" fmla="*/ 1195449 h 4073898"/>
              <a:gd name="connsiteX1764" fmla="*/ 2256796 w 6697570"/>
              <a:gd name="connsiteY1764" fmla="*/ 1125978 h 4073898"/>
              <a:gd name="connsiteX1765" fmla="*/ 2188182 w 6697570"/>
              <a:gd name="connsiteY1765" fmla="*/ 959306 h 4073898"/>
              <a:gd name="connsiteX1766" fmla="*/ 2188755 w 6697570"/>
              <a:gd name="connsiteY1766" fmla="*/ 756897 h 4073898"/>
              <a:gd name="connsiteX1767" fmla="*/ 2188755 w 6697570"/>
              <a:gd name="connsiteY1767" fmla="*/ 750452 h 4073898"/>
              <a:gd name="connsiteX1768" fmla="*/ 2165066 w 6697570"/>
              <a:gd name="connsiteY1768" fmla="*/ 769124 h 4073898"/>
              <a:gd name="connsiteX1769" fmla="*/ 2121571 w 6697570"/>
              <a:gd name="connsiteY1769" fmla="*/ 792633 h 4073898"/>
              <a:gd name="connsiteX1770" fmla="*/ 2006357 w 6697570"/>
              <a:gd name="connsiteY1770" fmla="*/ 818363 h 4073898"/>
              <a:gd name="connsiteX1771" fmla="*/ 1855695 w 6697570"/>
              <a:gd name="connsiteY1771" fmla="*/ 900127 h 4073898"/>
              <a:gd name="connsiteX1772" fmla="*/ 1843116 w 6697570"/>
              <a:gd name="connsiteY1772" fmla="*/ 899841 h 4073898"/>
              <a:gd name="connsiteX1773" fmla="*/ 1676443 w 6697570"/>
              <a:gd name="connsiteY1773" fmla="*/ 950158 h 4073898"/>
              <a:gd name="connsiteX1774" fmla="*/ 1410281 w 6697570"/>
              <a:gd name="connsiteY1774" fmla="*/ 834087 h 4073898"/>
              <a:gd name="connsiteX1775" fmla="*/ 1373974 w 6697570"/>
              <a:gd name="connsiteY1775" fmla="*/ 865249 h 4073898"/>
              <a:gd name="connsiteX1776" fmla="*/ 1414283 w 6697570"/>
              <a:gd name="connsiteY1776" fmla="*/ 945869 h 4073898"/>
              <a:gd name="connsiteX1777" fmla="*/ 1319655 w 6697570"/>
              <a:gd name="connsiteY1777" fmla="*/ 1074233 h 4073898"/>
              <a:gd name="connsiteX1778" fmla="*/ 1411139 w 6697570"/>
              <a:gd name="connsiteY1778" fmla="*/ 1203168 h 4073898"/>
              <a:gd name="connsiteX1779" fmla="*/ 1339380 w 6697570"/>
              <a:gd name="connsiteY1779" fmla="*/ 1318096 h 4073898"/>
              <a:gd name="connsiteX1780" fmla="*/ 1365683 w 6697570"/>
              <a:gd name="connsiteY1780" fmla="*/ 1384421 h 4073898"/>
              <a:gd name="connsiteX1781" fmla="*/ 1315080 w 6697570"/>
              <a:gd name="connsiteY1781" fmla="*/ 1499348 h 4073898"/>
              <a:gd name="connsiteX1782" fmla="*/ 1332519 w 6697570"/>
              <a:gd name="connsiteY1782" fmla="*/ 1576252 h 4073898"/>
              <a:gd name="connsiteX1783" fmla="*/ 1273912 w 6697570"/>
              <a:gd name="connsiteY1783" fmla="*/ 1632286 h 4073898"/>
              <a:gd name="connsiteX1784" fmla="*/ 1273056 w 6697570"/>
              <a:gd name="connsiteY1784" fmla="*/ 1659159 h 4073898"/>
              <a:gd name="connsiteX1785" fmla="*/ 1262477 w 6697570"/>
              <a:gd name="connsiteY1785" fmla="*/ 1684318 h 4073898"/>
              <a:gd name="connsiteX1786" fmla="*/ 1236747 w 6697570"/>
              <a:gd name="connsiteY1786" fmla="*/ 1694896 h 4073898"/>
              <a:gd name="connsiteX1787" fmla="*/ 1200439 w 6697570"/>
              <a:gd name="connsiteY1787" fmla="*/ 1658588 h 4073898"/>
              <a:gd name="connsiteX1788" fmla="*/ 1199582 w 6697570"/>
              <a:gd name="connsiteY1788" fmla="*/ 1629999 h 4073898"/>
              <a:gd name="connsiteX1789" fmla="*/ 1148694 w 6697570"/>
              <a:gd name="connsiteY1789" fmla="*/ 1546234 h 4073898"/>
              <a:gd name="connsiteX1790" fmla="*/ 1178140 w 6697570"/>
              <a:gd name="connsiteY1790" fmla="*/ 1478193 h 4073898"/>
              <a:gd name="connsiteX1791" fmla="*/ 1126108 w 6697570"/>
              <a:gd name="connsiteY1791" fmla="*/ 1392998 h 4073898"/>
              <a:gd name="connsiteX1792" fmla="*/ 1170708 w 6697570"/>
              <a:gd name="connsiteY1792" fmla="*/ 1316094 h 4073898"/>
              <a:gd name="connsiteX1793" fmla="*/ 1124679 w 6697570"/>
              <a:gd name="connsiteY1793" fmla="*/ 1128551 h 4073898"/>
              <a:gd name="connsiteX1794" fmla="*/ 1146978 w 6697570"/>
              <a:gd name="connsiteY1794" fmla="*/ 1095960 h 4073898"/>
              <a:gd name="connsiteX1795" fmla="*/ 1090087 w 6697570"/>
              <a:gd name="connsiteY1795" fmla="*/ 980461 h 4073898"/>
              <a:gd name="connsiteX1796" fmla="*/ 1149265 w 6697570"/>
              <a:gd name="connsiteY1796" fmla="*/ 868965 h 4073898"/>
              <a:gd name="connsiteX1797" fmla="*/ 1102952 w 6697570"/>
              <a:gd name="connsiteY1797" fmla="*/ 826940 h 4073898"/>
              <a:gd name="connsiteX1798" fmla="*/ 1078937 w 6697570"/>
              <a:gd name="connsiteY1798" fmla="*/ 829798 h 4073898"/>
              <a:gd name="connsiteX1799" fmla="*/ 1073219 w 6697570"/>
              <a:gd name="connsiteY1799" fmla="*/ 829513 h 4073898"/>
              <a:gd name="connsiteX1800" fmla="*/ 939352 w 6697570"/>
              <a:gd name="connsiteY1800" fmla="*/ 919460 h 4073898"/>
              <a:gd name="connsiteX1801" fmla="*/ 923763 w 6697570"/>
              <a:gd name="connsiteY1801" fmla="*/ 924622 h 4073898"/>
              <a:gd name="connsiteX1802" fmla="*/ 926099 w 6697570"/>
              <a:gd name="connsiteY1802" fmla="*/ 925071 h 4073898"/>
              <a:gd name="connsiteX1803" fmla="*/ 969158 w 6697570"/>
              <a:gd name="connsiteY1803" fmla="*/ 988753 h 4073898"/>
              <a:gd name="connsiteX1804" fmla="*/ 955149 w 6697570"/>
              <a:gd name="connsiteY1804" fmla="*/ 1035638 h 4073898"/>
              <a:gd name="connsiteX1805" fmla="*/ 752168 w 6697570"/>
              <a:gd name="connsiteY1805" fmla="*/ 1487341 h 4073898"/>
              <a:gd name="connsiteX1806" fmla="*/ 781614 w 6697570"/>
              <a:gd name="connsiteY1806" fmla="*/ 1693466 h 4073898"/>
              <a:gd name="connsiteX1807" fmla="*/ 875956 w 6697570"/>
              <a:gd name="connsiteY1807" fmla="*/ 1963345 h 4073898"/>
              <a:gd name="connsiteX1808" fmla="*/ 643816 w 6697570"/>
              <a:gd name="connsiteY1808" fmla="*/ 2122584 h 4073898"/>
              <a:gd name="connsiteX1809" fmla="*/ 327624 w 6697570"/>
              <a:gd name="connsiteY1809" fmla="*/ 1895017 h 4073898"/>
              <a:gd name="connsiteX1810" fmla="*/ 255865 w 6697570"/>
              <a:gd name="connsiteY1810" fmla="*/ 1759507 h 4073898"/>
              <a:gd name="connsiteX1811" fmla="*/ 223846 w 6697570"/>
              <a:gd name="connsiteY1811" fmla="*/ 1771514 h 4073898"/>
              <a:gd name="connsiteX1812" fmla="*/ 101486 w 6697570"/>
              <a:gd name="connsiteY1812" fmla="*/ 1686606 h 4073898"/>
              <a:gd name="connsiteX1813" fmla="*/ 184681 w 6697570"/>
              <a:gd name="connsiteY1813" fmla="*/ 1562816 h 4073898"/>
              <a:gd name="connsiteX1814" fmla="*/ 307040 w 6697570"/>
              <a:gd name="connsiteY1814" fmla="*/ 1647725 h 4073898"/>
              <a:gd name="connsiteX1815" fmla="*/ 306468 w 6697570"/>
              <a:gd name="connsiteY1815" fmla="*/ 1690893 h 4073898"/>
              <a:gd name="connsiteX1816" fmla="*/ 406529 w 6697570"/>
              <a:gd name="connsiteY1816" fmla="*/ 1864142 h 4073898"/>
              <a:gd name="connsiteX1817" fmla="*/ 628377 w 6697570"/>
              <a:gd name="connsiteY1817" fmla="*/ 2038534 h 4073898"/>
              <a:gd name="connsiteX1818" fmla="*/ 796194 w 6697570"/>
              <a:gd name="connsiteY1818" fmla="*/ 1936185 h 4073898"/>
              <a:gd name="connsiteX1819" fmla="*/ 719863 w 6697570"/>
              <a:gd name="connsiteY1819" fmla="*/ 1751216 h 4073898"/>
              <a:gd name="connsiteX1820" fmla="*/ 664972 w 6697570"/>
              <a:gd name="connsiteY1820" fmla="*/ 1497919 h 4073898"/>
              <a:gd name="connsiteX1821" fmla="*/ 339631 w 6697570"/>
              <a:gd name="connsiteY1821" fmla="*/ 1139701 h 4073898"/>
              <a:gd name="connsiteX1822" fmla="*/ 323335 w 6697570"/>
              <a:gd name="connsiteY1822" fmla="*/ 1110541 h 4073898"/>
              <a:gd name="connsiteX1823" fmla="*/ 359929 w 6697570"/>
              <a:gd name="connsiteY1823" fmla="*/ 1023059 h 4073898"/>
              <a:gd name="connsiteX1824" fmla="*/ 425969 w 6697570"/>
              <a:gd name="connsiteY1824" fmla="*/ 1091101 h 4073898"/>
              <a:gd name="connsiteX1825" fmla="*/ 422253 w 6697570"/>
              <a:gd name="connsiteY1825" fmla="*/ 1122548 h 4073898"/>
              <a:gd name="connsiteX1826" fmla="*/ 708713 w 6697570"/>
              <a:gd name="connsiteY1826" fmla="*/ 1410438 h 4073898"/>
              <a:gd name="connsiteX1827" fmla="*/ 866807 w 6697570"/>
              <a:gd name="connsiteY1827" fmla="*/ 1016484 h 4073898"/>
              <a:gd name="connsiteX1828" fmla="*/ 864521 w 6697570"/>
              <a:gd name="connsiteY1828" fmla="*/ 1004190 h 4073898"/>
              <a:gd name="connsiteX1829" fmla="*/ 866237 w 6697570"/>
              <a:gd name="connsiteY1829" fmla="*/ 1003905 h 4073898"/>
              <a:gd name="connsiteX1830" fmla="*/ 872384 w 6697570"/>
              <a:gd name="connsiteY1830" fmla="*/ 954053 h 4073898"/>
              <a:gd name="connsiteX1831" fmla="*/ 880887 w 6697570"/>
              <a:gd name="connsiteY1831" fmla="*/ 938819 h 4073898"/>
              <a:gd name="connsiteX1832" fmla="*/ 871158 w 6697570"/>
              <a:gd name="connsiteY1832" fmla="*/ 942041 h 4073898"/>
              <a:gd name="connsiteX1833" fmla="*/ 802483 w 6697570"/>
              <a:gd name="connsiteY1833" fmla="*/ 949586 h 4073898"/>
              <a:gd name="connsiteX1834" fmla="*/ 635810 w 6697570"/>
              <a:gd name="connsiteY1834" fmla="*/ 899270 h 4073898"/>
              <a:gd name="connsiteX1835" fmla="*/ 623231 w 6697570"/>
              <a:gd name="connsiteY1835" fmla="*/ 899555 h 4073898"/>
              <a:gd name="connsiteX1836" fmla="*/ 472568 w 6697570"/>
              <a:gd name="connsiteY1836" fmla="*/ 817791 h 4073898"/>
              <a:gd name="connsiteX1837" fmla="*/ 357355 w 6697570"/>
              <a:gd name="connsiteY1837" fmla="*/ 792061 h 4073898"/>
              <a:gd name="connsiteX1838" fmla="*/ 252434 w 6697570"/>
              <a:gd name="connsiteY1838" fmla="*/ 690573 h 4073898"/>
              <a:gd name="connsiteX1839" fmla="*/ 379655 w 6697570"/>
              <a:gd name="connsiteY1839" fmla="*/ 621102 h 4073898"/>
              <a:gd name="connsiteX1840" fmla="*/ 450269 w 6697570"/>
              <a:gd name="connsiteY1840" fmla="*/ 602519 h 4073898"/>
              <a:gd name="connsiteX1841" fmla="*/ 644387 w 6697570"/>
              <a:gd name="connsiteY1841" fmla="*/ 493883 h 4073898"/>
              <a:gd name="connsiteX1842" fmla="*/ 913693 w 6697570"/>
              <a:gd name="connsiteY1842" fmla="*/ 370093 h 4073898"/>
              <a:gd name="connsiteX1843" fmla="*/ 999460 w 6697570"/>
              <a:gd name="connsiteY1843" fmla="*/ 390105 h 4073898"/>
              <a:gd name="connsiteX1844" fmla="*/ 1148122 w 6697570"/>
              <a:gd name="connsiteY1844" fmla="*/ 579934 h 4073898"/>
              <a:gd name="connsiteX1845" fmla="*/ 1149265 w 6697570"/>
              <a:gd name="connsiteY1845" fmla="*/ 583365 h 4073898"/>
              <a:gd name="connsiteX1846" fmla="*/ 1165561 w 6697570"/>
              <a:gd name="connsiteY1846" fmla="*/ 636826 h 4073898"/>
              <a:gd name="connsiteX1847" fmla="*/ 1167562 w 6697570"/>
              <a:gd name="connsiteY1847" fmla="*/ 636826 h 4073898"/>
              <a:gd name="connsiteX1848" fmla="*/ 1164417 w 6697570"/>
              <a:gd name="connsiteY1848" fmla="*/ 533048 h 4073898"/>
              <a:gd name="connsiteX1849" fmla="*/ 1099234 w 6697570"/>
              <a:gd name="connsiteY1849" fmla="*/ 415834 h 4073898"/>
              <a:gd name="connsiteX1850" fmla="*/ 1237034 w 6697570"/>
              <a:gd name="connsiteY1850" fmla="*/ 278037 h 4073898"/>
              <a:gd name="connsiteX1851" fmla="*/ 3360325 w 6697570"/>
              <a:gd name="connsiteY1851" fmla="*/ 152822 h 4073898"/>
              <a:gd name="connsiteX1852" fmla="*/ 3121036 w 6697570"/>
              <a:gd name="connsiteY1852" fmla="*/ 264032 h 4073898"/>
              <a:gd name="connsiteX1853" fmla="*/ 2933494 w 6697570"/>
              <a:gd name="connsiteY1853" fmla="*/ 368381 h 4073898"/>
              <a:gd name="connsiteX1854" fmla="*/ 2867167 w 6697570"/>
              <a:gd name="connsiteY1854" fmla="*/ 385821 h 4073898"/>
              <a:gd name="connsiteX1855" fmla="*/ 2764248 w 6697570"/>
              <a:gd name="connsiteY1855" fmla="*/ 432421 h 4073898"/>
              <a:gd name="connsiteX1856" fmla="*/ 2849442 w 6697570"/>
              <a:gd name="connsiteY1856" fmla="*/ 505894 h 4073898"/>
              <a:gd name="connsiteX1857" fmla="*/ 2962368 w 6697570"/>
              <a:gd name="connsiteY1857" fmla="*/ 529337 h 4073898"/>
              <a:gd name="connsiteX1858" fmla="*/ 3194509 w 6697570"/>
              <a:gd name="connsiteY1858" fmla="*/ 419269 h 4073898"/>
              <a:gd name="connsiteX1859" fmla="*/ 3155342 w 6697570"/>
              <a:gd name="connsiteY1859" fmla="*/ 388393 h 4073898"/>
              <a:gd name="connsiteX1860" fmla="*/ 3152484 w 6697570"/>
              <a:gd name="connsiteY1860" fmla="*/ 385535 h 4073898"/>
              <a:gd name="connsiteX1861" fmla="*/ 3155056 w 6697570"/>
              <a:gd name="connsiteY1861" fmla="*/ 382390 h 4073898"/>
              <a:gd name="connsiteX1862" fmla="*/ 3167635 w 6697570"/>
              <a:gd name="connsiteY1862" fmla="*/ 370954 h 4073898"/>
              <a:gd name="connsiteX1863" fmla="*/ 3170208 w 6697570"/>
              <a:gd name="connsiteY1863" fmla="*/ 373813 h 4073898"/>
              <a:gd name="connsiteX1864" fmla="*/ 3248257 w 6697570"/>
              <a:gd name="connsiteY1864" fmla="*/ 413266 h 4073898"/>
              <a:gd name="connsiteX1865" fmla="*/ 3301145 w 6697570"/>
              <a:gd name="connsiteY1865" fmla="*/ 394683 h 4073898"/>
              <a:gd name="connsiteX1866" fmla="*/ 3314582 w 6697570"/>
              <a:gd name="connsiteY1866" fmla="*/ 383247 h 4073898"/>
              <a:gd name="connsiteX1867" fmla="*/ 3314868 w 6697570"/>
              <a:gd name="connsiteY1867" fmla="*/ 384677 h 4073898"/>
              <a:gd name="connsiteX1868" fmla="*/ 3316298 w 6697570"/>
              <a:gd name="connsiteY1868" fmla="*/ 383534 h 4073898"/>
              <a:gd name="connsiteX1869" fmla="*/ 3319728 w 6697570"/>
              <a:gd name="connsiteY1869" fmla="*/ 401545 h 4073898"/>
              <a:gd name="connsiteX1870" fmla="*/ 3332307 w 6697570"/>
              <a:gd name="connsiteY1870" fmla="*/ 441283 h 4073898"/>
              <a:gd name="connsiteX1871" fmla="*/ 3352033 w 6697570"/>
              <a:gd name="connsiteY1871" fmla="*/ 474446 h 4073898"/>
              <a:gd name="connsiteX1872" fmla="*/ 3357179 w 6697570"/>
              <a:gd name="connsiteY1872" fmla="*/ 480450 h 4073898"/>
              <a:gd name="connsiteX1873" fmla="*/ 3376048 w 6697570"/>
              <a:gd name="connsiteY1873" fmla="*/ 493029 h 4073898"/>
              <a:gd name="connsiteX1874" fmla="*/ 3401778 w 6697570"/>
              <a:gd name="connsiteY1874" fmla="*/ 498175 h 4073898"/>
              <a:gd name="connsiteX1875" fmla="*/ 3439515 w 6697570"/>
              <a:gd name="connsiteY1875" fmla="*/ 489026 h 4073898"/>
              <a:gd name="connsiteX1876" fmla="*/ 3449808 w 6697570"/>
              <a:gd name="connsiteY1876" fmla="*/ 483023 h 4073898"/>
              <a:gd name="connsiteX1877" fmla="*/ 3454953 w 6697570"/>
              <a:gd name="connsiteY1877" fmla="*/ 493601 h 4073898"/>
              <a:gd name="connsiteX1878" fmla="*/ 3470105 w 6697570"/>
              <a:gd name="connsiteY1878" fmla="*/ 517901 h 4073898"/>
              <a:gd name="connsiteX1879" fmla="*/ 3484971 w 6697570"/>
              <a:gd name="connsiteY1879" fmla="*/ 531052 h 4073898"/>
              <a:gd name="connsiteX1880" fmla="*/ 3505556 w 6697570"/>
              <a:gd name="connsiteY1880" fmla="*/ 538771 h 4073898"/>
              <a:gd name="connsiteX1881" fmla="*/ 3520708 w 6697570"/>
              <a:gd name="connsiteY1881" fmla="*/ 539056 h 4073898"/>
              <a:gd name="connsiteX1882" fmla="*/ 3507843 w 6697570"/>
              <a:gd name="connsiteY1882" fmla="*/ 521046 h 4073898"/>
              <a:gd name="connsiteX1883" fmla="*/ 3496979 w 6697570"/>
              <a:gd name="connsiteY1883" fmla="*/ 451861 h 4073898"/>
              <a:gd name="connsiteX1884" fmla="*/ 3558731 w 6697570"/>
              <a:gd name="connsiteY1884" fmla="*/ 387250 h 4073898"/>
              <a:gd name="connsiteX1885" fmla="*/ 3573025 w 6697570"/>
              <a:gd name="connsiteY1885" fmla="*/ 382104 h 4073898"/>
              <a:gd name="connsiteX1886" fmla="*/ 3559017 w 6697570"/>
              <a:gd name="connsiteY1886" fmla="*/ 335505 h 4073898"/>
              <a:gd name="connsiteX1887" fmla="*/ 3558445 w 6697570"/>
              <a:gd name="connsiteY1887" fmla="*/ 332932 h 4073898"/>
              <a:gd name="connsiteX1888" fmla="*/ 3430653 w 6697570"/>
              <a:gd name="connsiteY1888" fmla="*/ 169118 h 4073898"/>
              <a:gd name="connsiteX1889" fmla="*/ 3360325 w 6697570"/>
              <a:gd name="connsiteY1889" fmla="*/ 152822 h 4073898"/>
              <a:gd name="connsiteX1890" fmla="*/ 3967551 w 6697570"/>
              <a:gd name="connsiteY1890" fmla="*/ 152536 h 4073898"/>
              <a:gd name="connsiteX1891" fmla="*/ 3897222 w 6697570"/>
              <a:gd name="connsiteY1891" fmla="*/ 168832 h 4073898"/>
              <a:gd name="connsiteX1892" fmla="*/ 3769717 w 6697570"/>
              <a:gd name="connsiteY1892" fmla="*/ 332645 h 4073898"/>
              <a:gd name="connsiteX1893" fmla="*/ 3753706 w 6697570"/>
              <a:gd name="connsiteY1893" fmla="*/ 383247 h 4073898"/>
              <a:gd name="connsiteX1894" fmla="*/ 3853196 w 6697570"/>
              <a:gd name="connsiteY1894" fmla="*/ 422701 h 4073898"/>
              <a:gd name="connsiteX1895" fmla="*/ 3863201 w 6697570"/>
              <a:gd name="connsiteY1895" fmla="*/ 495602 h 4073898"/>
              <a:gd name="connsiteX1896" fmla="*/ 3851194 w 6697570"/>
              <a:gd name="connsiteY1896" fmla="*/ 524763 h 4073898"/>
              <a:gd name="connsiteX1897" fmla="*/ 3857484 w 6697570"/>
              <a:gd name="connsiteY1897" fmla="*/ 518187 h 4073898"/>
              <a:gd name="connsiteX1898" fmla="*/ 3872636 w 6697570"/>
              <a:gd name="connsiteY1898" fmla="*/ 493886 h 4073898"/>
              <a:gd name="connsiteX1899" fmla="*/ 3877210 w 6697570"/>
              <a:gd name="connsiteY1899" fmla="*/ 483023 h 4073898"/>
              <a:gd name="connsiteX1900" fmla="*/ 3887502 w 6697570"/>
              <a:gd name="connsiteY1900" fmla="*/ 489026 h 4073898"/>
              <a:gd name="connsiteX1901" fmla="*/ 3925526 w 6697570"/>
              <a:gd name="connsiteY1901" fmla="*/ 498175 h 4073898"/>
              <a:gd name="connsiteX1902" fmla="*/ 3950969 w 6697570"/>
              <a:gd name="connsiteY1902" fmla="*/ 493029 h 4073898"/>
              <a:gd name="connsiteX1903" fmla="*/ 3970409 w 6697570"/>
              <a:gd name="connsiteY1903" fmla="*/ 479878 h 4073898"/>
              <a:gd name="connsiteX1904" fmla="*/ 3974984 w 6697570"/>
              <a:gd name="connsiteY1904" fmla="*/ 474160 h 4073898"/>
              <a:gd name="connsiteX1905" fmla="*/ 3994996 w 6697570"/>
              <a:gd name="connsiteY1905" fmla="*/ 440997 h 4073898"/>
              <a:gd name="connsiteX1906" fmla="*/ 4007575 w 6697570"/>
              <a:gd name="connsiteY1906" fmla="*/ 400973 h 4073898"/>
              <a:gd name="connsiteX1907" fmla="*/ 4010720 w 6697570"/>
              <a:gd name="connsiteY1907" fmla="*/ 383247 h 4073898"/>
              <a:gd name="connsiteX1908" fmla="*/ 4012435 w 6697570"/>
              <a:gd name="connsiteY1908" fmla="*/ 384391 h 4073898"/>
              <a:gd name="connsiteX1909" fmla="*/ 4012722 w 6697570"/>
              <a:gd name="connsiteY1909" fmla="*/ 382962 h 4073898"/>
              <a:gd name="connsiteX1910" fmla="*/ 4026158 w 6697570"/>
              <a:gd name="connsiteY1910" fmla="*/ 394397 h 4073898"/>
              <a:gd name="connsiteX1911" fmla="*/ 4079047 w 6697570"/>
              <a:gd name="connsiteY1911" fmla="*/ 412980 h 4073898"/>
              <a:gd name="connsiteX1912" fmla="*/ 4156809 w 6697570"/>
              <a:gd name="connsiteY1912" fmla="*/ 373813 h 4073898"/>
              <a:gd name="connsiteX1913" fmla="*/ 4159381 w 6697570"/>
              <a:gd name="connsiteY1913" fmla="*/ 370954 h 4073898"/>
              <a:gd name="connsiteX1914" fmla="*/ 4162527 w 6697570"/>
              <a:gd name="connsiteY1914" fmla="*/ 373241 h 4073898"/>
              <a:gd name="connsiteX1915" fmla="*/ 4175106 w 6697570"/>
              <a:gd name="connsiteY1915" fmla="*/ 384963 h 4073898"/>
              <a:gd name="connsiteX1916" fmla="*/ 4172247 w 6697570"/>
              <a:gd name="connsiteY1916" fmla="*/ 387822 h 4073898"/>
              <a:gd name="connsiteX1917" fmla="*/ 4132794 w 6697570"/>
              <a:gd name="connsiteY1917" fmla="*/ 419269 h 4073898"/>
              <a:gd name="connsiteX1918" fmla="*/ 4365507 w 6697570"/>
              <a:gd name="connsiteY1918" fmla="*/ 529051 h 4073898"/>
              <a:gd name="connsiteX1919" fmla="*/ 4478433 w 6697570"/>
              <a:gd name="connsiteY1919" fmla="*/ 505608 h 4073898"/>
              <a:gd name="connsiteX1920" fmla="*/ 4563627 w 6697570"/>
              <a:gd name="connsiteY1920" fmla="*/ 432135 h 4073898"/>
              <a:gd name="connsiteX1921" fmla="*/ 4460708 w 6697570"/>
              <a:gd name="connsiteY1921" fmla="*/ 385535 h 4073898"/>
              <a:gd name="connsiteX1922" fmla="*/ 4394382 w 6697570"/>
              <a:gd name="connsiteY1922" fmla="*/ 368096 h 4073898"/>
              <a:gd name="connsiteX1923" fmla="*/ 4206839 w 6697570"/>
              <a:gd name="connsiteY1923" fmla="*/ 263746 h 4073898"/>
              <a:gd name="connsiteX1924" fmla="*/ 3967551 w 6697570"/>
              <a:gd name="connsiteY1924" fmla="*/ 152536 h 4073898"/>
              <a:gd name="connsiteX1925" fmla="*/ 4466140 w 6697570"/>
              <a:gd name="connsiteY1925" fmla="*/ 140241 h 4073898"/>
              <a:gd name="connsiteX1926" fmla="*/ 4466140 w 6697570"/>
              <a:gd name="connsiteY1926" fmla="*/ 200563 h 4073898"/>
              <a:gd name="connsiteX1927" fmla="*/ 4575349 w 6697570"/>
              <a:gd name="connsiteY1927" fmla="*/ 310058 h 4073898"/>
              <a:gd name="connsiteX1928" fmla="*/ 4665975 w 6697570"/>
              <a:gd name="connsiteY1928" fmla="*/ 310058 h 4073898"/>
              <a:gd name="connsiteX1929" fmla="*/ 4665975 w 6697570"/>
              <a:gd name="connsiteY1929" fmla="*/ 259457 h 4073898"/>
              <a:gd name="connsiteX1930" fmla="*/ 4547045 w 6697570"/>
              <a:gd name="connsiteY1930" fmla="*/ 140241 h 4073898"/>
              <a:gd name="connsiteX1931" fmla="*/ 5224887 w 6697570"/>
              <a:gd name="connsiteY1931" fmla="*/ 109937 h 4073898"/>
              <a:gd name="connsiteX1932" fmla="*/ 5105672 w 6697570"/>
              <a:gd name="connsiteY1932" fmla="*/ 228867 h 4073898"/>
              <a:gd name="connsiteX1933" fmla="*/ 5105672 w 6697570"/>
              <a:gd name="connsiteY1933" fmla="*/ 309773 h 4073898"/>
              <a:gd name="connsiteX1934" fmla="*/ 5165994 w 6697570"/>
              <a:gd name="connsiteY1934" fmla="*/ 309773 h 4073898"/>
              <a:gd name="connsiteX1935" fmla="*/ 5275775 w 6697570"/>
              <a:gd name="connsiteY1935" fmla="*/ 200563 h 4073898"/>
              <a:gd name="connsiteX1936" fmla="*/ 5275775 w 6697570"/>
              <a:gd name="connsiteY1936" fmla="*/ 109937 h 4073898"/>
              <a:gd name="connsiteX1937" fmla="*/ 2549545 w 6697570"/>
              <a:gd name="connsiteY1937" fmla="*/ 87350 h 4073898"/>
              <a:gd name="connsiteX1938" fmla="*/ 2549545 w 6697570"/>
              <a:gd name="connsiteY1938" fmla="*/ 129947 h 4073898"/>
              <a:gd name="connsiteX1939" fmla="*/ 2609582 w 6697570"/>
              <a:gd name="connsiteY1939" fmla="*/ 189983 h 4073898"/>
              <a:gd name="connsiteX1940" fmla="*/ 2986096 w 6697570"/>
              <a:gd name="connsiteY1940" fmla="*/ 189983 h 4073898"/>
              <a:gd name="connsiteX1941" fmla="*/ 3046133 w 6697570"/>
              <a:gd name="connsiteY1941" fmla="*/ 129947 h 4073898"/>
              <a:gd name="connsiteX1942" fmla="*/ 3046133 w 6697570"/>
              <a:gd name="connsiteY1942" fmla="*/ 87350 h 4073898"/>
              <a:gd name="connsiteX1943" fmla="*/ 3661079 w 6697570"/>
              <a:gd name="connsiteY1943" fmla="*/ 69343 h 4073898"/>
              <a:gd name="connsiteX1944" fmla="*/ 3556730 w 6697570"/>
              <a:gd name="connsiteY1944" fmla="*/ 173692 h 4073898"/>
              <a:gd name="connsiteX1945" fmla="*/ 3611048 w 6697570"/>
              <a:gd name="connsiteY1945" fmla="*/ 265462 h 4073898"/>
              <a:gd name="connsiteX1946" fmla="*/ 3617052 w 6697570"/>
              <a:gd name="connsiteY1946" fmla="*/ 268607 h 4073898"/>
              <a:gd name="connsiteX1947" fmla="*/ 3617052 w 6697570"/>
              <a:gd name="connsiteY1947" fmla="*/ 270894 h 4073898"/>
              <a:gd name="connsiteX1948" fmla="*/ 3620482 w 6697570"/>
              <a:gd name="connsiteY1948" fmla="*/ 384963 h 4073898"/>
              <a:gd name="connsiteX1949" fmla="*/ 3645927 w 6697570"/>
              <a:gd name="connsiteY1949" fmla="*/ 403832 h 4073898"/>
              <a:gd name="connsiteX1950" fmla="*/ 3648214 w 6697570"/>
              <a:gd name="connsiteY1950" fmla="*/ 435851 h 4073898"/>
              <a:gd name="connsiteX1951" fmla="*/ 3618195 w 6697570"/>
              <a:gd name="connsiteY1951" fmla="*/ 463010 h 4073898"/>
              <a:gd name="connsiteX1952" fmla="*/ 3619053 w 6697570"/>
              <a:gd name="connsiteY1952" fmla="*/ 507324 h 4073898"/>
              <a:gd name="connsiteX1953" fmla="*/ 3682235 w 6697570"/>
              <a:gd name="connsiteY1953" fmla="*/ 536198 h 4073898"/>
              <a:gd name="connsiteX1954" fmla="*/ 3685379 w 6697570"/>
              <a:gd name="connsiteY1954" fmla="*/ 537341 h 4073898"/>
              <a:gd name="connsiteX1955" fmla="*/ 3697101 w 6697570"/>
              <a:gd name="connsiteY1955" fmla="*/ 533624 h 4073898"/>
              <a:gd name="connsiteX1956" fmla="*/ 3705392 w 6697570"/>
              <a:gd name="connsiteY1956" fmla="*/ 268892 h 4073898"/>
              <a:gd name="connsiteX1957" fmla="*/ 3711395 w 6697570"/>
              <a:gd name="connsiteY1957" fmla="*/ 265748 h 4073898"/>
              <a:gd name="connsiteX1958" fmla="*/ 3766000 w 6697570"/>
              <a:gd name="connsiteY1958" fmla="*/ 173978 h 4073898"/>
              <a:gd name="connsiteX1959" fmla="*/ 3661079 w 6697570"/>
              <a:gd name="connsiteY1959" fmla="*/ 69343 h 4073898"/>
              <a:gd name="connsiteX1960" fmla="*/ 3661079 w 6697570"/>
              <a:gd name="connsiteY1960" fmla="*/ 45328 h 4073898"/>
              <a:gd name="connsiteX1961" fmla="*/ 3789729 w 6697570"/>
              <a:gd name="connsiteY1961" fmla="*/ 173978 h 4073898"/>
              <a:gd name="connsiteX1962" fmla="*/ 3728834 w 6697570"/>
              <a:gd name="connsiteY1962" fmla="*/ 283187 h 4073898"/>
              <a:gd name="connsiteX1963" fmla="*/ 3726547 w 6697570"/>
              <a:gd name="connsiteY1963" fmla="*/ 387822 h 4073898"/>
              <a:gd name="connsiteX1964" fmla="*/ 3728834 w 6697570"/>
              <a:gd name="connsiteY1964" fmla="*/ 387250 h 4073898"/>
              <a:gd name="connsiteX1965" fmla="*/ 3748846 w 6697570"/>
              <a:gd name="connsiteY1965" fmla="*/ 326928 h 4073898"/>
              <a:gd name="connsiteX1966" fmla="*/ 3887502 w 6697570"/>
              <a:gd name="connsiteY1966" fmla="*/ 149963 h 4073898"/>
              <a:gd name="connsiteX1967" fmla="*/ 3967551 w 6697570"/>
              <a:gd name="connsiteY1967" fmla="*/ 131381 h 4073898"/>
              <a:gd name="connsiteX1968" fmla="*/ 4218847 w 6697570"/>
              <a:gd name="connsiteY1968" fmla="*/ 246593 h 4073898"/>
              <a:gd name="connsiteX1969" fmla="*/ 4399814 w 6697570"/>
              <a:gd name="connsiteY1969" fmla="*/ 348084 h 4073898"/>
              <a:gd name="connsiteX1970" fmla="*/ 4465569 w 6697570"/>
              <a:gd name="connsiteY1970" fmla="*/ 365523 h 4073898"/>
              <a:gd name="connsiteX1971" fmla="*/ 4584212 w 6697570"/>
              <a:gd name="connsiteY1971" fmla="*/ 430419 h 4073898"/>
              <a:gd name="connsiteX1972" fmla="*/ 4487296 w 6697570"/>
              <a:gd name="connsiteY1972" fmla="*/ 525906 h 4073898"/>
              <a:gd name="connsiteX1973" fmla="*/ 4379801 w 6697570"/>
              <a:gd name="connsiteY1973" fmla="*/ 549918 h 4073898"/>
              <a:gd name="connsiteX1974" fmla="*/ 4239145 w 6697570"/>
              <a:gd name="connsiteY1974" fmla="*/ 626251 h 4073898"/>
              <a:gd name="connsiteX1975" fmla="*/ 4227424 w 6697570"/>
              <a:gd name="connsiteY1975" fmla="*/ 625965 h 4073898"/>
              <a:gd name="connsiteX1976" fmla="*/ 4071900 w 6697570"/>
              <a:gd name="connsiteY1976" fmla="*/ 672851 h 4073898"/>
              <a:gd name="connsiteX1977" fmla="*/ 3823749 w 6697570"/>
              <a:gd name="connsiteY1977" fmla="*/ 564499 h 4073898"/>
              <a:gd name="connsiteX1978" fmla="*/ 3789729 w 6697570"/>
              <a:gd name="connsiteY1978" fmla="*/ 593659 h 4073898"/>
              <a:gd name="connsiteX1979" fmla="*/ 3827179 w 6697570"/>
              <a:gd name="connsiteY1979" fmla="*/ 668848 h 4073898"/>
              <a:gd name="connsiteX1980" fmla="*/ 3739126 w 6697570"/>
              <a:gd name="connsiteY1980" fmla="*/ 788631 h 4073898"/>
              <a:gd name="connsiteX1981" fmla="*/ 3824321 w 6697570"/>
              <a:gd name="connsiteY1981" fmla="*/ 908991 h 4073898"/>
              <a:gd name="connsiteX1982" fmla="*/ 3757423 w 6697570"/>
              <a:gd name="connsiteY1982" fmla="*/ 1016199 h 4073898"/>
              <a:gd name="connsiteX1983" fmla="*/ 3782010 w 6697570"/>
              <a:gd name="connsiteY1983" fmla="*/ 1078237 h 4073898"/>
              <a:gd name="connsiteX1984" fmla="*/ 3734838 w 6697570"/>
              <a:gd name="connsiteY1984" fmla="*/ 1185444 h 4073898"/>
              <a:gd name="connsiteX1985" fmla="*/ 3751133 w 6697570"/>
              <a:gd name="connsiteY1985" fmla="*/ 1257202 h 4073898"/>
              <a:gd name="connsiteX1986" fmla="*/ 3696243 w 6697570"/>
              <a:gd name="connsiteY1986" fmla="*/ 1309520 h 4073898"/>
              <a:gd name="connsiteX1987" fmla="*/ 3695385 w 6697570"/>
              <a:gd name="connsiteY1987" fmla="*/ 1334678 h 4073898"/>
              <a:gd name="connsiteX1988" fmla="*/ 3685379 w 6697570"/>
              <a:gd name="connsiteY1988" fmla="*/ 1358120 h 4073898"/>
              <a:gd name="connsiteX1989" fmla="*/ 3661365 w 6697570"/>
              <a:gd name="connsiteY1989" fmla="*/ 1368127 h 4073898"/>
              <a:gd name="connsiteX1990" fmla="*/ 3627630 w 6697570"/>
              <a:gd name="connsiteY1990" fmla="*/ 1334391 h 4073898"/>
              <a:gd name="connsiteX1991" fmla="*/ 3626772 w 6697570"/>
              <a:gd name="connsiteY1991" fmla="*/ 1307804 h 4073898"/>
              <a:gd name="connsiteX1992" fmla="*/ 3579029 w 6697570"/>
              <a:gd name="connsiteY1992" fmla="*/ 1229757 h 4073898"/>
              <a:gd name="connsiteX1993" fmla="*/ 3606474 w 6697570"/>
              <a:gd name="connsiteY1993" fmla="*/ 1166290 h 4073898"/>
              <a:gd name="connsiteX1994" fmla="*/ 3557873 w 6697570"/>
              <a:gd name="connsiteY1994" fmla="*/ 1086813 h 4073898"/>
              <a:gd name="connsiteX1995" fmla="*/ 3599327 w 6697570"/>
              <a:gd name="connsiteY1995" fmla="*/ 1015055 h 4073898"/>
              <a:gd name="connsiteX1996" fmla="*/ 3556444 w 6697570"/>
              <a:gd name="connsiteY1996" fmla="*/ 840091 h 4073898"/>
              <a:gd name="connsiteX1997" fmla="*/ 3577027 w 6697570"/>
              <a:gd name="connsiteY1997" fmla="*/ 809502 h 4073898"/>
              <a:gd name="connsiteX1998" fmla="*/ 3524138 w 6697570"/>
              <a:gd name="connsiteY1998" fmla="*/ 701724 h 4073898"/>
              <a:gd name="connsiteX1999" fmla="*/ 3579315 w 6697570"/>
              <a:gd name="connsiteY1999" fmla="*/ 597662 h 4073898"/>
              <a:gd name="connsiteX2000" fmla="*/ 3536145 w 6697570"/>
              <a:gd name="connsiteY2000" fmla="*/ 558496 h 4073898"/>
              <a:gd name="connsiteX2001" fmla="*/ 3513560 w 6697570"/>
              <a:gd name="connsiteY2001" fmla="*/ 561068 h 4073898"/>
              <a:gd name="connsiteX2002" fmla="*/ 3508415 w 6697570"/>
              <a:gd name="connsiteY2002" fmla="*/ 560783 h 4073898"/>
              <a:gd name="connsiteX2003" fmla="*/ 3255690 w 6697570"/>
              <a:gd name="connsiteY2003" fmla="*/ 672851 h 4073898"/>
              <a:gd name="connsiteX2004" fmla="*/ 3100453 w 6697570"/>
              <a:gd name="connsiteY2004" fmla="*/ 625965 h 4073898"/>
              <a:gd name="connsiteX2005" fmla="*/ 3088731 w 6697570"/>
              <a:gd name="connsiteY2005" fmla="*/ 626251 h 4073898"/>
              <a:gd name="connsiteX2006" fmla="*/ 2948074 w 6697570"/>
              <a:gd name="connsiteY2006" fmla="*/ 549918 h 4073898"/>
              <a:gd name="connsiteX2007" fmla="*/ 2840579 w 6697570"/>
              <a:gd name="connsiteY2007" fmla="*/ 525906 h 4073898"/>
              <a:gd name="connsiteX2008" fmla="*/ 2742806 w 6697570"/>
              <a:gd name="connsiteY2008" fmla="*/ 430991 h 4073898"/>
              <a:gd name="connsiteX2009" fmla="*/ 2861450 w 6697570"/>
              <a:gd name="connsiteY2009" fmla="*/ 366094 h 4073898"/>
              <a:gd name="connsiteX2010" fmla="*/ 2927489 w 6697570"/>
              <a:gd name="connsiteY2010" fmla="*/ 348655 h 4073898"/>
              <a:gd name="connsiteX2011" fmla="*/ 3108457 w 6697570"/>
              <a:gd name="connsiteY2011" fmla="*/ 247165 h 4073898"/>
              <a:gd name="connsiteX2012" fmla="*/ 3359753 w 6697570"/>
              <a:gd name="connsiteY2012" fmla="*/ 131667 h 4073898"/>
              <a:gd name="connsiteX2013" fmla="*/ 3439515 w 6697570"/>
              <a:gd name="connsiteY2013" fmla="*/ 150249 h 4073898"/>
              <a:gd name="connsiteX2014" fmla="*/ 3578172 w 6697570"/>
              <a:gd name="connsiteY2014" fmla="*/ 327213 h 4073898"/>
              <a:gd name="connsiteX2015" fmla="*/ 3579029 w 6697570"/>
              <a:gd name="connsiteY2015" fmla="*/ 330358 h 4073898"/>
              <a:gd name="connsiteX2016" fmla="*/ 3594181 w 6697570"/>
              <a:gd name="connsiteY2016" fmla="*/ 380103 h 4073898"/>
              <a:gd name="connsiteX2017" fmla="*/ 3596182 w 6697570"/>
              <a:gd name="connsiteY2017" fmla="*/ 380103 h 4073898"/>
              <a:gd name="connsiteX2018" fmla="*/ 3593323 w 6697570"/>
              <a:gd name="connsiteY2018" fmla="*/ 283187 h 4073898"/>
              <a:gd name="connsiteX2019" fmla="*/ 3532429 w 6697570"/>
              <a:gd name="connsiteY2019" fmla="*/ 173978 h 4073898"/>
              <a:gd name="connsiteX2020" fmla="*/ 3661079 w 6697570"/>
              <a:gd name="connsiteY2020" fmla="*/ 45328 h 4073898"/>
              <a:gd name="connsiteX2021" fmla="*/ 6197089 w 6697570"/>
              <a:gd name="connsiteY2021" fmla="*/ 0 h 4073898"/>
              <a:gd name="connsiteX2022" fmla="*/ 6332769 w 6697570"/>
              <a:gd name="connsiteY2022" fmla="*/ 0 h 4073898"/>
              <a:gd name="connsiteX2023" fmla="*/ 6331095 w 6697570"/>
              <a:gd name="connsiteY2023" fmla="*/ 9088 h 4073898"/>
              <a:gd name="connsiteX2024" fmla="*/ 6318695 w 6697570"/>
              <a:gd name="connsiteY2024" fmla="*/ 17593 h 4073898"/>
              <a:gd name="connsiteX2025" fmla="*/ 6238932 w 6697570"/>
              <a:gd name="connsiteY2025" fmla="*/ 34460 h 4073898"/>
              <a:gd name="connsiteX2026" fmla="*/ 6250367 w 6697570"/>
              <a:gd name="connsiteY2026" fmla="*/ 87635 h 4073898"/>
              <a:gd name="connsiteX2027" fmla="*/ 6330131 w 6697570"/>
              <a:gd name="connsiteY2027" fmla="*/ 70768 h 4073898"/>
              <a:gd name="connsiteX2028" fmla="*/ 6353288 w 6697570"/>
              <a:gd name="connsiteY2028" fmla="*/ 85920 h 4073898"/>
              <a:gd name="connsiteX2029" fmla="*/ 6338136 w 6697570"/>
              <a:gd name="connsiteY2029" fmla="*/ 109363 h 4073898"/>
              <a:gd name="connsiteX2030" fmla="*/ 6258373 w 6697570"/>
              <a:gd name="connsiteY2030" fmla="*/ 126230 h 4073898"/>
              <a:gd name="connsiteX2031" fmla="*/ 6269809 w 6697570"/>
              <a:gd name="connsiteY2031" fmla="*/ 179406 h 4073898"/>
              <a:gd name="connsiteX2032" fmla="*/ 6349571 w 6697570"/>
              <a:gd name="connsiteY2032" fmla="*/ 162252 h 4073898"/>
              <a:gd name="connsiteX2033" fmla="*/ 6373015 w 6697570"/>
              <a:gd name="connsiteY2033" fmla="*/ 177404 h 4073898"/>
              <a:gd name="connsiteX2034" fmla="*/ 6357862 w 6697570"/>
              <a:gd name="connsiteY2034" fmla="*/ 200847 h 4073898"/>
              <a:gd name="connsiteX2035" fmla="*/ 6279529 w 6697570"/>
              <a:gd name="connsiteY2035" fmla="*/ 217429 h 4073898"/>
              <a:gd name="connsiteX2036" fmla="*/ 6307545 w 6697570"/>
              <a:gd name="connsiteY2036" fmla="*/ 251163 h 4073898"/>
              <a:gd name="connsiteX2037" fmla="*/ 6363579 w 6697570"/>
              <a:gd name="connsiteY2037" fmla="*/ 261456 h 4073898"/>
              <a:gd name="connsiteX2038" fmla="*/ 6408178 w 6697570"/>
              <a:gd name="connsiteY2038" fmla="*/ 252021 h 4073898"/>
              <a:gd name="connsiteX2039" fmla="*/ 6459352 w 6697570"/>
              <a:gd name="connsiteY2039" fmla="*/ 492453 h 4073898"/>
              <a:gd name="connsiteX2040" fmla="*/ 6342139 w 6697570"/>
              <a:gd name="connsiteY2040" fmla="*/ 517325 h 4073898"/>
              <a:gd name="connsiteX2041" fmla="*/ 6329273 w 6697570"/>
              <a:gd name="connsiteY2041" fmla="*/ 523615 h 4073898"/>
              <a:gd name="connsiteX2042" fmla="*/ 6318981 w 6697570"/>
              <a:gd name="connsiteY2042" fmla="*/ 553061 h 4073898"/>
              <a:gd name="connsiteX2043" fmla="*/ 6354717 w 6697570"/>
              <a:gd name="connsiteY2043" fmla="*/ 576217 h 4073898"/>
              <a:gd name="connsiteX2044" fmla="*/ 6640891 w 6697570"/>
              <a:gd name="connsiteY2044" fmla="*/ 515324 h 4073898"/>
              <a:gd name="connsiteX2045" fmla="*/ 6664049 w 6697570"/>
              <a:gd name="connsiteY2045" fmla="*/ 479588 h 4073898"/>
              <a:gd name="connsiteX2046" fmla="*/ 6628311 w 6697570"/>
              <a:gd name="connsiteY2046" fmla="*/ 456431 h 4073898"/>
              <a:gd name="connsiteX2047" fmla="*/ 6511098 w 6697570"/>
              <a:gd name="connsiteY2047" fmla="*/ 481303 h 4073898"/>
              <a:gd name="connsiteX2048" fmla="*/ 6459924 w 6697570"/>
              <a:gd name="connsiteY2048" fmla="*/ 240871 h 4073898"/>
              <a:gd name="connsiteX2049" fmla="*/ 6504809 w 6697570"/>
              <a:gd name="connsiteY2049" fmla="*/ 231437 h 4073898"/>
              <a:gd name="connsiteX2050" fmla="*/ 6536828 w 6697570"/>
              <a:gd name="connsiteY2050" fmla="*/ 215999 h 4073898"/>
              <a:gd name="connsiteX2051" fmla="*/ 6561986 w 6697570"/>
              <a:gd name="connsiteY2051" fmla="*/ 143098 h 4073898"/>
              <a:gd name="connsiteX2052" fmla="*/ 6531607 w 6697570"/>
              <a:gd name="connsiteY2052" fmla="*/ 0 h 4073898"/>
              <a:gd name="connsiteX2053" fmla="*/ 6565038 w 6697570"/>
              <a:gd name="connsiteY2053" fmla="*/ 0 h 4073898"/>
              <a:gd name="connsiteX2054" fmla="*/ 6594005 w 6697570"/>
              <a:gd name="connsiteY2054" fmla="*/ 135950 h 4073898"/>
              <a:gd name="connsiteX2055" fmla="*/ 6557413 w 6697570"/>
              <a:gd name="connsiteY2055" fmla="*/ 241443 h 4073898"/>
              <a:gd name="connsiteX2056" fmla="*/ 6511098 w 6697570"/>
              <a:gd name="connsiteY2056" fmla="*/ 264029 h 4073898"/>
              <a:gd name="connsiteX2057" fmla="*/ 6498805 w 6697570"/>
              <a:gd name="connsiteY2057" fmla="*/ 266602 h 4073898"/>
              <a:gd name="connsiteX2058" fmla="*/ 6536255 w 6697570"/>
              <a:gd name="connsiteY2058" fmla="*/ 441851 h 4073898"/>
              <a:gd name="connsiteX2059" fmla="*/ 6620879 w 6697570"/>
              <a:gd name="connsiteY2059" fmla="*/ 423840 h 4073898"/>
              <a:gd name="connsiteX2060" fmla="*/ 6696067 w 6697570"/>
              <a:gd name="connsiteY2060" fmla="*/ 472727 h 4073898"/>
              <a:gd name="connsiteX2061" fmla="*/ 6674627 w 6697570"/>
              <a:gd name="connsiteY2061" fmla="*/ 534764 h 4073898"/>
              <a:gd name="connsiteX2062" fmla="*/ 6647181 w 6697570"/>
              <a:gd name="connsiteY2062" fmla="*/ 547915 h 4073898"/>
              <a:gd name="connsiteX2063" fmla="*/ 6361293 w 6697570"/>
              <a:gd name="connsiteY2063" fmla="*/ 608809 h 4073898"/>
              <a:gd name="connsiteX2064" fmla="*/ 6285819 w 6697570"/>
              <a:gd name="connsiteY2064" fmla="*/ 559923 h 4073898"/>
              <a:gd name="connsiteX2065" fmla="*/ 6307260 w 6697570"/>
              <a:gd name="connsiteY2065" fmla="*/ 497885 h 4073898"/>
              <a:gd name="connsiteX2066" fmla="*/ 6334705 w 6697570"/>
              <a:gd name="connsiteY2066" fmla="*/ 484734 h 4073898"/>
              <a:gd name="connsiteX2067" fmla="*/ 6419327 w 6697570"/>
              <a:gd name="connsiteY2067" fmla="*/ 466723 h 4073898"/>
              <a:gd name="connsiteX2068" fmla="*/ 6382162 w 6697570"/>
              <a:gd name="connsiteY2068" fmla="*/ 291473 h 4073898"/>
              <a:gd name="connsiteX2069" fmla="*/ 6369869 w 6697570"/>
              <a:gd name="connsiteY2069" fmla="*/ 294047 h 4073898"/>
              <a:gd name="connsiteX2070" fmla="*/ 6288677 w 6697570"/>
              <a:gd name="connsiteY2070" fmla="*/ 279180 h 4073898"/>
              <a:gd name="connsiteX2071" fmla="*/ 6242077 w 6697570"/>
              <a:gd name="connsiteY2071" fmla="*/ 211139 h 4073898"/>
              <a:gd name="connsiteX2072" fmla="*/ 5787741 w 6697570"/>
              <a:gd name="connsiteY2072" fmla="*/ 0 h 4073898"/>
              <a:gd name="connsiteX2073" fmla="*/ 6077624 w 6697570"/>
              <a:gd name="connsiteY2073" fmla="*/ 0 h 4073898"/>
              <a:gd name="connsiteX2074" fmla="*/ 6077762 w 6697570"/>
              <a:gd name="connsiteY2074" fmla="*/ 5019 h 4073898"/>
              <a:gd name="connsiteX2075" fmla="*/ 6037381 w 6697570"/>
              <a:gd name="connsiteY2075" fmla="*/ 136813 h 4073898"/>
              <a:gd name="connsiteX2076" fmla="*/ 6074122 w 6697570"/>
              <a:gd name="connsiteY2076" fmla="*/ 68628 h 4073898"/>
              <a:gd name="connsiteX2077" fmla="*/ 6092059 w 6697570"/>
              <a:gd name="connsiteY2077" fmla="*/ 0 h 4073898"/>
              <a:gd name="connsiteX2078" fmla="*/ 6128224 w 6697570"/>
              <a:gd name="connsiteY2078" fmla="*/ 0 h 4073898"/>
              <a:gd name="connsiteX2079" fmla="*/ 6122292 w 6697570"/>
              <a:gd name="connsiteY2079" fmla="*/ 49570 h 4073898"/>
              <a:gd name="connsiteX2080" fmla="*/ 5906731 w 6697570"/>
              <a:gd name="connsiteY2080" fmla="*/ 314920 h 4073898"/>
              <a:gd name="connsiteX2081" fmla="*/ 5378813 w 6697570"/>
              <a:gd name="connsiteY2081" fmla="*/ 0 h 4073898"/>
              <a:gd name="connsiteX2082" fmla="*/ 5741418 w 6697570"/>
              <a:gd name="connsiteY2082" fmla="*/ 0 h 4073898"/>
              <a:gd name="connsiteX2083" fmla="*/ 5866133 w 6697570"/>
              <a:gd name="connsiteY2083" fmla="*/ 330073 h 4073898"/>
              <a:gd name="connsiteX2084" fmla="*/ 5400422 w 6697570"/>
              <a:gd name="connsiteY2084" fmla="*/ 103650 h 4073898"/>
              <a:gd name="connsiteX2085" fmla="*/ 5381113 w 6697570"/>
              <a:gd name="connsiteY2085" fmla="*/ 32408 h 4073898"/>
              <a:gd name="connsiteX2086" fmla="*/ 4725276 w 6697570"/>
              <a:gd name="connsiteY2086" fmla="*/ 0 h 4073898"/>
              <a:gd name="connsiteX2087" fmla="*/ 5016659 w 6697570"/>
              <a:gd name="connsiteY2087" fmla="*/ 0 h 4073898"/>
              <a:gd name="connsiteX2088" fmla="*/ 5016760 w 6697570"/>
              <a:gd name="connsiteY2088" fmla="*/ 14165 h 4073898"/>
              <a:gd name="connsiteX2089" fmla="*/ 4907265 w 6697570"/>
              <a:gd name="connsiteY2089" fmla="*/ 14165 h 4073898"/>
              <a:gd name="connsiteX2090" fmla="*/ 4907551 w 6697570"/>
              <a:gd name="connsiteY2090" fmla="*/ 119086 h 4073898"/>
              <a:gd name="connsiteX2091" fmla="*/ 4832363 w 6697570"/>
              <a:gd name="connsiteY2091" fmla="*/ 119372 h 4073898"/>
              <a:gd name="connsiteX2092" fmla="*/ 4832076 w 6697570"/>
              <a:gd name="connsiteY2092" fmla="*/ 14737 h 4073898"/>
              <a:gd name="connsiteX2093" fmla="*/ 4725440 w 6697570"/>
              <a:gd name="connsiteY2093" fmla="*/ 15308 h 4073898"/>
              <a:gd name="connsiteX2094" fmla="*/ 4446699 w 6697570"/>
              <a:gd name="connsiteY2094" fmla="*/ 0 h 4073898"/>
              <a:gd name="connsiteX2095" fmla="*/ 4691419 w 6697570"/>
              <a:gd name="connsiteY2095" fmla="*/ 0 h 4073898"/>
              <a:gd name="connsiteX2096" fmla="*/ 4691419 w 6697570"/>
              <a:gd name="connsiteY2096" fmla="*/ 36179 h 4073898"/>
              <a:gd name="connsiteX2097" fmla="*/ 4807204 w 6697570"/>
              <a:gd name="connsiteY2097" fmla="*/ 36179 h 4073898"/>
              <a:gd name="connsiteX2098" fmla="*/ 4807204 w 6697570"/>
              <a:gd name="connsiteY2098" fmla="*/ 151963 h 4073898"/>
              <a:gd name="connsiteX2099" fmla="*/ 4934424 w 6697570"/>
              <a:gd name="connsiteY2099" fmla="*/ 151963 h 4073898"/>
              <a:gd name="connsiteX2100" fmla="*/ 4934424 w 6697570"/>
              <a:gd name="connsiteY2100" fmla="*/ 36179 h 4073898"/>
              <a:gd name="connsiteX2101" fmla="*/ 5050209 w 6697570"/>
              <a:gd name="connsiteY2101" fmla="*/ 36179 h 4073898"/>
              <a:gd name="connsiteX2102" fmla="*/ 5050209 w 6697570"/>
              <a:gd name="connsiteY2102" fmla="*/ 0 h 4073898"/>
              <a:gd name="connsiteX2103" fmla="*/ 5294644 w 6697570"/>
              <a:gd name="connsiteY2103" fmla="*/ 0 h 4073898"/>
              <a:gd name="connsiteX2104" fmla="*/ 5294644 w 6697570"/>
              <a:gd name="connsiteY2104" fmla="*/ 200278 h 4073898"/>
              <a:gd name="connsiteX2105" fmla="*/ 5165994 w 6697570"/>
              <a:gd name="connsiteY2105" fmla="*/ 328927 h 4073898"/>
              <a:gd name="connsiteX2106" fmla="*/ 4575634 w 6697570"/>
              <a:gd name="connsiteY2106" fmla="*/ 328927 h 4073898"/>
              <a:gd name="connsiteX2107" fmla="*/ 4446699 w 6697570"/>
              <a:gd name="connsiteY2107" fmla="*/ 200278 h 4073898"/>
              <a:gd name="connsiteX2108" fmla="*/ 2776541 w 6697570"/>
              <a:gd name="connsiteY2108" fmla="*/ 0 h 4073898"/>
              <a:gd name="connsiteX2109" fmla="*/ 2817819 w 6697570"/>
              <a:gd name="connsiteY2109" fmla="*/ 0 h 4073898"/>
              <a:gd name="connsiteX2110" fmla="*/ 2817994 w 6697570"/>
              <a:gd name="connsiteY2110" fmla="*/ 35320 h 4073898"/>
              <a:gd name="connsiteX2111" fmla="*/ 2776541 w 6697570"/>
              <a:gd name="connsiteY2111" fmla="*/ 35320 h 4073898"/>
              <a:gd name="connsiteX2112" fmla="*/ 2530966 w 6697570"/>
              <a:gd name="connsiteY2112" fmla="*/ 0 h 4073898"/>
              <a:gd name="connsiteX2113" fmla="*/ 2762818 w 6697570"/>
              <a:gd name="connsiteY2113" fmla="*/ 0 h 4073898"/>
              <a:gd name="connsiteX2114" fmla="*/ 2762818 w 6697570"/>
              <a:gd name="connsiteY2114" fmla="*/ 54472 h 4073898"/>
              <a:gd name="connsiteX2115" fmla="*/ 2832861 w 6697570"/>
              <a:gd name="connsiteY2115" fmla="*/ 54472 h 4073898"/>
              <a:gd name="connsiteX2116" fmla="*/ 2832861 w 6697570"/>
              <a:gd name="connsiteY2116" fmla="*/ 0 h 4073898"/>
              <a:gd name="connsiteX2117" fmla="*/ 3065007 w 6697570"/>
              <a:gd name="connsiteY2117" fmla="*/ 0 h 4073898"/>
              <a:gd name="connsiteX2118" fmla="*/ 3065099 w 6697570"/>
              <a:gd name="connsiteY2118" fmla="*/ 46092 h 4073898"/>
              <a:gd name="connsiteX2119" fmla="*/ 3065288 w 6697570"/>
              <a:gd name="connsiteY2119" fmla="*/ 129947 h 4073898"/>
              <a:gd name="connsiteX2120" fmla="*/ 2986383 w 6697570"/>
              <a:gd name="connsiteY2120" fmla="*/ 208852 h 4073898"/>
              <a:gd name="connsiteX2121" fmla="*/ 2609868 w 6697570"/>
              <a:gd name="connsiteY2121" fmla="*/ 208852 h 4073898"/>
              <a:gd name="connsiteX2122" fmla="*/ 2530963 w 6697570"/>
              <a:gd name="connsiteY2122" fmla="*/ 129947 h 4073898"/>
              <a:gd name="connsiteX2123" fmla="*/ 2530963 w 6697570"/>
              <a:gd name="connsiteY2123" fmla="*/ 46519 h 4073898"/>
              <a:gd name="connsiteX2124" fmla="*/ 1520919 w 6697570"/>
              <a:gd name="connsiteY2124" fmla="*/ 0 h 4073898"/>
              <a:gd name="connsiteX2125" fmla="*/ 1539216 w 6697570"/>
              <a:gd name="connsiteY2125" fmla="*/ 0 h 4073898"/>
              <a:gd name="connsiteX2126" fmla="*/ 1539216 w 6697570"/>
              <a:gd name="connsiteY2126" fmla="*/ 45326 h 4073898"/>
              <a:gd name="connsiteX2127" fmla="*/ 1642994 w 6697570"/>
              <a:gd name="connsiteY2127" fmla="*/ 149104 h 4073898"/>
              <a:gd name="connsiteX2128" fmla="*/ 1728760 w 6697570"/>
              <a:gd name="connsiteY2128" fmla="*/ 149104 h 4073898"/>
              <a:gd name="connsiteX2129" fmla="*/ 1728760 w 6697570"/>
              <a:gd name="connsiteY2129" fmla="*/ 101074 h 4073898"/>
              <a:gd name="connsiteX2130" fmla="*/ 1695669 w 6697570"/>
              <a:gd name="connsiteY2130" fmla="*/ 21240 h 4073898"/>
              <a:gd name="connsiteX2131" fmla="*/ 1664177 w 6697570"/>
              <a:gd name="connsiteY2131" fmla="*/ 0 h 4073898"/>
              <a:gd name="connsiteX2132" fmla="*/ 2173527 w 6697570"/>
              <a:gd name="connsiteY2132" fmla="*/ 0 h 4073898"/>
              <a:gd name="connsiteX2133" fmla="*/ 2154466 w 6697570"/>
              <a:gd name="connsiteY2133" fmla="*/ 28262 h 4073898"/>
              <a:gd name="connsiteX2134" fmla="*/ 2145585 w 6697570"/>
              <a:gd name="connsiteY2134" fmla="*/ 72199 h 4073898"/>
              <a:gd name="connsiteX2135" fmla="*/ 2145585 w 6697570"/>
              <a:gd name="connsiteY2135" fmla="*/ 149104 h 4073898"/>
              <a:gd name="connsiteX2136" fmla="*/ 2202762 w 6697570"/>
              <a:gd name="connsiteY2136" fmla="*/ 149104 h 4073898"/>
              <a:gd name="connsiteX2137" fmla="*/ 2306540 w 6697570"/>
              <a:gd name="connsiteY2137" fmla="*/ 45326 h 4073898"/>
              <a:gd name="connsiteX2138" fmla="*/ 2306540 w 6697570"/>
              <a:gd name="connsiteY2138" fmla="*/ 0 h 4073898"/>
              <a:gd name="connsiteX2139" fmla="*/ 2324837 w 6697570"/>
              <a:gd name="connsiteY2139" fmla="*/ 0 h 4073898"/>
              <a:gd name="connsiteX2140" fmla="*/ 2324837 w 6697570"/>
              <a:gd name="connsiteY2140" fmla="*/ 45040 h 4073898"/>
              <a:gd name="connsiteX2141" fmla="*/ 2202762 w 6697570"/>
              <a:gd name="connsiteY2141" fmla="*/ 167115 h 4073898"/>
              <a:gd name="connsiteX2142" fmla="*/ 1642994 w 6697570"/>
              <a:gd name="connsiteY2142" fmla="*/ 167115 h 4073898"/>
              <a:gd name="connsiteX2143" fmla="*/ 1520919 w 6697570"/>
              <a:gd name="connsiteY2143" fmla="*/ 45040 h 4073898"/>
              <a:gd name="connsiteX2144" fmla="*/ 861944 w 6697570"/>
              <a:gd name="connsiteY2144" fmla="*/ 0 h 4073898"/>
              <a:gd name="connsiteX2145" fmla="*/ 890388 w 6697570"/>
              <a:gd name="connsiteY2145" fmla="*/ 0 h 4073898"/>
              <a:gd name="connsiteX2146" fmla="*/ 911942 w 6697570"/>
              <a:gd name="connsiteY2146" fmla="*/ 47933 h 4073898"/>
              <a:gd name="connsiteX2147" fmla="*/ 1056923 w 6697570"/>
              <a:gd name="connsiteY2147" fmla="*/ 107076 h 4073898"/>
              <a:gd name="connsiteX2148" fmla="*/ 1253614 w 6697570"/>
              <a:gd name="connsiteY2148" fmla="*/ 32745 h 4073898"/>
              <a:gd name="connsiteX2149" fmla="*/ 1263392 w 6697570"/>
              <a:gd name="connsiteY2149" fmla="*/ 0 h 4073898"/>
              <a:gd name="connsiteX2150" fmla="*/ 1291319 w 6697570"/>
              <a:gd name="connsiteY2150" fmla="*/ 0 h 4073898"/>
              <a:gd name="connsiteX2151" fmla="*/ 1277057 w 6697570"/>
              <a:gd name="connsiteY2151" fmla="*/ 45610 h 4073898"/>
              <a:gd name="connsiteX2152" fmla="*/ 1057495 w 6697570"/>
              <a:gd name="connsiteY2152" fmla="*/ 133663 h 4073898"/>
              <a:gd name="connsiteX2153" fmla="*/ 893717 w 6697570"/>
              <a:gd name="connsiteY2153" fmla="*/ 67409 h 4073898"/>
              <a:gd name="connsiteX2154" fmla="*/ 793141 w 6697570"/>
              <a:gd name="connsiteY2154" fmla="*/ 0 h 4073898"/>
              <a:gd name="connsiteX2155" fmla="*/ 821672 w 6697570"/>
              <a:gd name="connsiteY2155" fmla="*/ 0 h 4073898"/>
              <a:gd name="connsiteX2156" fmla="*/ 857337 w 6697570"/>
              <a:gd name="connsiteY2156" fmla="*/ 81238 h 4073898"/>
              <a:gd name="connsiteX2157" fmla="*/ 1057209 w 6697570"/>
              <a:gd name="connsiteY2157" fmla="*/ 171972 h 4073898"/>
              <a:gd name="connsiteX2158" fmla="*/ 1309648 w 6697570"/>
              <a:gd name="connsiteY2158" fmla="*/ 64479 h 4073898"/>
              <a:gd name="connsiteX2159" fmla="*/ 1325672 w 6697570"/>
              <a:gd name="connsiteY2159" fmla="*/ 20778 h 4073898"/>
              <a:gd name="connsiteX2160" fmla="*/ 1326802 w 6697570"/>
              <a:gd name="connsiteY2160" fmla="*/ 0 h 4073898"/>
              <a:gd name="connsiteX2161" fmla="*/ 1352910 w 6697570"/>
              <a:gd name="connsiteY2161" fmla="*/ 0 h 4073898"/>
              <a:gd name="connsiteX2162" fmla="*/ 1350982 w 6697570"/>
              <a:gd name="connsiteY2162" fmla="*/ 28604 h 4073898"/>
              <a:gd name="connsiteX2163" fmla="*/ 1332519 w 6697570"/>
              <a:gd name="connsiteY2163" fmla="*/ 77629 h 4073898"/>
              <a:gd name="connsiteX2164" fmla="*/ 1056923 w 6697570"/>
              <a:gd name="connsiteY2164" fmla="*/ 198846 h 4073898"/>
              <a:gd name="connsiteX2165" fmla="*/ 835682 w 6697570"/>
              <a:gd name="connsiteY2165" fmla="*/ 95747 h 4073898"/>
              <a:gd name="connsiteX2166" fmla="*/ 160901 w 6697570"/>
              <a:gd name="connsiteY2166" fmla="*/ 0 h 4073898"/>
              <a:gd name="connsiteX2167" fmla="*/ 240126 w 6697570"/>
              <a:gd name="connsiteY2167" fmla="*/ 0 h 4073898"/>
              <a:gd name="connsiteX2168" fmla="*/ 244145 w 6697570"/>
              <a:gd name="connsiteY2168" fmla="*/ 1302 h 4073898"/>
              <a:gd name="connsiteX2169" fmla="*/ 174103 w 6697570"/>
              <a:gd name="connsiteY2169" fmla="*/ 218863 h 4073898"/>
              <a:gd name="connsiteX2170" fmla="*/ 68037 w 6697570"/>
              <a:gd name="connsiteY2170" fmla="*/ 184556 h 4073898"/>
              <a:gd name="connsiteX2171" fmla="*/ 54601 w 6697570"/>
              <a:gd name="connsiteY2171" fmla="*/ 183699 h 4073898"/>
              <a:gd name="connsiteX2172" fmla="*/ 32588 w 6697570"/>
              <a:gd name="connsiteY2172" fmla="*/ 202853 h 4073898"/>
              <a:gd name="connsiteX2173" fmla="*/ 50598 w 6697570"/>
              <a:gd name="connsiteY2173" fmla="*/ 238018 h 4073898"/>
              <a:gd name="connsiteX2174" fmla="*/ 309326 w 6697570"/>
              <a:gd name="connsiteY2174" fmla="*/ 321497 h 4073898"/>
              <a:gd name="connsiteX2175" fmla="*/ 344491 w 6697570"/>
              <a:gd name="connsiteY2175" fmla="*/ 303486 h 4073898"/>
              <a:gd name="connsiteX2176" fmla="*/ 326480 w 6697570"/>
              <a:gd name="connsiteY2176" fmla="*/ 268322 h 4073898"/>
              <a:gd name="connsiteX2177" fmla="*/ 220416 w 6697570"/>
              <a:gd name="connsiteY2177" fmla="*/ 234301 h 4073898"/>
              <a:gd name="connsiteX2178" fmla="*/ 290459 w 6697570"/>
              <a:gd name="connsiteY2178" fmla="*/ 16740 h 4073898"/>
              <a:gd name="connsiteX2179" fmla="*/ 331054 w 6697570"/>
              <a:gd name="connsiteY2179" fmla="*/ 29891 h 4073898"/>
              <a:gd name="connsiteX2180" fmla="*/ 364217 w 6697570"/>
              <a:gd name="connsiteY2180" fmla="*/ 32178 h 4073898"/>
              <a:gd name="connsiteX2181" fmla="*/ 398024 w 6697570"/>
              <a:gd name="connsiteY2181" fmla="*/ 16347 h 4073898"/>
              <a:gd name="connsiteX2182" fmla="*/ 408821 w 6697570"/>
              <a:gd name="connsiteY2182" fmla="*/ 0 h 4073898"/>
              <a:gd name="connsiteX2183" fmla="*/ 444418 w 6697570"/>
              <a:gd name="connsiteY2183" fmla="*/ 0 h 4073898"/>
              <a:gd name="connsiteX2184" fmla="*/ 418072 w 6697570"/>
              <a:gd name="connsiteY2184" fmla="*/ 40076 h 4073898"/>
              <a:gd name="connsiteX2185" fmla="*/ 369363 w 6697570"/>
              <a:gd name="connsiteY2185" fmla="*/ 63054 h 4073898"/>
              <a:gd name="connsiteX2186" fmla="*/ 321620 w 6697570"/>
              <a:gd name="connsiteY2186" fmla="*/ 59623 h 4073898"/>
              <a:gd name="connsiteX2187" fmla="*/ 310470 w 6697570"/>
              <a:gd name="connsiteY2187" fmla="*/ 55906 h 4073898"/>
              <a:gd name="connsiteX2188" fmla="*/ 259297 w 6697570"/>
              <a:gd name="connsiteY2188" fmla="*/ 214575 h 4073898"/>
              <a:gd name="connsiteX2189" fmla="*/ 335914 w 6697570"/>
              <a:gd name="connsiteY2189" fmla="*/ 239161 h 4073898"/>
              <a:gd name="connsiteX2190" fmla="*/ 373937 w 6697570"/>
              <a:gd name="connsiteY2190" fmla="*/ 313491 h 4073898"/>
              <a:gd name="connsiteX2191" fmla="*/ 327910 w 6697570"/>
              <a:gd name="connsiteY2191" fmla="*/ 353516 h 4073898"/>
              <a:gd name="connsiteX2192" fmla="*/ 299606 w 6697570"/>
              <a:gd name="connsiteY2192" fmla="*/ 351515 h 4073898"/>
              <a:gd name="connsiteX2193" fmla="*/ 40878 w 6697570"/>
              <a:gd name="connsiteY2193" fmla="*/ 268036 h 4073898"/>
              <a:gd name="connsiteX2194" fmla="*/ 2855 w 6697570"/>
              <a:gd name="connsiteY2194" fmla="*/ 193705 h 4073898"/>
              <a:gd name="connsiteX2195" fmla="*/ 49168 w 6697570"/>
              <a:gd name="connsiteY2195" fmla="*/ 153681 h 4073898"/>
              <a:gd name="connsiteX2196" fmla="*/ 77472 w 6697570"/>
              <a:gd name="connsiteY2196" fmla="*/ 155682 h 4073898"/>
              <a:gd name="connsiteX2197" fmla="*/ 154090 w 6697570"/>
              <a:gd name="connsiteY2197" fmla="*/ 180554 h 4073898"/>
              <a:gd name="connsiteX2198" fmla="*/ 205263 w 6697570"/>
              <a:gd name="connsiteY2198" fmla="*/ 21886 h 4073898"/>
              <a:gd name="connsiteX2199" fmla="*/ 194114 w 6697570"/>
              <a:gd name="connsiteY2199" fmla="*/ 18456 h 4073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Lst>
            <a:rect l="l" t="t" r="r" b="b"/>
            <a:pathLst>
              <a:path w="6697570" h="4073898">
                <a:moveTo>
                  <a:pt x="2762246" y="3624639"/>
                </a:moveTo>
                <a:lnTo>
                  <a:pt x="2761960" y="3756148"/>
                </a:lnTo>
                <a:cubicBezTo>
                  <a:pt x="2761675" y="3845917"/>
                  <a:pt x="2689059" y="3918533"/>
                  <a:pt x="2599576" y="3918246"/>
                </a:cubicBezTo>
                <a:cubicBezTo>
                  <a:pt x="2561552" y="3918246"/>
                  <a:pt x="2526389" y="3904810"/>
                  <a:pt x="2498943" y="3882511"/>
                </a:cubicBezTo>
                <a:cubicBezTo>
                  <a:pt x="2528390" y="3919676"/>
                  <a:pt x="2573560" y="3943405"/>
                  <a:pt x="2624734" y="3943691"/>
                </a:cubicBezTo>
                <a:cubicBezTo>
                  <a:pt x="2713931" y="3943976"/>
                  <a:pt x="2786547" y="3871361"/>
                  <a:pt x="2786832" y="3781592"/>
                </a:cubicBezTo>
                <a:lnTo>
                  <a:pt x="2787691" y="3624639"/>
                </a:lnTo>
                <a:close/>
                <a:moveTo>
                  <a:pt x="4280026" y="3582328"/>
                </a:moveTo>
                <a:lnTo>
                  <a:pt x="4492156" y="3582328"/>
                </a:lnTo>
                <a:cubicBezTo>
                  <a:pt x="4437837" y="3663807"/>
                  <a:pt x="4354929" y="3752146"/>
                  <a:pt x="4236571" y="3844773"/>
                </a:cubicBezTo>
                <a:close/>
                <a:moveTo>
                  <a:pt x="1861985" y="3554883"/>
                </a:moveTo>
                <a:cubicBezTo>
                  <a:pt x="1861985" y="3569749"/>
                  <a:pt x="1861985" y="3584330"/>
                  <a:pt x="1861985" y="3597195"/>
                </a:cubicBezTo>
                <a:cubicBezTo>
                  <a:pt x="1861985" y="3630358"/>
                  <a:pt x="1888858" y="3657231"/>
                  <a:pt x="1922022" y="3657231"/>
                </a:cubicBezTo>
                <a:lnTo>
                  <a:pt x="2298250" y="3657231"/>
                </a:lnTo>
                <a:cubicBezTo>
                  <a:pt x="2331413" y="3657231"/>
                  <a:pt x="2358286" y="3630358"/>
                  <a:pt x="2358573" y="3597195"/>
                </a:cubicBezTo>
                <a:cubicBezTo>
                  <a:pt x="2358573" y="3584330"/>
                  <a:pt x="2358573" y="3570035"/>
                  <a:pt x="2358573" y="3554883"/>
                </a:cubicBezTo>
                <a:close/>
                <a:moveTo>
                  <a:pt x="3209809" y="3549250"/>
                </a:moveTo>
                <a:cubicBezTo>
                  <a:pt x="3180394" y="3546913"/>
                  <a:pt x="3150125" y="3550094"/>
                  <a:pt x="3120464" y="3559457"/>
                </a:cubicBezTo>
                <a:lnTo>
                  <a:pt x="3126468" y="3574895"/>
                </a:lnTo>
                <a:cubicBezTo>
                  <a:pt x="3239680" y="3549451"/>
                  <a:pt x="3357179" y="3610345"/>
                  <a:pt x="3399491" y="3721842"/>
                </a:cubicBezTo>
                <a:cubicBezTo>
                  <a:pt x="3425221" y="3789597"/>
                  <a:pt x="3417502" y="3861926"/>
                  <a:pt x="3384911" y="3920533"/>
                </a:cubicBezTo>
                <a:cubicBezTo>
                  <a:pt x="3428366" y="3858782"/>
                  <a:pt x="3441231" y="3777590"/>
                  <a:pt x="3412070" y="3701258"/>
                </a:cubicBezTo>
                <a:cubicBezTo>
                  <a:pt x="3378621" y="3612919"/>
                  <a:pt x="3298055" y="3556259"/>
                  <a:pt x="3209809" y="3549250"/>
                </a:cubicBezTo>
                <a:close/>
                <a:moveTo>
                  <a:pt x="3066717" y="3548879"/>
                </a:moveTo>
                <a:lnTo>
                  <a:pt x="3260263" y="4061190"/>
                </a:lnTo>
                <a:cubicBezTo>
                  <a:pt x="3122465" y="4104645"/>
                  <a:pt x="2973231" y="4033459"/>
                  <a:pt x="2921486" y="3896519"/>
                </a:cubicBezTo>
                <a:cubicBezTo>
                  <a:pt x="2869740" y="3759865"/>
                  <a:pt x="2934636" y="3607486"/>
                  <a:pt x="3066717" y="3548879"/>
                </a:cubicBezTo>
                <a:close/>
                <a:moveTo>
                  <a:pt x="3199955" y="3525910"/>
                </a:moveTo>
                <a:cubicBezTo>
                  <a:pt x="3302486" y="3534084"/>
                  <a:pt x="3396132" y="3599910"/>
                  <a:pt x="3434942" y="3702401"/>
                </a:cubicBezTo>
                <a:cubicBezTo>
                  <a:pt x="3486687" y="3839342"/>
                  <a:pt x="3421790" y="3991434"/>
                  <a:pt x="3289996" y="4050327"/>
                </a:cubicBezTo>
                <a:lnTo>
                  <a:pt x="3096164" y="3537730"/>
                </a:lnTo>
                <a:cubicBezTo>
                  <a:pt x="3130614" y="3526866"/>
                  <a:pt x="3165778" y="3523186"/>
                  <a:pt x="3199955" y="3525910"/>
                </a:cubicBezTo>
                <a:close/>
                <a:moveTo>
                  <a:pt x="3879497" y="3404220"/>
                </a:moveTo>
                <a:lnTo>
                  <a:pt x="3938104" y="3806750"/>
                </a:lnTo>
                <a:cubicBezTo>
                  <a:pt x="3938962" y="3813039"/>
                  <a:pt x="3944680" y="3817328"/>
                  <a:pt x="3952112" y="3817328"/>
                </a:cubicBezTo>
                <a:cubicBezTo>
                  <a:pt x="3959546" y="3817328"/>
                  <a:pt x="3965549" y="3813039"/>
                  <a:pt x="3966693" y="3807036"/>
                </a:cubicBezTo>
                <a:lnTo>
                  <a:pt x="4002429" y="3638076"/>
                </a:lnTo>
                <a:lnTo>
                  <a:pt x="4005002" y="3662948"/>
                </a:lnTo>
                <a:cubicBezTo>
                  <a:pt x="4006145" y="3670667"/>
                  <a:pt x="4012435" y="3676099"/>
                  <a:pt x="4020154" y="3676099"/>
                </a:cubicBezTo>
                <a:cubicBezTo>
                  <a:pt x="4026444" y="3676099"/>
                  <a:pt x="4031589" y="3672382"/>
                  <a:pt x="4033877" y="3666665"/>
                </a:cubicBezTo>
                <a:lnTo>
                  <a:pt x="4119929" y="3428806"/>
                </a:lnTo>
                <a:lnTo>
                  <a:pt x="4187399" y="3882225"/>
                </a:lnTo>
                <a:cubicBezTo>
                  <a:pt x="4155093" y="3905667"/>
                  <a:pt x="4120786" y="3929396"/>
                  <a:pt x="4083906" y="3953410"/>
                </a:cubicBezTo>
                <a:cubicBezTo>
                  <a:pt x="3880069" y="3821331"/>
                  <a:pt x="3750561" y="3695254"/>
                  <a:pt x="3675373" y="3582328"/>
                </a:cubicBezTo>
                <a:lnTo>
                  <a:pt x="3809168" y="3582328"/>
                </a:lnTo>
                <a:cubicBezTo>
                  <a:pt x="3816030" y="3582328"/>
                  <a:pt x="3821462" y="3578325"/>
                  <a:pt x="3823463" y="3572322"/>
                </a:cubicBezTo>
                <a:close/>
                <a:moveTo>
                  <a:pt x="2131291" y="3336465"/>
                </a:moveTo>
                <a:lnTo>
                  <a:pt x="2131291" y="3399361"/>
                </a:lnTo>
                <a:lnTo>
                  <a:pt x="2196759" y="3399361"/>
                </a:lnTo>
                <a:lnTo>
                  <a:pt x="2197045" y="3447103"/>
                </a:lnTo>
                <a:lnTo>
                  <a:pt x="2131577" y="3447103"/>
                </a:lnTo>
                <a:lnTo>
                  <a:pt x="2131862" y="3509427"/>
                </a:lnTo>
                <a:lnTo>
                  <a:pt x="2086978" y="3509713"/>
                </a:lnTo>
                <a:lnTo>
                  <a:pt x="2086978" y="3447389"/>
                </a:lnTo>
                <a:lnTo>
                  <a:pt x="2023225" y="3447675"/>
                </a:lnTo>
                <a:lnTo>
                  <a:pt x="2022939" y="3399932"/>
                </a:lnTo>
                <a:lnTo>
                  <a:pt x="2086406" y="3399646"/>
                </a:lnTo>
                <a:lnTo>
                  <a:pt x="2086406" y="3336751"/>
                </a:lnTo>
                <a:close/>
                <a:moveTo>
                  <a:pt x="2075257" y="3324744"/>
                </a:moveTo>
                <a:lnTo>
                  <a:pt x="2075257" y="3388496"/>
                </a:lnTo>
                <a:lnTo>
                  <a:pt x="2011504" y="3388496"/>
                </a:lnTo>
                <a:lnTo>
                  <a:pt x="2011504" y="3458539"/>
                </a:lnTo>
                <a:lnTo>
                  <a:pt x="2075257" y="3458539"/>
                </a:lnTo>
                <a:lnTo>
                  <a:pt x="2075257" y="3522006"/>
                </a:lnTo>
                <a:lnTo>
                  <a:pt x="2145300" y="3522006"/>
                </a:lnTo>
                <a:lnTo>
                  <a:pt x="2145300" y="3458539"/>
                </a:lnTo>
                <a:lnTo>
                  <a:pt x="2209053" y="3458539"/>
                </a:lnTo>
                <a:lnTo>
                  <a:pt x="2209053" y="3388496"/>
                </a:lnTo>
                <a:lnTo>
                  <a:pt x="2145300" y="3388496"/>
                </a:lnTo>
                <a:lnTo>
                  <a:pt x="2145300" y="3324744"/>
                </a:lnTo>
                <a:close/>
                <a:moveTo>
                  <a:pt x="2621018" y="3236976"/>
                </a:moveTo>
                <a:lnTo>
                  <a:pt x="2621018" y="3247553"/>
                </a:lnTo>
                <a:cubicBezTo>
                  <a:pt x="2524959" y="3247553"/>
                  <a:pt x="2446626" y="3325886"/>
                  <a:pt x="2446340" y="3421945"/>
                </a:cubicBezTo>
                <a:lnTo>
                  <a:pt x="2445768" y="3589761"/>
                </a:lnTo>
                <a:lnTo>
                  <a:pt x="2620446" y="3590333"/>
                </a:lnTo>
                <a:lnTo>
                  <a:pt x="2795124" y="3590905"/>
                </a:lnTo>
                <a:lnTo>
                  <a:pt x="2795695" y="3422802"/>
                </a:lnTo>
                <a:cubicBezTo>
                  <a:pt x="2795695" y="3376203"/>
                  <a:pt x="2777684" y="3332176"/>
                  <a:pt x="2744807" y="3299013"/>
                </a:cubicBezTo>
                <a:cubicBezTo>
                  <a:pt x="2711930" y="3266136"/>
                  <a:pt x="2668189" y="3247553"/>
                  <a:pt x="2621303" y="3247553"/>
                </a:cubicBezTo>
                <a:close/>
                <a:moveTo>
                  <a:pt x="2621303" y="3226683"/>
                </a:moveTo>
                <a:lnTo>
                  <a:pt x="2621875" y="3226683"/>
                </a:lnTo>
                <a:cubicBezTo>
                  <a:pt x="2674193" y="3226683"/>
                  <a:pt x="2723365" y="3247267"/>
                  <a:pt x="2760245" y="3284433"/>
                </a:cubicBezTo>
                <a:cubicBezTo>
                  <a:pt x="2797124" y="3321599"/>
                  <a:pt x="2817137" y="3370771"/>
                  <a:pt x="2817137" y="3423088"/>
                </a:cubicBezTo>
                <a:lnTo>
                  <a:pt x="2816565" y="3591191"/>
                </a:lnTo>
                <a:lnTo>
                  <a:pt x="2816565" y="3611774"/>
                </a:lnTo>
                <a:lnTo>
                  <a:pt x="2816565" y="3612346"/>
                </a:lnTo>
                <a:lnTo>
                  <a:pt x="2815993" y="3780449"/>
                </a:lnTo>
                <a:cubicBezTo>
                  <a:pt x="2815707" y="3888228"/>
                  <a:pt x="2727940" y="3975710"/>
                  <a:pt x="2620160" y="3975710"/>
                </a:cubicBezTo>
                <a:cubicBezTo>
                  <a:pt x="2511523" y="3975424"/>
                  <a:pt x="2424041" y="3887371"/>
                  <a:pt x="2424327" y="3779305"/>
                </a:cubicBezTo>
                <a:lnTo>
                  <a:pt x="2424898" y="3611203"/>
                </a:lnTo>
                <a:lnTo>
                  <a:pt x="2425470" y="3421945"/>
                </a:lnTo>
                <a:cubicBezTo>
                  <a:pt x="2425755" y="3314165"/>
                  <a:pt x="2513524" y="3226683"/>
                  <a:pt x="2621303" y="3226683"/>
                </a:cubicBezTo>
                <a:close/>
                <a:moveTo>
                  <a:pt x="3811380" y="3096930"/>
                </a:moveTo>
                <a:cubicBezTo>
                  <a:pt x="3913017" y="3093410"/>
                  <a:pt x="4023871" y="3154854"/>
                  <a:pt x="4083906" y="3303015"/>
                </a:cubicBezTo>
                <a:cubicBezTo>
                  <a:pt x="4143836" y="3154854"/>
                  <a:pt x="4254663" y="3093410"/>
                  <a:pt x="4356292" y="3096930"/>
                </a:cubicBezTo>
                <a:cubicBezTo>
                  <a:pt x="4525676" y="3102795"/>
                  <a:pt x="4669513" y="3289114"/>
                  <a:pt x="4509594" y="3555169"/>
                </a:cubicBezTo>
                <a:lnTo>
                  <a:pt x="4267447" y="3555169"/>
                </a:lnTo>
                <a:cubicBezTo>
                  <a:pt x="4261444" y="3555169"/>
                  <a:pt x="4254297" y="3559171"/>
                  <a:pt x="4253152" y="3565746"/>
                </a:cubicBezTo>
                <a:lnTo>
                  <a:pt x="4209126" y="3831623"/>
                </a:lnTo>
                <a:lnTo>
                  <a:pt x="4139654" y="3366769"/>
                </a:lnTo>
                <a:cubicBezTo>
                  <a:pt x="4138797" y="3360193"/>
                  <a:pt x="4133651" y="3356191"/>
                  <a:pt x="4126504" y="3356191"/>
                </a:cubicBezTo>
                <a:cubicBezTo>
                  <a:pt x="4119643" y="3356191"/>
                  <a:pt x="4113353" y="3360193"/>
                  <a:pt x="4111352" y="3365911"/>
                </a:cubicBezTo>
                <a:lnTo>
                  <a:pt x="4027015" y="3598624"/>
                </a:lnTo>
                <a:lnTo>
                  <a:pt x="4021297" y="3544877"/>
                </a:lnTo>
                <a:cubicBezTo>
                  <a:pt x="4020439" y="3536586"/>
                  <a:pt x="4012435" y="3531726"/>
                  <a:pt x="4005287" y="3531726"/>
                </a:cubicBezTo>
                <a:cubicBezTo>
                  <a:pt x="3998712" y="3531726"/>
                  <a:pt x="3993566" y="3535728"/>
                  <a:pt x="3992423" y="3542017"/>
                </a:cubicBezTo>
                <a:lnTo>
                  <a:pt x="3954685" y="3720698"/>
                </a:lnTo>
                <a:lnTo>
                  <a:pt x="3899223" y="3338466"/>
                </a:lnTo>
                <a:cubicBezTo>
                  <a:pt x="3898366" y="3331891"/>
                  <a:pt x="3893220" y="3327888"/>
                  <a:pt x="3886072" y="3327888"/>
                </a:cubicBezTo>
                <a:cubicBezTo>
                  <a:pt x="3878925" y="3327888"/>
                  <a:pt x="3872921" y="3331891"/>
                  <a:pt x="3870920" y="3337608"/>
                </a:cubicBezTo>
                <a:lnTo>
                  <a:pt x="3798591" y="3555169"/>
                </a:lnTo>
                <a:lnTo>
                  <a:pt x="3657934" y="3555169"/>
                </a:lnTo>
                <a:cubicBezTo>
                  <a:pt x="3498194" y="3289114"/>
                  <a:pt x="3641986" y="3102795"/>
                  <a:pt x="3811380" y="3096930"/>
                </a:cubicBezTo>
                <a:close/>
                <a:moveTo>
                  <a:pt x="4969875" y="3096319"/>
                </a:moveTo>
                <a:lnTo>
                  <a:pt x="5019047" y="3154068"/>
                </a:lnTo>
                <a:lnTo>
                  <a:pt x="5076797" y="3105467"/>
                </a:lnTo>
                <a:lnTo>
                  <a:pt x="5111389" y="3146063"/>
                </a:lnTo>
                <a:lnTo>
                  <a:pt x="5053926" y="3194950"/>
                </a:lnTo>
                <a:lnTo>
                  <a:pt x="5104242" y="3254415"/>
                </a:lnTo>
                <a:lnTo>
                  <a:pt x="5060786" y="3291580"/>
                </a:lnTo>
                <a:lnTo>
                  <a:pt x="5010471" y="3232116"/>
                </a:lnTo>
                <a:lnTo>
                  <a:pt x="4953293" y="3280431"/>
                </a:lnTo>
                <a:lnTo>
                  <a:pt x="4918415" y="3239835"/>
                </a:lnTo>
                <a:lnTo>
                  <a:pt x="4975592" y="3191520"/>
                </a:lnTo>
                <a:lnTo>
                  <a:pt x="4926420" y="3133484"/>
                </a:lnTo>
                <a:close/>
                <a:moveTo>
                  <a:pt x="1415820" y="3073983"/>
                </a:moveTo>
                <a:cubicBezTo>
                  <a:pt x="1371328" y="3074591"/>
                  <a:pt x="1327087" y="3092173"/>
                  <a:pt x="1293638" y="3126622"/>
                </a:cubicBezTo>
                <a:lnTo>
                  <a:pt x="1211016" y="3211245"/>
                </a:lnTo>
                <a:lnTo>
                  <a:pt x="1274197" y="3272711"/>
                </a:lnTo>
                <a:cubicBezTo>
                  <a:pt x="1337379" y="3334178"/>
                  <a:pt x="1438583" y="3332748"/>
                  <a:pt x="1500337" y="3269566"/>
                </a:cubicBezTo>
                <a:lnTo>
                  <a:pt x="1592392" y="3174937"/>
                </a:lnTo>
                <a:lnTo>
                  <a:pt x="1539502" y="3123192"/>
                </a:lnTo>
                <a:cubicBezTo>
                  <a:pt x="1505053" y="3089743"/>
                  <a:pt x="1460311" y="3073376"/>
                  <a:pt x="1415820" y="3073983"/>
                </a:cubicBezTo>
                <a:close/>
                <a:moveTo>
                  <a:pt x="4971303" y="3073447"/>
                </a:moveTo>
                <a:lnTo>
                  <a:pt x="4906979" y="3127194"/>
                </a:lnTo>
                <a:lnTo>
                  <a:pt x="4955580" y="3185802"/>
                </a:lnTo>
                <a:lnTo>
                  <a:pt x="4897259" y="3234688"/>
                </a:lnTo>
                <a:lnTo>
                  <a:pt x="4951006" y="3299012"/>
                </a:lnTo>
                <a:lnTo>
                  <a:pt x="5009613" y="3250126"/>
                </a:lnTo>
                <a:lnTo>
                  <a:pt x="5058213" y="3308733"/>
                </a:lnTo>
                <a:lnTo>
                  <a:pt x="5122539" y="3254986"/>
                </a:lnTo>
                <a:lnTo>
                  <a:pt x="5073938" y="3196379"/>
                </a:lnTo>
                <a:lnTo>
                  <a:pt x="5132259" y="3147492"/>
                </a:lnTo>
                <a:lnTo>
                  <a:pt x="5078512" y="3083167"/>
                </a:lnTo>
                <a:lnTo>
                  <a:pt x="5020191" y="3132054"/>
                </a:lnTo>
                <a:close/>
                <a:moveTo>
                  <a:pt x="4703998" y="3063441"/>
                </a:moveTo>
                <a:cubicBezTo>
                  <a:pt x="4689989" y="3075162"/>
                  <a:pt x="4676839" y="3086026"/>
                  <a:pt x="4664832" y="3096033"/>
                </a:cubicBezTo>
                <a:cubicBezTo>
                  <a:pt x="4634241" y="3121476"/>
                  <a:pt x="4630239" y="3166933"/>
                  <a:pt x="4655683" y="3197522"/>
                </a:cubicBezTo>
                <a:lnTo>
                  <a:pt x="4944144" y="3543447"/>
                </a:lnTo>
                <a:cubicBezTo>
                  <a:pt x="4969589" y="3574038"/>
                  <a:pt x="5015045" y="3578039"/>
                  <a:pt x="5045634" y="3552596"/>
                </a:cubicBezTo>
                <a:cubicBezTo>
                  <a:pt x="5057642" y="3542590"/>
                  <a:pt x="5070793" y="3531725"/>
                  <a:pt x="5084801" y="3520004"/>
                </a:cubicBezTo>
                <a:close/>
                <a:moveTo>
                  <a:pt x="1971194" y="2992541"/>
                </a:moveTo>
                <a:cubicBezTo>
                  <a:pt x="1970336" y="3016842"/>
                  <a:pt x="1964047" y="3070875"/>
                  <a:pt x="1928025" y="3099749"/>
                </a:cubicBezTo>
                <a:cubicBezTo>
                  <a:pt x="1886285" y="3133484"/>
                  <a:pt x="1864558" y="3178941"/>
                  <a:pt x="1861985" y="3238977"/>
                </a:cubicBezTo>
                <a:cubicBezTo>
                  <a:pt x="1861985" y="3240406"/>
                  <a:pt x="1861985" y="3260991"/>
                  <a:pt x="1861985" y="3291866"/>
                </a:cubicBezTo>
                <a:lnTo>
                  <a:pt x="2357714" y="3291866"/>
                </a:lnTo>
                <a:cubicBezTo>
                  <a:pt x="2357714" y="3259847"/>
                  <a:pt x="2357714" y="3238405"/>
                  <a:pt x="2357714" y="3236403"/>
                </a:cubicBezTo>
                <a:cubicBezTo>
                  <a:pt x="2354284" y="3180370"/>
                  <a:pt x="2330555" y="3130625"/>
                  <a:pt x="2291960" y="3099749"/>
                </a:cubicBezTo>
                <a:cubicBezTo>
                  <a:pt x="2255938" y="3070875"/>
                  <a:pt x="2249649" y="3016842"/>
                  <a:pt x="2248791" y="2992541"/>
                </a:cubicBezTo>
                <a:close/>
                <a:moveTo>
                  <a:pt x="5650002" y="2879043"/>
                </a:moveTo>
                <a:lnTo>
                  <a:pt x="5534218" y="2975673"/>
                </a:lnTo>
                <a:cubicBezTo>
                  <a:pt x="5530501" y="2978532"/>
                  <a:pt x="5530501" y="2984250"/>
                  <a:pt x="5534218" y="2988538"/>
                </a:cubicBezTo>
                <a:cubicBezTo>
                  <a:pt x="5537648" y="2992541"/>
                  <a:pt x="5543366" y="2993684"/>
                  <a:pt x="5546797" y="2990825"/>
                </a:cubicBezTo>
                <a:lnTo>
                  <a:pt x="5662867" y="2894195"/>
                </a:lnTo>
                <a:cubicBezTo>
                  <a:pt x="5666298" y="2891336"/>
                  <a:pt x="5666298" y="2885619"/>
                  <a:pt x="5662581" y="2881330"/>
                </a:cubicBezTo>
                <a:cubicBezTo>
                  <a:pt x="5659151" y="2877042"/>
                  <a:pt x="5653433" y="2876185"/>
                  <a:pt x="5650002" y="2879043"/>
                </a:cubicBezTo>
                <a:close/>
                <a:moveTo>
                  <a:pt x="5627417" y="2851884"/>
                </a:moveTo>
                <a:lnTo>
                  <a:pt x="5511346" y="2948800"/>
                </a:lnTo>
                <a:cubicBezTo>
                  <a:pt x="5507630" y="2951659"/>
                  <a:pt x="5507916" y="2957376"/>
                  <a:pt x="5511346" y="2961665"/>
                </a:cubicBezTo>
                <a:cubicBezTo>
                  <a:pt x="5514778" y="2965953"/>
                  <a:pt x="5520495" y="2967096"/>
                  <a:pt x="5523925" y="2964238"/>
                </a:cubicBezTo>
                <a:lnTo>
                  <a:pt x="5639996" y="2867322"/>
                </a:lnTo>
                <a:cubicBezTo>
                  <a:pt x="5643713" y="2864463"/>
                  <a:pt x="5643713" y="2858746"/>
                  <a:pt x="5639996" y="2854457"/>
                </a:cubicBezTo>
                <a:cubicBezTo>
                  <a:pt x="5636566" y="2850168"/>
                  <a:pt x="5630848" y="2849026"/>
                  <a:pt x="5627417" y="2851884"/>
                </a:cubicBezTo>
                <a:close/>
                <a:moveTo>
                  <a:pt x="2257940" y="2842165"/>
                </a:moveTo>
                <a:cubicBezTo>
                  <a:pt x="2253365" y="2842165"/>
                  <a:pt x="2249649" y="2845309"/>
                  <a:pt x="2249649" y="2849026"/>
                </a:cubicBezTo>
                <a:lnTo>
                  <a:pt x="2249649" y="2975389"/>
                </a:lnTo>
                <a:cubicBezTo>
                  <a:pt x="2249649" y="2979104"/>
                  <a:pt x="2253365" y="2982250"/>
                  <a:pt x="2257940" y="2982250"/>
                </a:cubicBezTo>
                <a:cubicBezTo>
                  <a:pt x="2262514" y="2982250"/>
                  <a:pt x="2266230" y="2979104"/>
                  <a:pt x="2266230" y="2975389"/>
                </a:cubicBezTo>
                <a:lnTo>
                  <a:pt x="2266230" y="2849026"/>
                </a:lnTo>
                <a:cubicBezTo>
                  <a:pt x="2266230" y="2845309"/>
                  <a:pt x="2262514" y="2842165"/>
                  <a:pt x="2257940" y="2842165"/>
                </a:cubicBezTo>
                <a:close/>
                <a:moveTo>
                  <a:pt x="2228493" y="2842165"/>
                </a:moveTo>
                <a:cubicBezTo>
                  <a:pt x="2223919" y="2842165"/>
                  <a:pt x="2220202" y="2845309"/>
                  <a:pt x="2220202" y="2849026"/>
                </a:cubicBezTo>
                <a:lnTo>
                  <a:pt x="2220202" y="2975389"/>
                </a:lnTo>
                <a:cubicBezTo>
                  <a:pt x="2220202" y="2979104"/>
                  <a:pt x="2223919" y="2982250"/>
                  <a:pt x="2228493" y="2982250"/>
                </a:cubicBezTo>
                <a:cubicBezTo>
                  <a:pt x="2233067" y="2982250"/>
                  <a:pt x="2236784" y="2979104"/>
                  <a:pt x="2236784" y="2975389"/>
                </a:cubicBezTo>
                <a:lnTo>
                  <a:pt x="2236784" y="2849026"/>
                </a:lnTo>
                <a:cubicBezTo>
                  <a:pt x="2236784" y="2845309"/>
                  <a:pt x="2233067" y="2842165"/>
                  <a:pt x="2228493" y="2842165"/>
                </a:cubicBezTo>
                <a:close/>
                <a:moveTo>
                  <a:pt x="2198761" y="2842165"/>
                </a:moveTo>
                <a:cubicBezTo>
                  <a:pt x="2194187" y="2842165"/>
                  <a:pt x="2190470" y="2845309"/>
                  <a:pt x="2190470" y="2849026"/>
                </a:cubicBezTo>
                <a:lnTo>
                  <a:pt x="2190470" y="2975389"/>
                </a:lnTo>
                <a:cubicBezTo>
                  <a:pt x="2190470" y="2979104"/>
                  <a:pt x="2194187" y="2982250"/>
                  <a:pt x="2198761" y="2982250"/>
                </a:cubicBezTo>
                <a:cubicBezTo>
                  <a:pt x="2203335" y="2982250"/>
                  <a:pt x="2207051" y="2979104"/>
                  <a:pt x="2207051" y="2975389"/>
                </a:cubicBezTo>
                <a:lnTo>
                  <a:pt x="2207051" y="2849026"/>
                </a:lnTo>
                <a:cubicBezTo>
                  <a:pt x="2207051" y="2845309"/>
                  <a:pt x="2203335" y="2842165"/>
                  <a:pt x="2198761" y="2842165"/>
                </a:cubicBezTo>
                <a:close/>
                <a:moveTo>
                  <a:pt x="2169314" y="2842165"/>
                </a:moveTo>
                <a:cubicBezTo>
                  <a:pt x="2164740" y="2842165"/>
                  <a:pt x="2161023" y="2845309"/>
                  <a:pt x="2161023" y="2849026"/>
                </a:cubicBezTo>
                <a:lnTo>
                  <a:pt x="2161023" y="2975389"/>
                </a:lnTo>
                <a:cubicBezTo>
                  <a:pt x="2161023" y="2979104"/>
                  <a:pt x="2164740" y="2982250"/>
                  <a:pt x="2169314" y="2982250"/>
                </a:cubicBezTo>
                <a:cubicBezTo>
                  <a:pt x="2173888" y="2982250"/>
                  <a:pt x="2177605" y="2979104"/>
                  <a:pt x="2177605" y="2975389"/>
                </a:cubicBezTo>
                <a:lnTo>
                  <a:pt x="2177605" y="2849026"/>
                </a:lnTo>
                <a:cubicBezTo>
                  <a:pt x="2177605" y="2845309"/>
                  <a:pt x="2173888" y="2842165"/>
                  <a:pt x="2169314" y="2842165"/>
                </a:cubicBezTo>
                <a:close/>
                <a:moveTo>
                  <a:pt x="2139582" y="2842165"/>
                </a:moveTo>
                <a:cubicBezTo>
                  <a:pt x="2135007" y="2842165"/>
                  <a:pt x="2131291" y="2845309"/>
                  <a:pt x="2131291" y="2849026"/>
                </a:cubicBezTo>
                <a:lnTo>
                  <a:pt x="2131291" y="2975389"/>
                </a:lnTo>
                <a:cubicBezTo>
                  <a:pt x="2131291" y="2979104"/>
                  <a:pt x="2135007" y="2982250"/>
                  <a:pt x="2139582" y="2982250"/>
                </a:cubicBezTo>
                <a:cubicBezTo>
                  <a:pt x="2144156" y="2982250"/>
                  <a:pt x="2147873" y="2979104"/>
                  <a:pt x="2147873" y="2975389"/>
                </a:cubicBezTo>
                <a:lnTo>
                  <a:pt x="2147873" y="2849026"/>
                </a:lnTo>
                <a:cubicBezTo>
                  <a:pt x="2147873" y="2845309"/>
                  <a:pt x="2144156" y="2842165"/>
                  <a:pt x="2139582" y="2842165"/>
                </a:cubicBezTo>
                <a:close/>
                <a:moveTo>
                  <a:pt x="2110135" y="2842165"/>
                </a:moveTo>
                <a:cubicBezTo>
                  <a:pt x="2105561" y="2842165"/>
                  <a:pt x="2101845" y="2845309"/>
                  <a:pt x="2101845" y="2849026"/>
                </a:cubicBezTo>
                <a:lnTo>
                  <a:pt x="2101845" y="2975389"/>
                </a:lnTo>
                <a:cubicBezTo>
                  <a:pt x="2101845" y="2979104"/>
                  <a:pt x="2105561" y="2982250"/>
                  <a:pt x="2110135" y="2982250"/>
                </a:cubicBezTo>
                <a:cubicBezTo>
                  <a:pt x="2114710" y="2982250"/>
                  <a:pt x="2118426" y="2979104"/>
                  <a:pt x="2118426" y="2975389"/>
                </a:cubicBezTo>
                <a:lnTo>
                  <a:pt x="2118426" y="2849026"/>
                </a:lnTo>
                <a:cubicBezTo>
                  <a:pt x="2118426" y="2845309"/>
                  <a:pt x="2114710" y="2842165"/>
                  <a:pt x="2110135" y="2842165"/>
                </a:cubicBezTo>
                <a:close/>
                <a:moveTo>
                  <a:pt x="2080403" y="2842165"/>
                </a:moveTo>
                <a:cubicBezTo>
                  <a:pt x="2075829" y="2842165"/>
                  <a:pt x="2072112" y="2845309"/>
                  <a:pt x="2072112" y="2849026"/>
                </a:cubicBezTo>
                <a:lnTo>
                  <a:pt x="2072112" y="2975389"/>
                </a:lnTo>
                <a:cubicBezTo>
                  <a:pt x="2072112" y="2979104"/>
                  <a:pt x="2075829" y="2982250"/>
                  <a:pt x="2080403" y="2982250"/>
                </a:cubicBezTo>
                <a:cubicBezTo>
                  <a:pt x="2084977" y="2982250"/>
                  <a:pt x="2088694" y="2979104"/>
                  <a:pt x="2088694" y="2975389"/>
                </a:cubicBezTo>
                <a:lnTo>
                  <a:pt x="2088694" y="2849026"/>
                </a:lnTo>
                <a:cubicBezTo>
                  <a:pt x="2088694" y="2845309"/>
                  <a:pt x="2084977" y="2842165"/>
                  <a:pt x="2080403" y="2842165"/>
                </a:cubicBezTo>
                <a:close/>
                <a:moveTo>
                  <a:pt x="2050671" y="2842165"/>
                </a:moveTo>
                <a:cubicBezTo>
                  <a:pt x="2046097" y="2842165"/>
                  <a:pt x="2042380" y="2845309"/>
                  <a:pt x="2042380" y="2849026"/>
                </a:cubicBezTo>
                <a:lnTo>
                  <a:pt x="2042380" y="2975389"/>
                </a:lnTo>
                <a:cubicBezTo>
                  <a:pt x="2042380" y="2979104"/>
                  <a:pt x="2046097" y="2982250"/>
                  <a:pt x="2050671" y="2982250"/>
                </a:cubicBezTo>
                <a:cubicBezTo>
                  <a:pt x="2055245" y="2982250"/>
                  <a:pt x="2058961" y="2979104"/>
                  <a:pt x="2058961" y="2975389"/>
                </a:cubicBezTo>
                <a:lnTo>
                  <a:pt x="2058961" y="2849026"/>
                </a:lnTo>
                <a:cubicBezTo>
                  <a:pt x="2058961" y="2845309"/>
                  <a:pt x="2055245" y="2842165"/>
                  <a:pt x="2050671" y="2842165"/>
                </a:cubicBezTo>
                <a:close/>
                <a:moveTo>
                  <a:pt x="2021224" y="2842165"/>
                </a:moveTo>
                <a:cubicBezTo>
                  <a:pt x="2016650" y="2842165"/>
                  <a:pt x="2012933" y="2845309"/>
                  <a:pt x="2012933" y="2849026"/>
                </a:cubicBezTo>
                <a:lnTo>
                  <a:pt x="2012933" y="2975389"/>
                </a:lnTo>
                <a:cubicBezTo>
                  <a:pt x="2012933" y="2979104"/>
                  <a:pt x="2016650" y="2982250"/>
                  <a:pt x="2021224" y="2982250"/>
                </a:cubicBezTo>
                <a:cubicBezTo>
                  <a:pt x="2025798" y="2982250"/>
                  <a:pt x="2029515" y="2979104"/>
                  <a:pt x="2029515" y="2975389"/>
                </a:cubicBezTo>
                <a:lnTo>
                  <a:pt x="2029515" y="2849026"/>
                </a:lnTo>
                <a:cubicBezTo>
                  <a:pt x="2029515" y="2845309"/>
                  <a:pt x="2025798" y="2842165"/>
                  <a:pt x="2021224" y="2842165"/>
                </a:cubicBezTo>
                <a:close/>
                <a:moveTo>
                  <a:pt x="1991492" y="2842165"/>
                </a:moveTo>
                <a:cubicBezTo>
                  <a:pt x="1986917" y="2842165"/>
                  <a:pt x="1983201" y="2845309"/>
                  <a:pt x="1983201" y="2849026"/>
                </a:cubicBezTo>
                <a:lnTo>
                  <a:pt x="1983201" y="2975389"/>
                </a:lnTo>
                <a:cubicBezTo>
                  <a:pt x="1983201" y="2979104"/>
                  <a:pt x="1986917" y="2982250"/>
                  <a:pt x="1991492" y="2982250"/>
                </a:cubicBezTo>
                <a:cubicBezTo>
                  <a:pt x="1996066" y="2982250"/>
                  <a:pt x="1999783" y="2979104"/>
                  <a:pt x="1999783" y="2975389"/>
                </a:cubicBezTo>
                <a:lnTo>
                  <a:pt x="1999783" y="2849026"/>
                </a:lnTo>
                <a:cubicBezTo>
                  <a:pt x="1999783" y="2845309"/>
                  <a:pt x="1996066" y="2842165"/>
                  <a:pt x="1991492" y="2842165"/>
                </a:cubicBezTo>
                <a:close/>
                <a:moveTo>
                  <a:pt x="1962045" y="2842165"/>
                </a:moveTo>
                <a:cubicBezTo>
                  <a:pt x="1957471" y="2842165"/>
                  <a:pt x="1953755" y="2845309"/>
                  <a:pt x="1953755" y="2849026"/>
                </a:cubicBezTo>
                <a:lnTo>
                  <a:pt x="1953755" y="2975389"/>
                </a:lnTo>
                <a:cubicBezTo>
                  <a:pt x="1953755" y="2979104"/>
                  <a:pt x="1957471" y="2982250"/>
                  <a:pt x="1962045" y="2982250"/>
                </a:cubicBezTo>
                <a:cubicBezTo>
                  <a:pt x="1966620" y="2982250"/>
                  <a:pt x="1970336" y="2979104"/>
                  <a:pt x="1970336" y="2975389"/>
                </a:cubicBezTo>
                <a:lnTo>
                  <a:pt x="1970336" y="2849026"/>
                </a:lnTo>
                <a:cubicBezTo>
                  <a:pt x="1970336" y="2845309"/>
                  <a:pt x="1966620" y="2842165"/>
                  <a:pt x="1962045" y="2842165"/>
                </a:cubicBezTo>
                <a:close/>
                <a:moveTo>
                  <a:pt x="5604546" y="2824725"/>
                </a:moveTo>
                <a:lnTo>
                  <a:pt x="5488476" y="2921069"/>
                </a:lnTo>
                <a:cubicBezTo>
                  <a:pt x="5484759" y="2923928"/>
                  <a:pt x="5485045" y="2929645"/>
                  <a:pt x="5488476" y="2933934"/>
                </a:cubicBezTo>
                <a:cubicBezTo>
                  <a:pt x="5491906" y="2938223"/>
                  <a:pt x="5497624" y="2939366"/>
                  <a:pt x="5501055" y="2936507"/>
                </a:cubicBezTo>
                <a:lnTo>
                  <a:pt x="5617125" y="2839877"/>
                </a:lnTo>
                <a:cubicBezTo>
                  <a:pt x="5620842" y="2837018"/>
                  <a:pt x="5620555" y="2831300"/>
                  <a:pt x="5617125" y="2827012"/>
                </a:cubicBezTo>
                <a:cubicBezTo>
                  <a:pt x="5613694" y="2822724"/>
                  <a:pt x="5607977" y="2821866"/>
                  <a:pt x="5604546" y="2824725"/>
                </a:cubicBezTo>
                <a:close/>
                <a:moveTo>
                  <a:pt x="2848870" y="2806428"/>
                </a:moveTo>
                <a:lnTo>
                  <a:pt x="2848299" y="3076020"/>
                </a:lnTo>
                <a:cubicBezTo>
                  <a:pt x="2848012" y="3150923"/>
                  <a:pt x="2876887" y="3221251"/>
                  <a:pt x="2929776" y="3274427"/>
                </a:cubicBezTo>
                <a:cubicBezTo>
                  <a:pt x="2982380" y="3327316"/>
                  <a:pt x="3052709" y="3356763"/>
                  <a:pt x="3127611" y="3357048"/>
                </a:cubicBezTo>
                <a:lnTo>
                  <a:pt x="3128469" y="3373916"/>
                </a:lnTo>
                <a:lnTo>
                  <a:pt x="3128469" y="3357048"/>
                </a:lnTo>
                <a:cubicBezTo>
                  <a:pt x="3282849" y="3357048"/>
                  <a:pt x="3408354" y="3231543"/>
                  <a:pt x="3408925" y="3077450"/>
                </a:cubicBezTo>
                <a:lnTo>
                  <a:pt x="3409497" y="2808144"/>
                </a:lnTo>
                <a:lnTo>
                  <a:pt x="3129327" y="2807286"/>
                </a:lnTo>
                <a:close/>
                <a:moveTo>
                  <a:pt x="5581961" y="2797566"/>
                </a:moveTo>
                <a:lnTo>
                  <a:pt x="5466177" y="2894481"/>
                </a:lnTo>
                <a:cubicBezTo>
                  <a:pt x="5462460" y="2897340"/>
                  <a:pt x="5462460" y="2903058"/>
                  <a:pt x="5466177" y="2907346"/>
                </a:cubicBezTo>
                <a:cubicBezTo>
                  <a:pt x="5469607" y="2911348"/>
                  <a:pt x="5475324" y="2912493"/>
                  <a:pt x="5478756" y="2909634"/>
                </a:cubicBezTo>
                <a:lnTo>
                  <a:pt x="5594826" y="2812718"/>
                </a:lnTo>
                <a:cubicBezTo>
                  <a:pt x="5598256" y="2809859"/>
                  <a:pt x="5598256" y="2804140"/>
                  <a:pt x="5594826" y="2799852"/>
                </a:cubicBezTo>
                <a:cubicBezTo>
                  <a:pt x="5591109" y="2795850"/>
                  <a:pt x="5585392" y="2794706"/>
                  <a:pt x="5581961" y="2797566"/>
                </a:cubicBezTo>
                <a:close/>
                <a:moveTo>
                  <a:pt x="5559376" y="2770406"/>
                </a:moveTo>
                <a:lnTo>
                  <a:pt x="5443305" y="2867322"/>
                </a:lnTo>
                <a:cubicBezTo>
                  <a:pt x="5439589" y="2870181"/>
                  <a:pt x="5439875" y="2875898"/>
                  <a:pt x="5443305" y="2880187"/>
                </a:cubicBezTo>
                <a:cubicBezTo>
                  <a:pt x="5446736" y="2884189"/>
                  <a:pt x="5452168" y="2885333"/>
                  <a:pt x="5455884" y="2882475"/>
                </a:cubicBezTo>
                <a:lnTo>
                  <a:pt x="5571955" y="2785558"/>
                </a:lnTo>
                <a:cubicBezTo>
                  <a:pt x="5575672" y="2782699"/>
                  <a:pt x="5575386" y="2776981"/>
                  <a:pt x="5571955" y="2772693"/>
                </a:cubicBezTo>
                <a:cubicBezTo>
                  <a:pt x="5568525" y="2768691"/>
                  <a:pt x="5562806" y="2767547"/>
                  <a:pt x="5559376" y="2770406"/>
                </a:cubicBezTo>
                <a:close/>
                <a:moveTo>
                  <a:pt x="3606759" y="2766975"/>
                </a:moveTo>
                <a:lnTo>
                  <a:pt x="3606759" y="2838161"/>
                </a:lnTo>
                <a:cubicBezTo>
                  <a:pt x="3606759" y="2909348"/>
                  <a:pt x="3664508" y="2967383"/>
                  <a:pt x="3735695" y="2967096"/>
                </a:cubicBezTo>
                <a:lnTo>
                  <a:pt x="3842617" y="2967096"/>
                </a:lnTo>
                <a:lnTo>
                  <a:pt x="3842617" y="2907346"/>
                </a:lnTo>
                <a:cubicBezTo>
                  <a:pt x="3842617" y="2829871"/>
                  <a:pt x="3779722" y="2766975"/>
                  <a:pt x="3702246" y="2766975"/>
                </a:cubicBezTo>
                <a:close/>
                <a:moveTo>
                  <a:pt x="5536505" y="2742961"/>
                </a:moveTo>
                <a:lnTo>
                  <a:pt x="5420720" y="2839877"/>
                </a:lnTo>
                <a:cubicBezTo>
                  <a:pt x="5417003" y="2842736"/>
                  <a:pt x="5417289" y="2848454"/>
                  <a:pt x="5420720" y="2852741"/>
                </a:cubicBezTo>
                <a:cubicBezTo>
                  <a:pt x="5424150" y="2856744"/>
                  <a:pt x="5429582" y="2857887"/>
                  <a:pt x="5433299" y="2855028"/>
                </a:cubicBezTo>
                <a:lnTo>
                  <a:pt x="5549370" y="2758398"/>
                </a:lnTo>
                <a:cubicBezTo>
                  <a:pt x="5553086" y="2755540"/>
                  <a:pt x="5552800" y="2749822"/>
                  <a:pt x="5549370" y="2745533"/>
                </a:cubicBezTo>
                <a:cubicBezTo>
                  <a:pt x="5545653" y="2741245"/>
                  <a:pt x="5539935" y="2740102"/>
                  <a:pt x="5536505" y="2742961"/>
                </a:cubicBezTo>
                <a:close/>
                <a:moveTo>
                  <a:pt x="5304649" y="2733241"/>
                </a:moveTo>
                <a:cubicBezTo>
                  <a:pt x="5281492" y="2751251"/>
                  <a:pt x="5227174" y="2786987"/>
                  <a:pt x="5172855" y="2775838"/>
                </a:cubicBezTo>
                <a:cubicBezTo>
                  <a:pt x="5109674" y="2762972"/>
                  <a:pt x="5051352" y="2777839"/>
                  <a:pt x="4994175" y="2821580"/>
                </a:cubicBezTo>
                <a:cubicBezTo>
                  <a:pt x="4992745" y="2822724"/>
                  <a:pt x="4973877" y="2838447"/>
                  <a:pt x="4945003" y="2862462"/>
                </a:cubicBezTo>
                <a:lnTo>
                  <a:pt x="5325520" y="3318739"/>
                </a:lnTo>
                <a:cubicBezTo>
                  <a:pt x="5355252" y="3293867"/>
                  <a:pt x="5374692" y="3277571"/>
                  <a:pt x="5376693" y="3275856"/>
                </a:cubicBezTo>
                <a:cubicBezTo>
                  <a:pt x="5425580" y="3229542"/>
                  <a:pt x="5453025" y="3169220"/>
                  <a:pt x="5451882" y="3110327"/>
                </a:cubicBezTo>
                <a:cubicBezTo>
                  <a:pt x="5450738" y="3054865"/>
                  <a:pt x="5495623" y="3007693"/>
                  <a:pt x="5517350" y="2988252"/>
                </a:cubicBezTo>
                <a:close/>
                <a:moveTo>
                  <a:pt x="4501304" y="2731525"/>
                </a:moveTo>
                <a:cubicBezTo>
                  <a:pt x="4423828" y="2731525"/>
                  <a:pt x="4360933" y="2794420"/>
                  <a:pt x="4360933" y="2871896"/>
                </a:cubicBezTo>
                <a:lnTo>
                  <a:pt x="4360933" y="2967383"/>
                </a:lnTo>
                <a:lnTo>
                  <a:pt x="4432119" y="2967383"/>
                </a:lnTo>
                <a:cubicBezTo>
                  <a:pt x="4503304" y="2967383"/>
                  <a:pt x="4561054" y="2909348"/>
                  <a:pt x="4561054" y="2838447"/>
                </a:cubicBezTo>
                <a:lnTo>
                  <a:pt x="4561054" y="2731525"/>
                </a:lnTo>
                <a:close/>
                <a:moveTo>
                  <a:pt x="5513919" y="2715802"/>
                </a:moveTo>
                <a:lnTo>
                  <a:pt x="5397563" y="2812432"/>
                </a:lnTo>
                <a:cubicBezTo>
                  <a:pt x="5393847" y="2815290"/>
                  <a:pt x="5393847" y="2821008"/>
                  <a:pt x="5397563" y="2825297"/>
                </a:cubicBezTo>
                <a:cubicBezTo>
                  <a:pt x="5401280" y="2829299"/>
                  <a:pt x="5406997" y="2830442"/>
                  <a:pt x="5410429" y="2827584"/>
                </a:cubicBezTo>
                <a:lnTo>
                  <a:pt x="5526498" y="2730953"/>
                </a:lnTo>
                <a:cubicBezTo>
                  <a:pt x="5530215" y="2728094"/>
                  <a:pt x="5530215" y="2722377"/>
                  <a:pt x="5526498" y="2718089"/>
                </a:cubicBezTo>
                <a:cubicBezTo>
                  <a:pt x="5523068" y="2714086"/>
                  <a:pt x="5517636" y="2712943"/>
                  <a:pt x="5513919" y="2715802"/>
                </a:cubicBezTo>
                <a:close/>
                <a:moveTo>
                  <a:pt x="5491335" y="2688642"/>
                </a:moveTo>
                <a:lnTo>
                  <a:pt x="5375264" y="2785844"/>
                </a:lnTo>
                <a:cubicBezTo>
                  <a:pt x="5371548" y="2788703"/>
                  <a:pt x="5371833" y="2794420"/>
                  <a:pt x="5375264" y="2798709"/>
                </a:cubicBezTo>
                <a:cubicBezTo>
                  <a:pt x="5378694" y="2802711"/>
                  <a:pt x="5384412" y="2803855"/>
                  <a:pt x="5387842" y="2800996"/>
                </a:cubicBezTo>
                <a:lnTo>
                  <a:pt x="5503913" y="2704080"/>
                </a:lnTo>
                <a:cubicBezTo>
                  <a:pt x="5507630" y="2701221"/>
                  <a:pt x="5507345" y="2695503"/>
                  <a:pt x="5503913" y="2691215"/>
                </a:cubicBezTo>
                <a:cubicBezTo>
                  <a:pt x="5500483" y="2686927"/>
                  <a:pt x="5494765" y="2685783"/>
                  <a:pt x="5491335" y="2688642"/>
                </a:cubicBezTo>
                <a:close/>
                <a:moveTo>
                  <a:pt x="5468463" y="2661482"/>
                </a:moveTo>
                <a:lnTo>
                  <a:pt x="5352679" y="2758398"/>
                </a:lnTo>
                <a:cubicBezTo>
                  <a:pt x="5348962" y="2761258"/>
                  <a:pt x="5348962" y="2766975"/>
                  <a:pt x="5352679" y="2771264"/>
                </a:cubicBezTo>
                <a:cubicBezTo>
                  <a:pt x="5356109" y="2775552"/>
                  <a:pt x="5361827" y="2776410"/>
                  <a:pt x="5365258" y="2773551"/>
                </a:cubicBezTo>
                <a:lnTo>
                  <a:pt x="5481328" y="2676921"/>
                </a:lnTo>
                <a:cubicBezTo>
                  <a:pt x="5484759" y="2674062"/>
                  <a:pt x="5484759" y="2668344"/>
                  <a:pt x="5481328" y="2664056"/>
                </a:cubicBezTo>
                <a:cubicBezTo>
                  <a:pt x="5477611" y="2659767"/>
                  <a:pt x="5471894" y="2658623"/>
                  <a:pt x="5468463" y="2661482"/>
                </a:cubicBezTo>
                <a:close/>
                <a:moveTo>
                  <a:pt x="5445878" y="2634323"/>
                </a:moveTo>
                <a:lnTo>
                  <a:pt x="5329807" y="2731239"/>
                </a:lnTo>
                <a:cubicBezTo>
                  <a:pt x="5326091" y="2734098"/>
                  <a:pt x="5326091" y="2739816"/>
                  <a:pt x="5329807" y="2744104"/>
                </a:cubicBezTo>
                <a:cubicBezTo>
                  <a:pt x="5333238" y="2748107"/>
                  <a:pt x="5338956" y="2749251"/>
                  <a:pt x="5342387" y="2746391"/>
                </a:cubicBezTo>
                <a:lnTo>
                  <a:pt x="5458457" y="2649762"/>
                </a:lnTo>
                <a:cubicBezTo>
                  <a:pt x="5462174" y="2646902"/>
                  <a:pt x="5461888" y="2641184"/>
                  <a:pt x="5458457" y="2636896"/>
                </a:cubicBezTo>
                <a:cubicBezTo>
                  <a:pt x="5455027" y="2632608"/>
                  <a:pt x="5449309" y="2631464"/>
                  <a:pt x="5445878" y="2634323"/>
                </a:cubicBezTo>
                <a:close/>
                <a:moveTo>
                  <a:pt x="5423293" y="2606878"/>
                </a:moveTo>
                <a:lnTo>
                  <a:pt x="5306936" y="2703508"/>
                </a:lnTo>
                <a:cubicBezTo>
                  <a:pt x="5303220" y="2706367"/>
                  <a:pt x="5303506" y="2712084"/>
                  <a:pt x="5306936" y="2716373"/>
                </a:cubicBezTo>
                <a:cubicBezTo>
                  <a:pt x="5310653" y="2720662"/>
                  <a:pt x="5316085" y="2721519"/>
                  <a:pt x="5319801" y="2718660"/>
                </a:cubicBezTo>
                <a:lnTo>
                  <a:pt x="5435872" y="2622030"/>
                </a:lnTo>
                <a:cubicBezTo>
                  <a:pt x="5439303" y="2619171"/>
                  <a:pt x="5439303" y="2613454"/>
                  <a:pt x="5435872" y="2609165"/>
                </a:cubicBezTo>
                <a:cubicBezTo>
                  <a:pt x="5432442" y="2605163"/>
                  <a:pt x="5426723" y="2604019"/>
                  <a:pt x="5423293" y="2606878"/>
                </a:cubicBezTo>
                <a:close/>
                <a:moveTo>
                  <a:pt x="5431298" y="2586616"/>
                </a:moveTo>
                <a:cubicBezTo>
                  <a:pt x="5436229" y="2587009"/>
                  <a:pt x="5441018" y="2589296"/>
                  <a:pt x="5444449" y="2593441"/>
                </a:cubicBezTo>
                <a:lnTo>
                  <a:pt x="5680021" y="2875898"/>
                </a:lnTo>
                <a:cubicBezTo>
                  <a:pt x="5686881" y="2884189"/>
                  <a:pt x="5685738" y="2896196"/>
                  <a:pt x="5677733" y="2903058"/>
                </a:cubicBezTo>
                <a:lnTo>
                  <a:pt x="5541079" y="3016841"/>
                </a:lnTo>
                <a:lnTo>
                  <a:pt x="5531645" y="3005691"/>
                </a:lnTo>
                <a:cubicBezTo>
                  <a:pt x="5512205" y="3023131"/>
                  <a:pt x="5473324" y="3064299"/>
                  <a:pt x="5474181" y="3109755"/>
                </a:cubicBezTo>
                <a:cubicBezTo>
                  <a:pt x="5475610" y="3175223"/>
                  <a:pt x="5445592" y="3241550"/>
                  <a:pt x="5391845" y="3292151"/>
                </a:cubicBezTo>
                <a:cubicBezTo>
                  <a:pt x="5390701" y="3293581"/>
                  <a:pt x="5278634" y="3387067"/>
                  <a:pt x="5059358" y="3570035"/>
                </a:cubicBezTo>
                <a:cubicBezTo>
                  <a:pt x="5019333" y="3603484"/>
                  <a:pt x="4959868" y="3598052"/>
                  <a:pt x="4926419" y="3558027"/>
                </a:cubicBezTo>
                <a:lnTo>
                  <a:pt x="4637958" y="3211816"/>
                </a:lnTo>
                <a:cubicBezTo>
                  <a:pt x="4604509" y="3171793"/>
                  <a:pt x="4609941" y="3112328"/>
                  <a:pt x="4649966" y="3078879"/>
                </a:cubicBezTo>
                <a:cubicBezTo>
                  <a:pt x="4868098" y="2897055"/>
                  <a:pt x="4979309" y="2804713"/>
                  <a:pt x="4980738" y="2803569"/>
                </a:cubicBezTo>
                <a:cubicBezTo>
                  <a:pt x="5042204" y="2756683"/>
                  <a:pt x="5108244" y="2739816"/>
                  <a:pt x="5177143" y="2753825"/>
                </a:cubicBezTo>
                <a:cubicBezTo>
                  <a:pt x="5221742" y="2762972"/>
                  <a:pt x="5269199" y="2731811"/>
                  <a:pt x="5290069" y="2716087"/>
                </a:cubicBezTo>
                <a:lnTo>
                  <a:pt x="5280635" y="2704937"/>
                </a:lnTo>
                <a:lnTo>
                  <a:pt x="5417289" y="2591154"/>
                </a:lnTo>
                <a:cubicBezTo>
                  <a:pt x="5421291" y="2587724"/>
                  <a:pt x="5426366" y="2586222"/>
                  <a:pt x="5431298" y="2586616"/>
                </a:cubicBezTo>
                <a:close/>
                <a:moveTo>
                  <a:pt x="5976056" y="2538006"/>
                </a:moveTo>
                <a:cubicBezTo>
                  <a:pt x="5948487" y="2541871"/>
                  <a:pt x="5922777" y="2557581"/>
                  <a:pt x="5907016" y="2583150"/>
                </a:cubicBezTo>
                <a:lnTo>
                  <a:pt x="5872710" y="2639183"/>
                </a:lnTo>
                <a:lnTo>
                  <a:pt x="5914449" y="2664914"/>
                </a:lnTo>
                <a:cubicBezTo>
                  <a:pt x="5956189" y="2690643"/>
                  <a:pt x="6010794" y="2677493"/>
                  <a:pt x="6036239" y="2635468"/>
                </a:cubicBezTo>
                <a:lnTo>
                  <a:pt x="6074833" y="2572858"/>
                </a:lnTo>
                <a:lnTo>
                  <a:pt x="6039954" y="2551416"/>
                </a:lnTo>
                <a:cubicBezTo>
                  <a:pt x="6028590" y="2544412"/>
                  <a:pt x="6016350" y="2540052"/>
                  <a:pt x="6003945" y="2538163"/>
                </a:cubicBezTo>
                <a:cubicBezTo>
                  <a:pt x="5994642" y="2536745"/>
                  <a:pt x="5985246" y="2536718"/>
                  <a:pt x="5976056" y="2538006"/>
                </a:cubicBezTo>
                <a:close/>
                <a:moveTo>
                  <a:pt x="2566127" y="2494525"/>
                </a:moveTo>
                <a:cubicBezTo>
                  <a:pt x="2553548" y="2494525"/>
                  <a:pt x="2543542" y="2504817"/>
                  <a:pt x="2543542" y="2517110"/>
                </a:cubicBezTo>
                <a:cubicBezTo>
                  <a:pt x="2543542" y="2529689"/>
                  <a:pt x="2553548" y="2539695"/>
                  <a:pt x="2566127" y="2539695"/>
                </a:cubicBezTo>
                <a:lnTo>
                  <a:pt x="2659327" y="2539695"/>
                </a:lnTo>
                <a:lnTo>
                  <a:pt x="2659327" y="2494811"/>
                </a:lnTo>
                <a:lnTo>
                  <a:pt x="2659327" y="2494525"/>
                </a:lnTo>
                <a:close/>
                <a:moveTo>
                  <a:pt x="1865987" y="2474798"/>
                </a:moveTo>
                <a:lnTo>
                  <a:pt x="1814526" y="2527972"/>
                </a:lnTo>
                <a:cubicBezTo>
                  <a:pt x="1747343" y="2596872"/>
                  <a:pt x="1748772" y="2706939"/>
                  <a:pt x="1817672" y="2773837"/>
                </a:cubicBezTo>
                <a:lnTo>
                  <a:pt x="1902294" y="2856173"/>
                </a:lnTo>
                <a:lnTo>
                  <a:pt x="1963760" y="2792992"/>
                </a:lnTo>
                <a:cubicBezTo>
                  <a:pt x="2025226" y="2729811"/>
                  <a:pt x="2023797" y="2628606"/>
                  <a:pt x="1960902" y="2567140"/>
                </a:cubicBezTo>
                <a:close/>
                <a:moveTo>
                  <a:pt x="1423720" y="2414476"/>
                </a:moveTo>
                <a:lnTo>
                  <a:pt x="1507771" y="2495954"/>
                </a:lnTo>
                <a:lnTo>
                  <a:pt x="1392557" y="2613740"/>
                </a:lnTo>
                <a:lnTo>
                  <a:pt x="1514345" y="2732955"/>
                </a:lnTo>
                <a:lnTo>
                  <a:pt x="1427435" y="2823295"/>
                </a:lnTo>
                <a:lnTo>
                  <a:pt x="1305646" y="2703795"/>
                </a:lnTo>
                <a:lnTo>
                  <a:pt x="1191007" y="2821008"/>
                </a:lnTo>
                <a:lnTo>
                  <a:pt x="1107240" y="2739817"/>
                </a:lnTo>
                <a:lnTo>
                  <a:pt x="1221596" y="2622602"/>
                </a:lnTo>
                <a:lnTo>
                  <a:pt x="1102094" y="2506818"/>
                </a:lnTo>
                <a:lnTo>
                  <a:pt x="1189291" y="2416477"/>
                </a:lnTo>
                <a:lnTo>
                  <a:pt x="1308506" y="2532262"/>
                </a:lnTo>
                <a:close/>
                <a:moveTo>
                  <a:pt x="2566127" y="2387603"/>
                </a:moveTo>
                <a:cubicBezTo>
                  <a:pt x="2553834" y="2387603"/>
                  <a:pt x="2543542" y="2397895"/>
                  <a:pt x="2543542" y="2410188"/>
                </a:cubicBezTo>
                <a:cubicBezTo>
                  <a:pt x="2543542" y="2422767"/>
                  <a:pt x="2553548" y="2432772"/>
                  <a:pt x="2566127" y="2432772"/>
                </a:cubicBezTo>
                <a:lnTo>
                  <a:pt x="2659327" y="2432772"/>
                </a:lnTo>
                <a:lnTo>
                  <a:pt x="2659327" y="2387889"/>
                </a:lnTo>
                <a:lnTo>
                  <a:pt x="2659327" y="2387603"/>
                </a:lnTo>
                <a:close/>
                <a:moveTo>
                  <a:pt x="715001" y="2382742"/>
                </a:moveTo>
                <a:lnTo>
                  <a:pt x="653534" y="2445924"/>
                </a:lnTo>
                <a:cubicBezTo>
                  <a:pt x="592069" y="2509105"/>
                  <a:pt x="593498" y="2610308"/>
                  <a:pt x="656680" y="2671775"/>
                </a:cubicBezTo>
                <a:lnTo>
                  <a:pt x="751309" y="2764117"/>
                </a:lnTo>
                <a:lnTo>
                  <a:pt x="803054" y="2710942"/>
                </a:lnTo>
                <a:cubicBezTo>
                  <a:pt x="869952" y="2642042"/>
                  <a:pt x="868522" y="2531975"/>
                  <a:pt x="799624" y="2465078"/>
                </a:cubicBezTo>
                <a:close/>
                <a:moveTo>
                  <a:pt x="4129935" y="2379311"/>
                </a:moveTo>
                <a:lnTo>
                  <a:pt x="4129935" y="2514536"/>
                </a:lnTo>
                <a:lnTo>
                  <a:pt x="4270306" y="2514822"/>
                </a:lnTo>
                <a:lnTo>
                  <a:pt x="4270878" y="2618028"/>
                </a:lnTo>
                <a:lnTo>
                  <a:pt x="4130507" y="2617741"/>
                </a:lnTo>
                <a:lnTo>
                  <a:pt x="4130507" y="2752395"/>
                </a:lnTo>
                <a:lnTo>
                  <a:pt x="4034449" y="2752681"/>
                </a:lnTo>
                <a:lnTo>
                  <a:pt x="4034449" y="2618028"/>
                </a:lnTo>
                <a:lnTo>
                  <a:pt x="3897794" y="2618599"/>
                </a:lnTo>
                <a:lnTo>
                  <a:pt x="3897222" y="2515394"/>
                </a:lnTo>
                <a:lnTo>
                  <a:pt x="4033877" y="2515108"/>
                </a:lnTo>
                <a:lnTo>
                  <a:pt x="4033877" y="2379597"/>
                </a:lnTo>
                <a:close/>
                <a:moveTo>
                  <a:pt x="1424861" y="2366732"/>
                </a:moveTo>
                <a:lnTo>
                  <a:pt x="1306789" y="2487949"/>
                </a:lnTo>
                <a:lnTo>
                  <a:pt x="1185858" y="2370163"/>
                </a:lnTo>
                <a:lnTo>
                  <a:pt x="1055779" y="2503386"/>
                </a:lnTo>
                <a:lnTo>
                  <a:pt x="1176997" y="2621173"/>
                </a:lnTo>
                <a:lnTo>
                  <a:pt x="1059210" y="2742389"/>
                </a:lnTo>
                <a:lnTo>
                  <a:pt x="1192434" y="2871896"/>
                </a:lnTo>
                <a:lnTo>
                  <a:pt x="1310506" y="2750680"/>
                </a:lnTo>
                <a:lnTo>
                  <a:pt x="1431723" y="2868466"/>
                </a:lnTo>
                <a:lnTo>
                  <a:pt x="1561516" y="2735242"/>
                </a:lnTo>
                <a:lnTo>
                  <a:pt x="1440299" y="2617456"/>
                </a:lnTo>
                <a:lnTo>
                  <a:pt x="1558085" y="2496239"/>
                </a:lnTo>
                <a:close/>
                <a:moveTo>
                  <a:pt x="4009004" y="2357869"/>
                </a:moveTo>
                <a:lnTo>
                  <a:pt x="4009004" y="2494524"/>
                </a:lnTo>
                <a:lnTo>
                  <a:pt x="3872349" y="2494524"/>
                </a:lnTo>
                <a:lnTo>
                  <a:pt x="3872349" y="2644615"/>
                </a:lnTo>
                <a:lnTo>
                  <a:pt x="4009004" y="2644615"/>
                </a:lnTo>
                <a:lnTo>
                  <a:pt x="4009004" y="2781270"/>
                </a:lnTo>
                <a:lnTo>
                  <a:pt x="4159095" y="2781270"/>
                </a:lnTo>
                <a:lnTo>
                  <a:pt x="4159095" y="2644615"/>
                </a:lnTo>
                <a:lnTo>
                  <a:pt x="4295750" y="2644615"/>
                </a:lnTo>
                <a:lnTo>
                  <a:pt x="4295750" y="2494524"/>
                </a:lnTo>
                <a:lnTo>
                  <a:pt x="4159095" y="2494524"/>
                </a:lnTo>
                <a:lnTo>
                  <a:pt x="4159095" y="2357869"/>
                </a:lnTo>
                <a:close/>
                <a:moveTo>
                  <a:pt x="5596542" y="2307554"/>
                </a:moveTo>
                <a:lnTo>
                  <a:pt x="5570813" y="2349294"/>
                </a:lnTo>
                <a:cubicBezTo>
                  <a:pt x="5545082" y="2391033"/>
                  <a:pt x="5558233" y="2445637"/>
                  <a:pt x="5600259" y="2471082"/>
                </a:cubicBezTo>
                <a:lnTo>
                  <a:pt x="5662869" y="2509677"/>
                </a:lnTo>
                <a:lnTo>
                  <a:pt x="5684309" y="2474512"/>
                </a:lnTo>
                <a:cubicBezTo>
                  <a:pt x="5712041" y="2429342"/>
                  <a:pt x="5698032" y="2369877"/>
                  <a:pt x="5652576" y="2341861"/>
                </a:cubicBezTo>
                <a:close/>
                <a:moveTo>
                  <a:pt x="2566127" y="2280394"/>
                </a:moveTo>
                <a:cubicBezTo>
                  <a:pt x="2553548" y="2280394"/>
                  <a:pt x="2543542" y="2290687"/>
                  <a:pt x="2543542" y="2302980"/>
                </a:cubicBezTo>
                <a:cubicBezTo>
                  <a:pt x="2543542" y="2315559"/>
                  <a:pt x="2553548" y="2325565"/>
                  <a:pt x="2566127" y="2325565"/>
                </a:cubicBezTo>
                <a:lnTo>
                  <a:pt x="2659327" y="2325565"/>
                </a:lnTo>
                <a:lnTo>
                  <a:pt x="2659327" y="2280680"/>
                </a:lnTo>
                <a:lnTo>
                  <a:pt x="2659327" y="2280394"/>
                </a:lnTo>
                <a:close/>
                <a:moveTo>
                  <a:pt x="3123323" y="2240942"/>
                </a:moveTo>
                <a:cubicBezTo>
                  <a:pt x="2980093" y="2240656"/>
                  <a:pt x="2863451" y="2357012"/>
                  <a:pt x="2863165" y="2500814"/>
                </a:cubicBezTo>
                <a:lnTo>
                  <a:pt x="2862593" y="2752110"/>
                </a:lnTo>
                <a:lnTo>
                  <a:pt x="2903189" y="2752110"/>
                </a:lnTo>
                <a:lnTo>
                  <a:pt x="2903761" y="2541410"/>
                </a:lnTo>
                <a:cubicBezTo>
                  <a:pt x="2904333" y="2397609"/>
                  <a:pt x="3020689" y="2281252"/>
                  <a:pt x="3163919" y="2281538"/>
                </a:cubicBezTo>
                <a:cubicBezTo>
                  <a:pt x="3224813" y="2281824"/>
                  <a:pt x="3281133" y="2303265"/>
                  <a:pt x="3325160" y="2339001"/>
                </a:cubicBezTo>
                <a:cubicBezTo>
                  <a:pt x="3277989" y="2279537"/>
                  <a:pt x="3205087" y="2241227"/>
                  <a:pt x="3123323" y="2240942"/>
                </a:cubicBezTo>
                <a:close/>
                <a:moveTo>
                  <a:pt x="3130470" y="2189482"/>
                </a:moveTo>
                <a:cubicBezTo>
                  <a:pt x="3304290" y="2190054"/>
                  <a:pt x="3444947" y="2331282"/>
                  <a:pt x="3444375" y="2504245"/>
                </a:cubicBezTo>
                <a:lnTo>
                  <a:pt x="3443518" y="2773837"/>
                </a:lnTo>
                <a:lnTo>
                  <a:pt x="3442660" y="3077164"/>
                </a:lnTo>
                <a:cubicBezTo>
                  <a:pt x="3442088" y="3249840"/>
                  <a:pt x="3301145" y="3390212"/>
                  <a:pt x="3128469" y="3390212"/>
                </a:cubicBezTo>
                <a:lnTo>
                  <a:pt x="3127611" y="3390212"/>
                </a:lnTo>
                <a:cubicBezTo>
                  <a:pt x="3043846" y="3389926"/>
                  <a:pt x="2964941" y="3357048"/>
                  <a:pt x="2905762" y="3297584"/>
                </a:cubicBezTo>
                <a:cubicBezTo>
                  <a:pt x="2846869" y="3238405"/>
                  <a:pt x="2814278" y="3159214"/>
                  <a:pt x="2814564" y="3075449"/>
                </a:cubicBezTo>
                <a:lnTo>
                  <a:pt x="2815421" y="2805856"/>
                </a:lnTo>
                <a:lnTo>
                  <a:pt x="2815421" y="2772693"/>
                </a:lnTo>
                <a:lnTo>
                  <a:pt x="2815421" y="2772122"/>
                </a:lnTo>
                <a:lnTo>
                  <a:pt x="2816279" y="2502529"/>
                </a:lnTo>
                <a:cubicBezTo>
                  <a:pt x="2816851" y="2329853"/>
                  <a:pt x="2957794" y="2189482"/>
                  <a:pt x="3130470" y="2189482"/>
                </a:cubicBezTo>
                <a:close/>
                <a:moveTo>
                  <a:pt x="5964765" y="2175187"/>
                </a:moveTo>
                <a:lnTo>
                  <a:pt x="6015081" y="2206635"/>
                </a:lnTo>
                <a:lnTo>
                  <a:pt x="5970197" y="2277820"/>
                </a:lnTo>
                <a:lnTo>
                  <a:pt x="6043671" y="2324134"/>
                </a:lnTo>
                <a:lnTo>
                  <a:pt x="6009935" y="2378454"/>
                </a:lnTo>
                <a:lnTo>
                  <a:pt x="5936463" y="2331854"/>
                </a:lnTo>
                <a:lnTo>
                  <a:pt x="5891864" y="2402183"/>
                </a:lnTo>
                <a:lnTo>
                  <a:pt x="5841261" y="2370449"/>
                </a:lnTo>
                <a:lnTo>
                  <a:pt x="5886147" y="2300120"/>
                </a:lnTo>
                <a:lnTo>
                  <a:pt x="5814388" y="2254950"/>
                </a:lnTo>
                <a:lnTo>
                  <a:pt x="5848123" y="2200918"/>
                </a:lnTo>
                <a:lnTo>
                  <a:pt x="5919881" y="2246087"/>
                </a:lnTo>
                <a:close/>
                <a:moveTo>
                  <a:pt x="2566127" y="2173472"/>
                </a:moveTo>
                <a:cubicBezTo>
                  <a:pt x="2553548" y="2173472"/>
                  <a:pt x="2543542" y="2183764"/>
                  <a:pt x="2543542" y="2196058"/>
                </a:cubicBezTo>
                <a:cubicBezTo>
                  <a:pt x="2543542" y="2208637"/>
                  <a:pt x="2553548" y="2218643"/>
                  <a:pt x="2566127" y="2218357"/>
                </a:cubicBezTo>
                <a:lnTo>
                  <a:pt x="2659327" y="2218357"/>
                </a:lnTo>
                <a:lnTo>
                  <a:pt x="2659327" y="2173472"/>
                </a:lnTo>
                <a:close/>
                <a:moveTo>
                  <a:pt x="4325196" y="2172043"/>
                </a:moveTo>
                <a:lnTo>
                  <a:pt x="4325196" y="2231792"/>
                </a:lnTo>
                <a:cubicBezTo>
                  <a:pt x="4325196" y="2309268"/>
                  <a:pt x="4388092" y="2372164"/>
                  <a:pt x="4465568" y="2372164"/>
                </a:cubicBezTo>
                <a:lnTo>
                  <a:pt x="4561054" y="2372164"/>
                </a:lnTo>
                <a:lnTo>
                  <a:pt x="4561054" y="2300978"/>
                </a:lnTo>
                <a:cubicBezTo>
                  <a:pt x="4561054" y="2229792"/>
                  <a:pt x="4503304" y="2171757"/>
                  <a:pt x="4432119" y="2172043"/>
                </a:cubicBezTo>
                <a:close/>
                <a:moveTo>
                  <a:pt x="3735981" y="2171757"/>
                </a:moveTo>
                <a:cubicBezTo>
                  <a:pt x="3664508" y="2171757"/>
                  <a:pt x="3606759" y="2229792"/>
                  <a:pt x="3607046" y="2300692"/>
                </a:cubicBezTo>
                <a:lnTo>
                  <a:pt x="3607046" y="2407614"/>
                </a:lnTo>
                <a:lnTo>
                  <a:pt x="3666796" y="2407614"/>
                </a:lnTo>
                <a:cubicBezTo>
                  <a:pt x="3744272" y="2407614"/>
                  <a:pt x="3807167" y="2344719"/>
                  <a:pt x="3807167" y="2267243"/>
                </a:cubicBezTo>
                <a:lnTo>
                  <a:pt x="3807167" y="2171757"/>
                </a:lnTo>
                <a:close/>
                <a:moveTo>
                  <a:pt x="5961335" y="2137450"/>
                </a:moveTo>
                <a:lnTo>
                  <a:pt x="5912162" y="2217498"/>
                </a:lnTo>
                <a:lnTo>
                  <a:pt x="5832114" y="2168326"/>
                </a:lnTo>
                <a:lnTo>
                  <a:pt x="5778081" y="2256379"/>
                </a:lnTo>
                <a:lnTo>
                  <a:pt x="5858129" y="2305553"/>
                </a:lnTo>
                <a:lnTo>
                  <a:pt x="5808957" y="2385602"/>
                </a:lnTo>
                <a:lnTo>
                  <a:pt x="5897010" y="2439634"/>
                </a:lnTo>
                <a:lnTo>
                  <a:pt x="5946469" y="2359585"/>
                </a:lnTo>
                <a:lnTo>
                  <a:pt x="6026231" y="2408758"/>
                </a:lnTo>
                <a:lnTo>
                  <a:pt x="6080265" y="2320705"/>
                </a:lnTo>
                <a:lnTo>
                  <a:pt x="6000215" y="2271532"/>
                </a:lnTo>
                <a:lnTo>
                  <a:pt x="6049389" y="2191484"/>
                </a:lnTo>
                <a:close/>
                <a:moveTo>
                  <a:pt x="4000427" y="2085418"/>
                </a:moveTo>
                <a:cubicBezTo>
                  <a:pt x="3957829" y="2085418"/>
                  <a:pt x="3921236" y="2111720"/>
                  <a:pt x="3906084" y="2149171"/>
                </a:cubicBezTo>
                <a:lnTo>
                  <a:pt x="4267447" y="2149171"/>
                </a:lnTo>
                <a:cubicBezTo>
                  <a:pt x="4252581" y="2112006"/>
                  <a:pt x="4215987" y="2085418"/>
                  <a:pt x="4173390" y="2085418"/>
                </a:cubicBezTo>
                <a:close/>
                <a:moveTo>
                  <a:pt x="1549548" y="2083229"/>
                </a:moveTo>
                <a:cubicBezTo>
                  <a:pt x="1537394" y="2084757"/>
                  <a:pt x="1525422" y="2088062"/>
                  <a:pt x="1514058" y="2093137"/>
                </a:cubicBezTo>
                <a:lnTo>
                  <a:pt x="1834539" y="2405042"/>
                </a:lnTo>
                <a:cubicBezTo>
                  <a:pt x="1853407" y="2359014"/>
                  <a:pt x="1843973" y="2304122"/>
                  <a:pt x="1805950" y="2267243"/>
                </a:cubicBezTo>
                <a:lnTo>
                  <a:pt x="1652428" y="2117724"/>
                </a:lnTo>
                <a:cubicBezTo>
                  <a:pt x="1624126" y="2090064"/>
                  <a:pt x="1586013" y="2078646"/>
                  <a:pt x="1549548" y="2083229"/>
                </a:cubicBezTo>
                <a:close/>
                <a:moveTo>
                  <a:pt x="6195477" y="2067408"/>
                </a:moveTo>
                <a:lnTo>
                  <a:pt x="6174036" y="2102572"/>
                </a:lnTo>
                <a:cubicBezTo>
                  <a:pt x="6146019" y="2148029"/>
                  <a:pt x="6160027" y="2207493"/>
                  <a:pt x="6205484" y="2235510"/>
                </a:cubicBezTo>
                <a:lnTo>
                  <a:pt x="6261517" y="2269816"/>
                </a:lnTo>
                <a:lnTo>
                  <a:pt x="6287248" y="2228077"/>
                </a:lnTo>
                <a:cubicBezTo>
                  <a:pt x="6312977" y="2186338"/>
                  <a:pt x="6299827" y="2131732"/>
                  <a:pt x="6258087" y="2106002"/>
                </a:cubicBezTo>
                <a:close/>
                <a:moveTo>
                  <a:pt x="4000427" y="2038533"/>
                </a:moveTo>
                <a:lnTo>
                  <a:pt x="4173390" y="2038533"/>
                </a:lnTo>
                <a:cubicBezTo>
                  <a:pt x="4242289" y="2038533"/>
                  <a:pt x="4300039" y="2085704"/>
                  <a:pt x="4316906" y="2149171"/>
                </a:cubicBezTo>
                <a:lnTo>
                  <a:pt x="4432119" y="2149171"/>
                </a:lnTo>
                <a:cubicBezTo>
                  <a:pt x="4515598" y="2149171"/>
                  <a:pt x="4583926" y="2217212"/>
                  <a:pt x="4583926" y="2300978"/>
                </a:cubicBezTo>
                <a:lnTo>
                  <a:pt x="4583926" y="2838161"/>
                </a:lnTo>
                <a:cubicBezTo>
                  <a:pt x="4583926" y="2921927"/>
                  <a:pt x="4515598" y="2989968"/>
                  <a:pt x="4432119" y="2989968"/>
                </a:cubicBezTo>
                <a:lnTo>
                  <a:pt x="3735981" y="2989968"/>
                </a:lnTo>
                <a:cubicBezTo>
                  <a:pt x="3652215" y="2989968"/>
                  <a:pt x="3584174" y="2921927"/>
                  <a:pt x="3584174" y="2838161"/>
                </a:cubicBezTo>
                <a:lnTo>
                  <a:pt x="3584174" y="2300978"/>
                </a:lnTo>
                <a:cubicBezTo>
                  <a:pt x="3584174" y="2217212"/>
                  <a:pt x="3652215" y="2149171"/>
                  <a:pt x="3735981" y="2149171"/>
                </a:cubicBezTo>
                <a:lnTo>
                  <a:pt x="3856912" y="2149171"/>
                </a:lnTo>
                <a:cubicBezTo>
                  <a:pt x="3873779" y="2085704"/>
                  <a:pt x="3931528" y="2038533"/>
                  <a:pt x="4000427" y="2038533"/>
                </a:cubicBezTo>
                <a:close/>
                <a:moveTo>
                  <a:pt x="5748920" y="2029956"/>
                </a:moveTo>
                <a:cubicBezTo>
                  <a:pt x="5721761" y="2025096"/>
                  <a:pt x="5693172" y="2037104"/>
                  <a:pt x="5677733" y="2061976"/>
                </a:cubicBezTo>
                <a:lnTo>
                  <a:pt x="5615411" y="2163180"/>
                </a:lnTo>
                <a:cubicBezTo>
                  <a:pt x="5599973" y="2188052"/>
                  <a:pt x="5602260" y="2219215"/>
                  <a:pt x="5618841" y="2241514"/>
                </a:cubicBezTo>
                <a:close/>
                <a:moveTo>
                  <a:pt x="2807416" y="1947335"/>
                </a:moveTo>
                <a:cubicBezTo>
                  <a:pt x="2807416" y="1969920"/>
                  <a:pt x="2807416" y="1991362"/>
                  <a:pt x="2807416" y="2010802"/>
                </a:cubicBezTo>
                <a:cubicBezTo>
                  <a:pt x="2807416" y="2060261"/>
                  <a:pt x="2847726" y="2100571"/>
                  <a:pt x="2897185" y="2100571"/>
                </a:cubicBezTo>
                <a:lnTo>
                  <a:pt x="3459527" y="2100571"/>
                </a:lnTo>
                <a:cubicBezTo>
                  <a:pt x="3508986" y="2100571"/>
                  <a:pt x="3549010" y="2060261"/>
                  <a:pt x="3549010" y="2010802"/>
                </a:cubicBezTo>
                <a:cubicBezTo>
                  <a:pt x="3549010" y="1991362"/>
                  <a:pt x="3549010" y="1969920"/>
                  <a:pt x="3549010" y="1947335"/>
                </a:cubicBezTo>
                <a:close/>
                <a:moveTo>
                  <a:pt x="1229600" y="1920997"/>
                </a:moveTo>
                <a:cubicBezTo>
                  <a:pt x="1188646" y="1921533"/>
                  <a:pt x="1147835" y="1937614"/>
                  <a:pt x="1116960" y="1969062"/>
                </a:cubicBezTo>
                <a:lnTo>
                  <a:pt x="1024617" y="2063977"/>
                </a:lnTo>
                <a:lnTo>
                  <a:pt x="1077793" y="2115722"/>
                </a:lnTo>
                <a:cubicBezTo>
                  <a:pt x="1146692" y="2182620"/>
                  <a:pt x="1256758" y="2181191"/>
                  <a:pt x="1323657" y="2112292"/>
                </a:cubicBezTo>
                <a:lnTo>
                  <a:pt x="1406278" y="2027669"/>
                </a:lnTo>
                <a:lnTo>
                  <a:pt x="1343097" y="1966203"/>
                </a:lnTo>
                <a:cubicBezTo>
                  <a:pt x="1311650" y="1935470"/>
                  <a:pt x="1270553" y="1920461"/>
                  <a:pt x="1229600" y="1920997"/>
                </a:cubicBezTo>
                <a:close/>
                <a:moveTo>
                  <a:pt x="5884866" y="1900269"/>
                </a:moveTo>
                <a:cubicBezTo>
                  <a:pt x="5859531" y="1903796"/>
                  <a:pt x="5835973" y="1918139"/>
                  <a:pt x="5821822" y="1941618"/>
                </a:cubicBezTo>
                <a:lnTo>
                  <a:pt x="5783227" y="2004226"/>
                </a:lnTo>
                <a:lnTo>
                  <a:pt x="5818105" y="2025668"/>
                </a:lnTo>
                <a:cubicBezTo>
                  <a:pt x="5863561" y="2053400"/>
                  <a:pt x="5923025" y="2039391"/>
                  <a:pt x="5951043" y="1993934"/>
                </a:cubicBezTo>
                <a:lnTo>
                  <a:pt x="5985351" y="1938186"/>
                </a:lnTo>
                <a:lnTo>
                  <a:pt x="5943610" y="1912457"/>
                </a:lnTo>
                <a:cubicBezTo>
                  <a:pt x="5933175" y="1906095"/>
                  <a:pt x="5921918" y="1902128"/>
                  <a:pt x="5910509" y="1900409"/>
                </a:cubicBezTo>
                <a:cubicBezTo>
                  <a:pt x="5901953" y="1899119"/>
                  <a:pt x="5893311" y="1899093"/>
                  <a:pt x="5884866" y="1900269"/>
                </a:cubicBezTo>
                <a:close/>
                <a:moveTo>
                  <a:pt x="5174531" y="1893544"/>
                </a:moveTo>
                <a:cubicBezTo>
                  <a:pt x="5139710" y="1890765"/>
                  <a:pt x="5103885" y="1894517"/>
                  <a:pt x="5068792" y="1905596"/>
                </a:cubicBezTo>
                <a:lnTo>
                  <a:pt x="5075939" y="1923892"/>
                </a:lnTo>
                <a:cubicBezTo>
                  <a:pt x="5209735" y="1893588"/>
                  <a:pt x="5348962" y="1965632"/>
                  <a:pt x="5398993" y="2097712"/>
                </a:cubicBezTo>
                <a:cubicBezTo>
                  <a:pt x="5429297" y="2177760"/>
                  <a:pt x="5420149" y="2263241"/>
                  <a:pt x="5381554" y="2332712"/>
                </a:cubicBezTo>
                <a:cubicBezTo>
                  <a:pt x="5432728" y="2259811"/>
                  <a:pt x="5448165" y="2163466"/>
                  <a:pt x="5413859" y="2073412"/>
                </a:cubicBezTo>
                <a:cubicBezTo>
                  <a:pt x="5374408" y="1968991"/>
                  <a:pt x="5278992" y="1901879"/>
                  <a:pt x="5174531" y="1893544"/>
                </a:cubicBezTo>
                <a:close/>
                <a:moveTo>
                  <a:pt x="5005038" y="1893016"/>
                </a:moveTo>
                <a:lnTo>
                  <a:pt x="5234321" y="2499384"/>
                </a:lnTo>
                <a:cubicBezTo>
                  <a:pt x="5071079" y="2550844"/>
                  <a:pt x="4894400" y="2466221"/>
                  <a:pt x="4833220" y="2304408"/>
                </a:cubicBezTo>
                <a:cubicBezTo>
                  <a:pt x="4772040" y="2142596"/>
                  <a:pt x="4848658" y="1962486"/>
                  <a:pt x="5005038" y="1893016"/>
                </a:cubicBezTo>
                <a:close/>
                <a:moveTo>
                  <a:pt x="1228885" y="1892766"/>
                </a:moveTo>
                <a:cubicBezTo>
                  <a:pt x="1276986" y="1892086"/>
                  <a:pt x="1325373" y="1909740"/>
                  <a:pt x="1362538" y="1945905"/>
                </a:cubicBezTo>
                <a:lnTo>
                  <a:pt x="1470031" y="2050540"/>
                </a:lnTo>
                <a:cubicBezTo>
                  <a:pt x="1539788" y="2008800"/>
                  <a:pt x="1631558" y="2016806"/>
                  <a:pt x="1692738" y="2076270"/>
                </a:cubicBezTo>
                <a:lnTo>
                  <a:pt x="1846260" y="2225790"/>
                </a:lnTo>
                <a:cubicBezTo>
                  <a:pt x="1907154" y="2285254"/>
                  <a:pt x="1918018" y="2376738"/>
                  <a:pt x="1877993" y="2447638"/>
                </a:cubicBezTo>
                <a:lnTo>
                  <a:pt x="1980342" y="2547127"/>
                </a:lnTo>
                <a:cubicBezTo>
                  <a:pt x="2054672" y="2619171"/>
                  <a:pt x="2056388" y="2738386"/>
                  <a:pt x="1984058" y="2812432"/>
                </a:cubicBezTo>
                <a:lnTo>
                  <a:pt x="1969027" y="2827870"/>
                </a:lnTo>
                <a:lnTo>
                  <a:pt x="2263657" y="2827870"/>
                </a:lnTo>
                <a:cubicBezTo>
                  <a:pt x="2272520" y="2827870"/>
                  <a:pt x="2279667" y="2835017"/>
                  <a:pt x="2279667" y="2843880"/>
                </a:cubicBezTo>
                <a:lnTo>
                  <a:pt x="2279667" y="2992541"/>
                </a:lnTo>
                <a:lnTo>
                  <a:pt x="2267660" y="2992541"/>
                </a:lnTo>
                <a:cubicBezTo>
                  <a:pt x="2268517" y="3014555"/>
                  <a:pt x="2274235" y="3061440"/>
                  <a:pt x="2303682" y="3085169"/>
                </a:cubicBezTo>
                <a:cubicBezTo>
                  <a:pt x="2346279" y="3119190"/>
                  <a:pt x="2372866" y="3174081"/>
                  <a:pt x="2376583" y="3235546"/>
                </a:cubicBezTo>
                <a:cubicBezTo>
                  <a:pt x="2376869" y="3236976"/>
                  <a:pt x="2377155" y="3359050"/>
                  <a:pt x="2377155" y="3597195"/>
                </a:cubicBezTo>
                <a:cubicBezTo>
                  <a:pt x="2377155" y="3640649"/>
                  <a:pt x="2341705" y="3676100"/>
                  <a:pt x="2298250" y="3676100"/>
                </a:cubicBezTo>
                <a:lnTo>
                  <a:pt x="1921735" y="3676100"/>
                </a:lnTo>
                <a:cubicBezTo>
                  <a:pt x="1878280" y="3676100"/>
                  <a:pt x="1842830" y="3640649"/>
                  <a:pt x="1842830" y="3597195"/>
                </a:cubicBezTo>
                <a:cubicBezTo>
                  <a:pt x="1842830" y="3360193"/>
                  <a:pt x="1843116" y="3239263"/>
                  <a:pt x="1843116" y="3237833"/>
                </a:cubicBezTo>
                <a:cubicBezTo>
                  <a:pt x="1845974" y="3173222"/>
                  <a:pt x="1870561" y="3121763"/>
                  <a:pt x="1916303" y="3085169"/>
                </a:cubicBezTo>
                <a:cubicBezTo>
                  <a:pt x="1946035" y="3061440"/>
                  <a:pt x="1951468" y="3014269"/>
                  <a:pt x="1952611" y="2992541"/>
                </a:cubicBezTo>
                <a:lnTo>
                  <a:pt x="1940318" y="2992541"/>
                </a:lnTo>
                <a:lnTo>
                  <a:pt x="1940318" y="2857358"/>
                </a:lnTo>
                <a:lnTo>
                  <a:pt x="1520062" y="3289007"/>
                </a:lnTo>
                <a:cubicBezTo>
                  <a:pt x="1448018" y="3363338"/>
                  <a:pt x="1328803" y="3365053"/>
                  <a:pt x="1254471" y="3292724"/>
                </a:cubicBezTo>
                <a:lnTo>
                  <a:pt x="636954" y="2691787"/>
                </a:lnTo>
                <a:cubicBezTo>
                  <a:pt x="562622" y="2619743"/>
                  <a:pt x="560907" y="2500528"/>
                  <a:pt x="633236" y="2426197"/>
                </a:cubicBezTo>
                <a:lnTo>
                  <a:pt x="1096947" y="1949622"/>
                </a:lnTo>
                <a:cubicBezTo>
                  <a:pt x="1132969" y="1912456"/>
                  <a:pt x="1180784" y="1893445"/>
                  <a:pt x="1228885" y="1892766"/>
                </a:cubicBezTo>
                <a:close/>
                <a:moveTo>
                  <a:pt x="5882779" y="1884768"/>
                </a:moveTo>
                <a:cubicBezTo>
                  <a:pt x="5892719" y="1883387"/>
                  <a:pt x="5902885" y="1883424"/>
                  <a:pt x="5912949" y="1884963"/>
                </a:cubicBezTo>
                <a:cubicBezTo>
                  <a:pt x="5926367" y="1887013"/>
                  <a:pt x="5939607" y="1891730"/>
                  <a:pt x="5951901" y="1899306"/>
                </a:cubicBezTo>
                <a:lnTo>
                  <a:pt x="6266663" y="2092852"/>
                </a:lnTo>
                <a:cubicBezTo>
                  <a:pt x="6315551" y="2122870"/>
                  <a:pt x="6330989" y="2187481"/>
                  <a:pt x="6300685" y="2236367"/>
                </a:cubicBezTo>
                <a:lnTo>
                  <a:pt x="6049960" y="2644044"/>
                </a:lnTo>
                <a:cubicBezTo>
                  <a:pt x="6019941" y="2692930"/>
                  <a:pt x="5955332" y="2708083"/>
                  <a:pt x="5906445" y="2678064"/>
                </a:cubicBezTo>
                <a:lnTo>
                  <a:pt x="5591682" y="2484518"/>
                </a:lnTo>
                <a:cubicBezTo>
                  <a:pt x="5542509" y="2454500"/>
                  <a:pt x="5527357" y="2389889"/>
                  <a:pt x="5557375" y="2341002"/>
                </a:cubicBezTo>
                <a:lnTo>
                  <a:pt x="5601116" y="2270103"/>
                </a:lnTo>
                <a:cubicBezTo>
                  <a:pt x="5569954" y="2237512"/>
                  <a:pt x="5563093" y="2186624"/>
                  <a:pt x="5587966" y="2146313"/>
                </a:cubicBezTo>
                <a:lnTo>
                  <a:pt x="5650289" y="2044823"/>
                </a:lnTo>
                <a:cubicBezTo>
                  <a:pt x="5674875" y="2004799"/>
                  <a:pt x="5723477" y="1987646"/>
                  <a:pt x="5766645" y="2000796"/>
                </a:cubicBezTo>
                <a:lnTo>
                  <a:pt x="5808099" y="1933326"/>
                </a:lnTo>
                <a:cubicBezTo>
                  <a:pt x="5825145" y="1905827"/>
                  <a:pt x="5852956" y="1888912"/>
                  <a:pt x="5882779" y="1884768"/>
                </a:cubicBezTo>
                <a:close/>
                <a:moveTo>
                  <a:pt x="5162569" y="1865580"/>
                </a:moveTo>
                <a:cubicBezTo>
                  <a:pt x="5283995" y="1875255"/>
                  <a:pt x="5394848" y="1953195"/>
                  <a:pt x="5440733" y="2074555"/>
                </a:cubicBezTo>
                <a:cubicBezTo>
                  <a:pt x="5501912" y="2236653"/>
                  <a:pt x="5425295" y="2416763"/>
                  <a:pt x="5268913" y="2485948"/>
                </a:cubicBezTo>
                <a:lnTo>
                  <a:pt x="5039632" y="1879579"/>
                </a:lnTo>
                <a:cubicBezTo>
                  <a:pt x="5080442" y="1866714"/>
                  <a:pt x="5122093" y="1862355"/>
                  <a:pt x="5162569" y="1865580"/>
                </a:cubicBezTo>
                <a:close/>
                <a:moveTo>
                  <a:pt x="759601" y="1705474"/>
                </a:moveTo>
                <a:lnTo>
                  <a:pt x="721577" y="1712621"/>
                </a:lnTo>
                <a:cubicBezTo>
                  <a:pt x="726438" y="1720054"/>
                  <a:pt x="731869" y="1727487"/>
                  <a:pt x="737873" y="1734348"/>
                </a:cubicBezTo>
                <a:cubicBezTo>
                  <a:pt x="809916" y="1814397"/>
                  <a:pt x="837934" y="1887013"/>
                  <a:pt x="819352" y="1944191"/>
                </a:cubicBezTo>
                <a:cubicBezTo>
                  <a:pt x="800483" y="2001654"/>
                  <a:pt x="734443" y="2043966"/>
                  <a:pt x="632667" y="2063120"/>
                </a:cubicBezTo>
                <a:cubicBezTo>
                  <a:pt x="480002" y="2091995"/>
                  <a:pt x="436547" y="2010516"/>
                  <a:pt x="383372" y="1873290"/>
                </a:cubicBezTo>
                <a:cubicBezTo>
                  <a:pt x="360788" y="1814969"/>
                  <a:pt x="337630" y="1755505"/>
                  <a:pt x="297320" y="1716052"/>
                </a:cubicBezTo>
                <a:cubicBezTo>
                  <a:pt x="291887" y="1726629"/>
                  <a:pt x="284739" y="1736350"/>
                  <a:pt x="276164" y="1744640"/>
                </a:cubicBezTo>
                <a:cubicBezTo>
                  <a:pt x="309041" y="1778375"/>
                  <a:pt x="329339" y="1829835"/>
                  <a:pt x="351067" y="1886155"/>
                </a:cubicBezTo>
                <a:cubicBezTo>
                  <a:pt x="396237" y="2002512"/>
                  <a:pt x="447126" y="2134306"/>
                  <a:pt x="639528" y="2097998"/>
                </a:cubicBezTo>
                <a:cubicBezTo>
                  <a:pt x="754169" y="2076271"/>
                  <a:pt x="829928" y="2025668"/>
                  <a:pt x="852801" y="1955340"/>
                </a:cubicBezTo>
                <a:cubicBezTo>
                  <a:pt x="868810" y="1906167"/>
                  <a:pt x="866237" y="1824117"/>
                  <a:pt x="763602" y="1710619"/>
                </a:cubicBezTo>
                <a:cubicBezTo>
                  <a:pt x="762174" y="1708905"/>
                  <a:pt x="760744" y="1707189"/>
                  <a:pt x="759601" y="1705474"/>
                </a:cubicBezTo>
                <a:close/>
                <a:moveTo>
                  <a:pt x="1248183" y="1639719"/>
                </a:moveTo>
                <a:lnTo>
                  <a:pt x="1235031" y="1643150"/>
                </a:lnTo>
                <a:lnTo>
                  <a:pt x="1233317" y="1645151"/>
                </a:lnTo>
                <a:lnTo>
                  <a:pt x="1232744" y="1643722"/>
                </a:lnTo>
                <a:lnTo>
                  <a:pt x="1225597" y="1645723"/>
                </a:lnTo>
                <a:lnTo>
                  <a:pt x="1226169" y="1658017"/>
                </a:lnTo>
                <a:cubicBezTo>
                  <a:pt x="1226169" y="1664306"/>
                  <a:pt x="1231029" y="1669166"/>
                  <a:pt x="1237034" y="1669166"/>
                </a:cubicBezTo>
                <a:cubicBezTo>
                  <a:pt x="1243037" y="1669166"/>
                  <a:pt x="1247898" y="1664306"/>
                  <a:pt x="1247611" y="1658588"/>
                </a:cubicBezTo>
                <a:close/>
                <a:moveTo>
                  <a:pt x="3207945" y="1630571"/>
                </a:moveTo>
                <a:lnTo>
                  <a:pt x="3208231" y="1718053"/>
                </a:lnTo>
                <a:lnTo>
                  <a:pt x="3299144" y="1718053"/>
                </a:lnTo>
                <a:lnTo>
                  <a:pt x="3299716" y="1784664"/>
                </a:lnTo>
                <a:lnTo>
                  <a:pt x="3208517" y="1784664"/>
                </a:lnTo>
                <a:lnTo>
                  <a:pt x="3208803" y="1871574"/>
                </a:lnTo>
                <a:lnTo>
                  <a:pt x="3146194" y="1871860"/>
                </a:lnTo>
                <a:lnTo>
                  <a:pt x="3146194" y="1784950"/>
                </a:lnTo>
                <a:lnTo>
                  <a:pt x="3057282" y="1785521"/>
                </a:lnTo>
                <a:lnTo>
                  <a:pt x="3056711" y="1718910"/>
                </a:lnTo>
                <a:lnTo>
                  <a:pt x="3145621" y="1718339"/>
                </a:lnTo>
                <a:lnTo>
                  <a:pt x="3145336" y="1630857"/>
                </a:lnTo>
                <a:close/>
                <a:moveTo>
                  <a:pt x="2001497" y="1615705"/>
                </a:moveTo>
                <a:lnTo>
                  <a:pt x="2173030" y="1615705"/>
                </a:lnTo>
                <a:cubicBezTo>
                  <a:pt x="2129004" y="1681459"/>
                  <a:pt x="2062105" y="1752931"/>
                  <a:pt x="1966619" y="1827548"/>
                </a:cubicBezTo>
                <a:close/>
                <a:moveTo>
                  <a:pt x="3125895" y="1604270"/>
                </a:moveTo>
                <a:lnTo>
                  <a:pt x="3125895" y="1699185"/>
                </a:lnTo>
                <a:lnTo>
                  <a:pt x="3030981" y="1699185"/>
                </a:lnTo>
                <a:lnTo>
                  <a:pt x="3030981" y="1803534"/>
                </a:lnTo>
                <a:lnTo>
                  <a:pt x="3125895" y="1803534"/>
                </a:lnTo>
                <a:lnTo>
                  <a:pt x="3125895" y="1898448"/>
                </a:lnTo>
                <a:lnTo>
                  <a:pt x="3230530" y="1898448"/>
                </a:lnTo>
                <a:lnTo>
                  <a:pt x="3230530" y="1803534"/>
                </a:lnTo>
                <a:lnTo>
                  <a:pt x="3325445" y="1803534"/>
                </a:lnTo>
                <a:lnTo>
                  <a:pt x="3325445" y="1699185"/>
                </a:lnTo>
                <a:lnTo>
                  <a:pt x="3230530" y="1699185"/>
                </a:lnTo>
                <a:lnTo>
                  <a:pt x="3230530" y="1604270"/>
                </a:lnTo>
                <a:close/>
                <a:moveTo>
                  <a:pt x="1234460" y="1516215"/>
                </a:moveTo>
                <a:cubicBezTo>
                  <a:pt x="1229314" y="1520790"/>
                  <a:pt x="1225025" y="1526222"/>
                  <a:pt x="1222168" y="1532797"/>
                </a:cubicBezTo>
                <a:lnTo>
                  <a:pt x="1224454" y="1602554"/>
                </a:lnTo>
                <a:cubicBezTo>
                  <a:pt x="1228742" y="1615705"/>
                  <a:pt x="1233317" y="1625997"/>
                  <a:pt x="1235604" y="1630285"/>
                </a:cubicBezTo>
                <a:lnTo>
                  <a:pt x="1246467" y="1618278"/>
                </a:lnTo>
                <a:cubicBezTo>
                  <a:pt x="1246753" y="1617991"/>
                  <a:pt x="1247898" y="1616849"/>
                  <a:pt x="1249326" y="1615133"/>
                </a:cubicBezTo>
                <a:lnTo>
                  <a:pt x="1252185" y="1525936"/>
                </a:lnTo>
                <a:cubicBezTo>
                  <a:pt x="1251900" y="1525936"/>
                  <a:pt x="1251613" y="1525650"/>
                  <a:pt x="1251327" y="1525650"/>
                </a:cubicBezTo>
                <a:cubicBezTo>
                  <a:pt x="1245610" y="1522505"/>
                  <a:pt x="1239891" y="1519360"/>
                  <a:pt x="1234460" y="1516215"/>
                </a:cubicBezTo>
                <a:close/>
                <a:moveTo>
                  <a:pt x="4126504" y="1487626"/>
                </a:moveTo>
                <a:cubicBezTo>
                  <a:pt x="4117927" y="1498491"/>
                  <a:pt x="4107921" y="1507925"/>
                  <a:pt x="4096200" y="1515644"/>
                </a:cubicBezTo>
                <a:cubicBezTo>
                  <a:pt x="4126504" y="1560815"/>
                  <a:pt x="4138226" y="1623996"/>
                  <a:pt x="4151091" y="1692609"/>
                </a:cubicBezTo>
                <a:cubicBezTo>
                  <a:pt x="4177392" y="1834981"/>
                  <a:pt x="4207410" y="1995936"/>
                  <a:pt x="4434120" y="1995936"/>
                </a:cubicBezTo>
                <a:cubicBezTo>
                  <a:pt x="4569059" y="1995936"/>
                  <a:pt x="4666262" y="1954482"/>
                  <a:pt x="4707429" y="1879294"/>
                </a:cubicBezTo>
                <a:cubicBezTo>
                  <a:pt x="4736304" y="1827262"/>
                  <a:pt x="4750884" y="1732919"/>
                  <a:pt x="4658542" y="1581112"/>
                </a:cubicBezTo>
                <a:cubicBezTo>
                  <a:pt x="4657398" y="1579111"/>
                  <a:pt x="4656255" y="1576824"/>
                  <a:pt x="4655112" y="1574537"/>
                </a:cubicBezTo>
                <a:lnTo>
                  <a:pt x="4610227" y="1574537"/>
                </a:lnTo>
                <a:cubicBezTo>
                  <a:pt x="4614229" y="1584257"/>
                  <a:pt x="4618518" y="1593691"/>
                  <a:pt x="4624235" y="1602840"/>
                </a:cubicBezTo>
                <a:cubicBezTo>
                  <a:pt x="4689132" y="1709476"/>
                  <a:pt x="4705714" y="1798101"/>
                  <a:pt x="4671979" y="1859282"/>
                </a:cubicBezTo>
                <a:cubicBezTo>
                  <a:pt x="4638244" y="1921033"/>
                  <a:pt x="4553621" y="1954768"/>
                  <a:pt x="4433834" y="1954768"/>
                </a:cubicBezTo>
                <a:cubicBezTo>
                  <a:pt x="4254011" y="1954768"/>
                  <a:pt x="4221990" y="1852992"/>
                  <a:pt x="4190829" y="1685176"/>
                </a:cubicBezTo>
                <a:cubicBezTo>
                  <a:pt x="4177678" y="1613704"/>
                  <a:pt x="4163955" y="1541089"/>
                  <a:pt x="4126504" y="1487626"/>
                </a:cubicBezTo>
                <a:close/>
                <a:moveTo>
                  <a:pt x="1678158" y="1471617"/>
                </a:moveTo>
                <a:lnTo>
                  <a:pt x="1725615" y="1796671"/>
                </a:lnTo>
                <a:cubicBezTo>
                  <a:pt x="1726187" y="1801818"/>
                  <a:pt x="1730761" y="1805248"/>
                  <a:pt x="1736765" y="1805248"/>
                </a:cubicBezTo>
                <a:cubicBezTo>
                  <a:pt x="1742483" y="1805248"/>
                  <a:pt x="1747343" y="1801818"/>
                  <a:pt x="1748200" y="1796958"/>
                </a:cubicBezTo>
                <a:lnTo>
                  <a:pt x="1777075" y="1660589"/>
                </a:lnTo>
                <a:lnTo>
                  <a:pt x="1779362" y="1680887"/>
                </a:lnTo>
                <a:cubicBezTo>
                  <a:pt x="1779934" y="1686891"/>
                  <a:pt x="1785365" y="1691465"/>
                  <a:pt x="1791370" y="1691465"/>
                </a:cubicBezTo>
                <a:cubicBezTo>
                  <a:pt x="1796516" y="1691465"/>
                  <a:pt x="1800804" y="1688320"/>
                  <a:pt x="1802519" y="1683745"/>
                </a:cubicBezTo>
                <a:lnTo>
                  <a:pt x="1871990" y="1491629"/>
                </a:lnTo>
                <a:lnTo>
                  <a:pt x="1926881" y="1857566"/>
                </a:lnTo>
                <a:cubicBezTo>
                  <a:pt x="1900865" y="1876435"/>
                  <a:pt x="1873133" y="1895589"/>
                  <a:pt x="1843401" y="1915030"/>
                </a:cubicBezTo>
                <a:cubicBezTo>
                  <a:pt x="1678729" y="1808393"/>
                  <a:pt x="1574382" y="1706617"/>
                  <a:pt x="1513487" y="1615418"/>
                </a:cubicBezTo>
                <a:lnTo>
                  <a:pt x="1621553" y="1615418"/>
                </a:lnTo>
                <a:cubicBezTo>
                  <a:pt x="1626985" y="1615418"/>
                  <a:pt x="1631559" y="1612274"/>
                  <a:pt x="1632988" y="1607414"/>
                </a:cubicBezTo>
                <a:close/>
                <a:moveTo>
                  <a:pt x="6065685" y="1429878"/>
                </a:moveTo>
                <a:cubicBezTo>
                  <a:pt x="6063111" y="1445030"/>
                  <a:pt x="6060539" y="1459038"/>
                  <a:pt x="6058537" y="1471903"/>
                </a:cubicBezTo>
                <a:cubicBezTo>
                  <a:pt x="6053105" y="1504494"/>
                  <a:pt x="6075119" y="1535656"/>
                  <a:pt x="6107710" y="1541089"/>
                </a:cubicBezTo>
                <a:lnTo>
                  <a:pt x="6478793" y="1603983"/>
                </a:lnTo>
                <a:cubicBezTo>
                  <a:pt x="6511385" y="1609701"/>
                  <a:pt x="6542545" y="1587402"/>
                  <a:pt x="6548263" y="1554810"/>
                </a:cubicBezTo>
                <a:cubicBezTo>
                  <a:pt x="6550551" y="1541946"/>
                  <a:pt x="6552837" y="1527651"/>
                  <a:pt x="6555411" y="1512785"/>
                </a:cubicBezTo>
                <a:close/>
                <a:moveTo>
                  <a:pt x="1230744" y="1380704"/>
                </a:moveTo>
                <a:cubicBezTo>
                  <a:pt x="1229314" y="1383277"/>
                  <a:pt x="1228458" y="1386137"/>
                  <a:pt x="1228458" y="1388710"/>
                </a:cubicBezTo>
                <a:lnTo>
                  <a:pt x="1228170" y="1391283"/>
                </a:lnTo>
                <a:cubicBezTo>
                  <a:pt x="1227884" y="1391568"/>
                  <a:pt x="1225312" y="1404719"/>
                  <a:pt x="1240464" y="1425303"/>
                </a:cubicBezTo>
                <a:cubicBezTo>
                  <a:pt x="1247611" y="1405004"/>
                  <a:pt x="1238750" y="1389853"/>
                  <a:pt x="1230744" y="1380704"/>
                </a:cubicBezTo>
                <a:close/>
                <a:moveTo>
                  <a:pt x="1228743" y="1349543"/>
                </a:moveTo>
                <a:lnTo>
                  <a:pt x="1236462" y="1355261"/>
                </a:lnTo>
                <a:cubicBezTo>
                  <a:pt x="1241893" y="1359263"/>
                  <a:pt x="1288493" y="1397000"/>
                  <a:pt x="1252471" y="1452177"/>
                </a:cubicBezTo>
                <a:lnTo>
                  <a:pt x="1244753" y="1464184"/>
                </a:lnTo>
                <a:lnTo>
                  <a:pt x="1234746" y="1453892"/>
                </a:lnTo>
                <a:cubicBezTo>
                  <a:pt x="1200725" y="1419013"/>
                  <a:pt x="1204442" y="1392140"/>
                  <a:pt x="1205585" y="1386994"/>
                </a:cubicBezTo>
                <a:cubicBezTo>
                  <a:pt x="1205585" y="1376703"/>
                  <a:pt x="1211304" y="1366124"/>
                  <a:pt x="1221881" y="1356118"/>
                </a:cubicBezTo>
                <a:close/>
                <a:moveTo>
                  <a:pt x="2324265" y="1325529"/>
                </a:moveTo>
                <a:cubicBezTo>
                  <a:pt x="2305683" y="1325529"/>
                  <a:pt x="2289673" y="1341824"/>
                  <a:pt x="2289673" y="1360121"/>
                </a:cubicBezTo>
                <a:cubicBezTo>
                  <a:pt x="2289959" y="1379276"/>
                  <a:pt x="2305111" y="1394713"/>
                  <a:pt x="2324265" y="1394713"/>
                </a:cubicBezTo>
                <a:lnTo>
                  <a:pt x="2461492" y="1394713"/>
                </a:lnTo>
                <a:lnTo>
                  <a:pt x="2461492" y="1676027"/>
                </a:lnTo>
                <a:lnTo>
                  <a:pt x="2408888" y="1676027"/>
                </a:lnTo>
                <a:cubicBezTo>
                  <a:pt x="2394880" y="1676027"/>
                  <a:pt x="2381443" y="1679172"/>
                  <a:pt x="2369150" y="1685747"/>
                </a:cubicBezTo>
                <a:cubicBezTo>
                  <a:pt x="2341133" y="1700327"/>
                  <a:pt x="2323408" y="1729488"/>
                  <a:pt x="2323408" y="1761222"/>
                </a:cubicBezTo>
                <a:lnTo>
                  <a:pt x="2323408" y="2120297"/>
                </a:lnTo>
                <a:lnTo>
                  <a:pt x="2658754" y="2120297"/>
                </a:lnTo>
                <a:lnTo>
                  <a:pt x="2658754" y="2112864"/>
                </a:lnTo>
                <a:lnTo>
                  <a:pt x="2565555" y="2112864"/>
                </a:lnTo>
                <a:cubicBezTo>
                  <a:pt x="2552976" y="2113150"/>
                  <a:pt x="2542971" y="2102858"/>
                  <a:pt x="2542971" y="2090565"/>
                </a:cubicBezTo>
                <a:cubicBezTo>
                  <a:pt x="2542971" y="2077986"/>
                  <a:pt x="2552976" y="2067980"/>
                  <a:pt x="2565555" y="2067980"/>
                </a:cubicBezTo>
                <a:lnTo>
                  <a:pt x="2659041" y="2067980"/>
                </a:lnTo>
                <a:lnTo>
                  <a:pt x="2659041" y="2005656"/>
                </a:lnTo>
                <a:lnTo>
                  <a:pt x="2565841" y="2005656"/>
                </a:lnTo>
                <a:cubicBezTo>
                  <a:pt x="2553262" y="2005656"/>
                  <a:pt x="2543256" y="1995364"/>
                  <a:pt x="2543256" y="1983071"/>
                </a:cubicBezTo>
                <a:cubicBezTo>
                  <a:pt x="2543256" y="1970492"/>
                  <a:pt x="2553262" y="1960485"/>
                  <a:pt x="2565841" y="1960485"/>
                </a:cubicBezTo>
                <a:lnTo>
                  <a:pt x="2659327" y="1960485"/>
                </a:lnTo>
                <a:lnTo>
                  <a:pt x="2659327" y="1898448"/>
                </a:lnTo>
                <a:lnTo>
                  <a:pt x="2566127" y="1898448"/>
                </a:lnTo>
                <a:cubicBezTo>
                  <a:pt x="2553548" y="1898448"/>
                  <a:pt x="2543542" y="1888157"/>
                  <a:pt x="2543542" y="1875863"/>
                </a:cubicBezTo>
                <a:cubicBezTo>
                  <a:pt x="2543542" y="1863283"/>
                  <a:pt x="2553834" y="1853278"/>
                  <a:pt x="2566127" y="1853278"/>
                </a:cubicBezTo>
                <a:lnTo>
                  <a:pt x="2659613" y="1853278"/>
                </a:lnTo>
                <a:lnTo>
                  <a:pt x="2659613" y="1790954"/>
                </a:lnTo>
                <a:lnTo>
                  <a:pt x="2566127" y="1790954"/>
                </a:lnTo>
                <a:cubicBezTo>
                  <a:pt x="2553548" y="1790954"/>
                  <a:pt x="2543542" y="1780948"/>
                  <a:pt x="2543542" y="1768369"/>
                </a:cubicBezTo>
                <a:cubicBezTo>
                  <a:pt x="2543542" y="1755790"/>
                  <a:pt x="2553834" y="1745784"/>
                  <a:pt x="2566127" y="1745784"/>
                </a:cubicBezTo>
                <a:lnTo>
                  <a:pt x="2657897" y="1745784"/>
                </a:lnTo>
                <a:cubicBezTo>
                  <a:pt x="2654753" y="1729202"/>
                  <a:pt x="2646747" y="1713765"/>
                  <a:pt x="2634454" y="1701472"/>
                </a:cubicBezTo>
                <a:cubicBezTo>
                  <a:pt x="2618445" y="1685176"/>
                  <a:pt x="2597003" y="1676313"/>
                  <a:pt x="2574132" y="1676313"/>
                </a:cubicBezTo>
                <a:lnTo>
                  <a:pt x="2521814" y="1676313"/>
                </a:lnTo>
                <a:lnTo>
                  <a:pt x="2521814" y="1394713"/>
                </a:lnTo>
                <a:lnTo>
                  <a:pt x="2659041" y="1394713"/>
                </a:lnTo>
                <a:cubicBezTo>
                  <a:pt x="2664759" y="1394713"/>
                  <a:pt x="2670190" y="1393284"/>
                  <a:pt x="2675050" y="1390710"/>
                </a:cubicBezTo>
                <a:cubicBezTo>
                  <a:pt x="2686486" y="1384707"/>
                  <a:pt x="2693633" y="1372986"/>
                  <a:pt x="2693633" y="1360121"/>
                </a:cubicBezTo>
                <a:cubicBezTo>
                  <a:pt x="2693633" y="1340967"/>
                  <a:pt x="2678195" y="1325529"/>
                  <a:pt x="2659041" y="1325529"/>
                </a:cubicBezTo>
                <a:close/>
                <a:moveTo>
                  <a:pt x="3671656" y="1316381"/>
                </a:moveTo>
                <a:lnTo>
                  <a:pt x="3659649" y="1319526"/>
                </a:lnTo>
                <a:lnTo>
                  <a:pt x="3658220" y="1321241"/>
                </a:lnTo>
                <a:lnTo>
                  <a:pt x="3657648" y="1320097"/>
                </a:lnTo>
                <a:lnTo>
                  <a:pt x="3650787" y="1321813"/>
                </a:lnTo>
                <a:lnTo>
                  <a:pt x="3651073" y="1333249"/>
                </a:lnTo>
                <a:cubicBezTo>
                  <a:pt x="3651073" y="1338966"/>
                  <a:pt x="3655647" y="1343540"/>
                  <a:pt x="3661079" y="1343540"/>
                </a:cubicBezTo>
                <a:cubicBezTo>
                  <a:pt x="3666796" y="1343540"/>
                  <a:pt x="3671085" y="1338966"/>
                  <a:pt x="3671085" y="1333820"/>
                </a:cubicBezTo>
                <a:close/>
                <a:moveTo>
                  <a:pt x="5094906" y="1289930"/>
                </a:moveTo>
                <a:cubicBezTo>
                  <a:pt x="5067773" y="1287755"/>
                  <a:pt x="5039846" y="1290649"/>
                  <a:pt x="5012472" y="1299226"/>
                </a:cubicBezTo>
                <a:lnTo>
                  <a:pt x="5017904" y="1313521"/>
                </a:lnTo>
                <a:cubicBezTo>
                  <a:pt x="5122253" y="1289792"/>
                  <a:pt x="5230604" y="1345826"/>
                  <a:pt x="5269485" y="1448745"/>
                </a:cubicBezTo>
                <a:cubicBezTo>
                  <a:pt x="5293214" y="1511355"/>
                  <a:pt x="5286067" y="1577967"/>
                  <a:pt x="5255763" y="1632000"/>
                </a:cubicBezTo>
                <a:cubicBezTo>
                  <a:pt x="5295787" y="1574823"/>
                  <a:pt x="5307794" y="1499920"/>
                  <a:pt x="5281207" y="1429878"/>
                </a:cubicBezTo>
                <a:cubicBezTo>
                  <a:pt x="5250546" y="1348613"/>
                  <a:pt x="5176304" y="1296457"/>
                  <a:pt x="5094906" y="1289930"/>
                </a:cubicBezTo>
                <a:close/>
                <a:moveTo>
                  <a:pt x="4962442" y="1289221"/>
                </a:moveTo>
                <a:lnTo>
                  <a:pt x="5140835" y="1761507"/>
                </a:lnTo>
                <a:cubicBezTo>
                  <a:pt x="5013901" y="1801533"/>
                  <a:pt x="4876388" y="1735778"/>
                  <a:pt x="4828646" y="1609702"/>
                </a:cubicBezTo>
                <a:cubicBezTo>
                  <a:pt x="4780902" y="1483625"/>
                  <a:pt x="4840653" y="1343254"/>
                  <a:pt x="4962442" y="1289221"/>
                </a:cubicBezTo>
                <a:close/>
                <a:moveTo>
                  <a:pt x="2324838" y="1286934"/>
                </a:moveTo>
                <a:lnTo>
                  <a:pt x="2659613" y="1286934"/>
                </a:lnTo>
                <a:cubicBezTo>
                  <a:pt x="2699637" y="1286934"/>
                  <a:pt x="2732228" y="1319525"/>
                  <a:pt x="2732228" y="1359549"/>
                </a:cubicBezTo>
                <a:cubicBezTo>
                  <a:pt x="2732228" y="1386708"/>
                  <a:pt x="2717076" y="1411295"/>
                  <a:pt x="2693062" y="1423874"/>
                </a:cubicBezTo>
                <a:cubicBezTo>
                  <a:pt x="2682769" y="1429305"/>
                  <a:pt x="2671048" y="1432165"/>
                  <a:pt x="2659327" y="1432165"/>
                </a:cubicBezTo>
                <a:lnTo>
                  <a:pt x="2560124" y="1432165"/>
                </a:lnTo>
                <a:lnTo>
                  <a:pt x="2560124" y="1637432"/>
                </a:lnTo>
                <a:lnTo>
                  <a:pt x="2574418" y="1637432"/>
                </a:lnTo>
                <a:cubicBezTo>
                  <a:pt x="2607295" y="1637432"/>
                  <a:pt x="2638457" y="1650011"/>
                  <a:pt x="2661614" y="1673454"/>
                </a:cubicBezTo>
                <a:cubicBezTo>
                  <a:pt x="2685056" y="1696611"/>
                  <a:pt x="2697922" y="1727773"/>
                  <a:pt x="2697922" y="1760650"/>
                </a:cubicBezTo>
                <a:lnTo>
                  <a:pt x="2697635" y="2549129"/>
                </a:lnTo>
                <a:cubicBezTo>
                  <a:pt x="2697635" y="2625747"/>
                  <a:pt x="2655324" y="2695503"/>
                  <a:pt x="2587569" y="2731239"/>
                </a:cubicBezTo>
                <a:cubicBezTo>
                  <a:pt x="2562697" y="2744391"/>
                  <a:pt x="2534965" y="2751824"/>
                  <a:pt x="2506948" y="2753825"/>
                </a:cubicBezTo>
                <a:lnTo>
                  <a:pt x="2506948" y="3062584"/>
                </a:lnTo>
                <a:lnTo>
                  <a:pt x="2475501" y="3119761"/>
                </a:lnTo>
                <a:lnTo>
                  <a:pt x="2475501" y="2754111"/>
                </a:lnTo>
                <a:cubicBezTo>
                  <a:pt x="2376297" y="2746106"/>
                  <a:pt x="2296534" y="2667487"/>
                  <a:pt x="2288530" y="2568284"/>
                </a:cubicBezTo>
                <a:lnTo>
                  <a:pt x="2287672" y="2568284"/>
                </a:lnTo>
                <a:lnTo>
                  <a:pt x="2286243" y="2549415"/>
                </a:lnTo>
                <a:lnTo>
                  <a:pt x="2286243" y="1760935"/>
                </a:lnTo>
                <a:cubicBezTo>
                  <a:pt x="2286243" y="1714622"/>
                  <a:pt x="2311400" y="1672883"/>
                  <a:pt x="2352283" y="1651441"/>
                </a:cubicBezTo>
                <a:cubicBezTo>
                  <a:pt x="2370007" y="1642292"/>
                  <a:pt x="2389734" y="1637432"/>
                  <a:pt x="2409746" y="1637432"/>
                </a:cubicBezTo>
                <a:lnTo>
                  <a:pt x="2424041" y="1637432"/>
                </a:lnTo>
                <a:lnTo>
                  <a:pt x="2424041" y="1432165"/>
                </a:lnTo>
                <a:lnTo>
                  <a:pt x="2324838" y="1432165"/>
                </a:lnTo>
                <a:cubicBezTo>
                  <a:pt x="2284813" y="1432165"/>
                  <a:pt x="2252222" y="1399573"/>
                  <a:pt x="2252222" y="1359549"/>
                </a:cubicBezTo>
                <a:cubicBezTo>
                  <a:pt x="2252222" y="1332389"/>
                  <a:pt x="2267088" y="1307803"/>
                  <a:pt x="2291103" y="1295224"/>
                </a:cubicBezTo>
                <a:cubicBezTo>
                  <a:pt x="2301395" y="1289792"/>
                  <a:pt x="2313116" y="1286934"/>
                  <a:pt x="2324838" y="1286934"/>
                </a:cubicBezTo>
                <a:close/>
                <a:moveTo>
                  <a:pt x="5085218" y="1268033"/>
                </a:moveTo>
                <a:cubicBezTo>
                  <a:pt x="5179681" y="1275551"/>
                  <a:pt x="5265984" y="1336177"/>
                  <a:pt x="5301791" y="1430735"/>
                </a:cubicBezTo>
                <a:cubicBezTo>
                  <a:pt x="5349534" y="1556811"/>
                  <a:pt x="5289784" y="1697182"/>
                  <a:pt x="5168281" y="1751215"/>
                </a:cubicBezTo>
                <a:lnTo>
                  <a:pt x="4989601" y="1278928"/>
                </a:lnTo>
                <a:cubicBezTo>
                  <a:pt x="5021335" y="1268922"/>
                  <a:pt x="5053729" y="1265527"/>
                  <a:pt x="5085218" y="1268033"/>
                </a:cubicBezTo>
                <a:close/>
                <a:moveTo>
                  <a:pt x="6325269" y="1258630"/>
                </a:moveTo>
                <a:lnTo>
                  <a:pt x="6365867" y="1265206"/>
                </a:lnTo>
                <a:lnTo>
                  <a:pt x="6356431" y="1322669"/>
                </a:lnTo>
                <a:lnTo>
                  <a:pt x="6415611" y="1332389"/>
                </a:lnTo>
                <a:lnTo>
                  <a:pt x="6408749" y="1376130"/>
                </a:lnTo>
                <a:lnTo>
                  <a:pt x="6349571" y="1366123"/>
                </a:lnTo>
                <a:lnTo>
                  <a:pt x="6339851" y="1423016"/>
                </a:lnTo>
                <a:lnTo>
                  <a:pt x="6299254" y="1416440"/>
                </a:lnTo>
                <a:lnTo>
                  <a:pt x="6308689" y="1359549"/>
                </a:lnTo>
                <a:lnTo>
                  <a:pt x="6250939" y="1350114"/>
                </a:lnTo>
                <a:lnTo>
                  <a:pt x="6257801" y="1306374"/>
                </a:lnTo>
                <a:lnTo>
                  <a:pt x="6315836" y="1315808"/>
                </a:lnTo>
                <a:close/>
                <a:moveTo>
                  <a:pt x="6314121" y="1239190"/>
                </a:moveTo>
                <a:lnTo>
                  <a:pt x="6303543" y="1301800"/>
                </a:lnTo>
                <a:lnTo>
                  <a:pt x="6240934" y="1291221"/>
                </a:lnTo>
                <a:lnTo>
                  <a:pt x="6229212" y="1360121"/>
                </a:lnTo>
                <a:lnTo>
                  <a:pt x="6291822" y="1370698"/>
                </a:lnTo>
                <a:lnTo>
                  <a:pt x="6281243" y="1433308"/>
                </a:lnTo>
                <a:lnTo>
                  <a:pt x="6350143" y="1445030"/>
                </a:lnTo>
                <a:lnTo>
                  <a:pt x="6360721" y="1382420"/>
                </a:lnTo>
                <a:lnTo>
                  <a:pt x="6423330" y="1392997"/>
                </a:lnTo>
                <a:lnTo>
                  <a:pt x="6435052" y="1324099"/>
                </a:lnTo>
                <a:lnTo>
                  <a:pt x="6372442" y="1313521"/>
                </a:lnTo>
                <a:lnTo>
                  <a:pt x="6383021" y="1250912"/>
                </a:lnTo>
                <a:close/>
                <a:moveTo>
                  <a:pt x="1623087" y="1223728"/>
                </a:moveTo>
                <a:cubicBezTo>
                  <a:pt x="1705153" y="1220884"/>
                  <a:pt x="1794658" y="1270495"/>
                  <a:pt x="1843116" y="1390139"/>
                </a:cubicBezTo>
                <a:cubicBezTo>
                  <a:pt x="1972337" y="1071088"/>
                  <a:pt x="2393451" y="1250054"/>
                  <a:pt x="2187039" y="1593691"/>
                </a:cubicBezTo>
                <a:lnTo>
                  <a:pt x="1991492" y="1593691"/>
                </a:lnTo>
                <a:cubicBezTo>
                  <a:pt x="1986346" y="1593691"/>
                  <a:pt x="1980628" y="1597122"/>
                  <a:pt x="1979770" y="1602268"/>
                </a:cubicBezTo>
                <a:lnTo>
                  <a:pt x="1944321" y="1816969"/>
                </a:lnTo>
                <a:lnTo>
                  <a:pt x="1887714" y="1442171"/>
                </a:lnTo>
                <a:cubicBezTo>
                  <a:pt x="1887143" y="1437025"/>
                  <a:pt x="1882854" y="1433593"/>
                  <a:pt x="1877137" y="1433593"/>
                </a:cubicBezTo>
                <a:cubicBezTo>
                  <a:pt x="1871705" y="1433593"/>
                  <a:pt x="1866845" y="1436738"/>
                  <a:pt x="1865129" y="1441312"/>
                </a:cubicBezTo>
                <a:lnTo>
                  <a:pt x="1797088" y="1629141"/>
                </a:lnTo>
                <a:lnTo>
                  <a:pt x="1792514" y="1585686"/>
                </a:lnTo>
                <a:cubicBezTo>
                  <a:pt x="1791942" y="1579111"/>
                  <a:pt x="1785366" y="1575108"/>
                  <a:pt x="1779649" y="1575108"/>
                </a:cubicBezTo>
                <a:cubicBezTo>
                  <a:pt x="1774503" y="1575108"/>
                  <a:pt x="1770500" y="1578253"/>
                  <a:pt x="1769357" y="1583399"/>
                </a:cubicBezTo>
                <a:lnTo>
                  <a:pt x="1738767" y="1727773"/>
                </a:lnTo>
                <a:lnTo>
                  <a:pt x="1693882" y="1419013"/>
                </a:lnTo>
                <a:cubicBezTo>
                  <a:pt x="1693310" y="1413867"/>
                  <a:pt x="1689022" y="1410437"/>
                  <a:pt x="1683304" y="1410437"/>
                </a:cubicBezTo>
                <a:cubicBezTo>
                  <a:pt x="1677587" y="1410437"/>
                  <a:pt x="1672727" y="1413582"/>
                  <a:pt x="1671011" y="1418156"/>
                </a:cubicBezTo>
                <a:lnTo>
                  <a:pt x="1612692" y="1593691"/>
                </a:lnTo>
                <a:lnTo>
                  <a:pt x="1499193" y="1593691"/>
                </a:lnTo>
                <a:cubicBezTo>
                  <a:pt x="1370187" y="1378918"/>
                  <a:pt x="1486306" y="1228469"/>
                  <a:pt x="1623087" y="1223728"/>
                </a:cubicBezTo>
                <a:close/>
                <a:moveTo>
                  <a:pt x="3658792" y="1200882"/>
                </a:moveTo>
                <a:cubicBezTo>
                  <a:pt x="3653932" y="1204885"/>
                  <a:pt x="3650215" y="1210031"/>
                  <a:pt x="3647070" y="1216034"/>
                </a:cubicBezTo>
                <a:lnTo>
                  <a:pt x="3649071" y="1281216"/>
                </a:lnTo>
                <a:cubicBezTo>
                  <a:pt x="3653074" y="1293510"/>
                  <a:pt x="3657648" y="1303230"/>
                  <a:pt x="3659649" y="1307232"/>
                </a:cubicBezTo>
                <a:lnTo>
                  <a:pt x="3669941" y="1296082"/>
                </a:lnTo>
                <a:cubicBezTo>
                  <a:pt x="3670227" y="1295511"/>
                  <a:pt x="3671085" y="1294653"/>
                  <a:pt x="3672515" y="1292938"/>
                </a:cubicBezTo>
                <a:lnTo>
                  <a:pt x="3675087" y="1209745"/>
                </a:lnTo>
                <a:cubicBezTo>
                  <a:pt x="3674801" y="1209745"/>
                  <a:pt x="3674801" y="1209459"/>
                  <a:pt x="3674515" y="1209459"/>
                </a:cubicBezTo>
                <a:cubicBezTo>
                  <a:pt x="3669369" y="1206600"/>
                  <a:pt x="3663937" y="1203741"/>
                  <a:pt x="3658792" y="1200882"/>
                </a:cubicBezTo>
                <a:close/>
                <a:moveTo>
                  <a:pt x="1235890" y="1151423"/>
                </a:moveTo>
                <a:cubicBezTo>
                  <a:pt x="1223883" y="1165718"/>
                  <a:pt x="1219023" y="1180012"/>
                  <a:pt x="1221596" y="1193163"/>
                </a:cubicBezTo>
                <a:cubicBezTo>
                  <a:pt x="1226170" y="1218320"/>
                  <a:pt x="1257045" y="1236903"/>
                  <a:pt x="1267624" y="1242907"/>
                </a:cubicBezTo>
                <a:cubicBezTo>
                  <a:pt x="1280202" y="1232043"/>
                  <a:pt x="1286206" y="1220322"/>
                  <a:pt x="1285634" y="1207743"/>
                </a:cubicBezTo>
                <a:cubicBezTo>
                  <a:pt x="1284777" y="1187731"/>
                  <a:pt x="1267338" y="1168862"/>
                  <a:pt x="1251043" y="1159999"/>
                </a:cubicBezTo>
                <a:cubicBezTo>
                  <a:pt x="1248183" y="1158285"/>
                  <a:pt x="1244466" y="1155997"/>
                  <a:pt x="1239892" y="1153710"/>
                </a:cubicBezTo>
                <a:close/>
                <a:moveTo>
                  <a:pt x="402527" y="1145419"/>
                </a:moveTo>
                <a:cubicBezTo>
                  <a:pt x="397094" y="1149136"/>
                  <a:pt x="391091" y="1151709"/>
                  <a:pt x="384515" y="1152852"/>
                </a:cubicBezTo>
                <a:cubicBezTo>
                  <a:pt x="379083" y="1153710"/>
                  <a:pt x="373652" y="1153710"/>
                  <a:pt x="368506" y="1152852"/>
                </a:cubicBezTo>
                <a:cubicBezTo>
                  <a:pt x="388518" y="1228899"/>
                  <a:pt x="422538" y="1296654"/>
                  <a:pt x="464849" y="1350115"/>
                </a:cubicBezTo>
                <a:lnTo>
                  <a:pt x="503159" y="1342968"/>
                </a:lnTo>
                <a:cubicBezTo>
                  <a:pt x="459133" y="1292366"/>
                  <a:pt x="423396" y="1224038"/>
                  <a:pt x="402527" y="1145419"/>
                </a:cubicBezTo>
                <a:close/>
                <a:moveTo>
                  <a:pt x="1231316" y="1122834"/>
                </a:moveTo>
                <a:lnTo>
                  <a:pt x="1248469" y="1131982"/>
                </a:lnTo>
                <a:cubicBezTo>
                  <a:pt x="1254472" y="1135127"/>
                  <a:pt x="1259332" y="1137700"/>
                  <a:pt x="1262764" y="1140559"/>
                </a:cubicBezTo>
                <a:cubicBezTo>
                  <a:pt x="1284492" y="1153138"/>
                  <a:pt x="1307077" y="1178582"/>
                  <a:pt x="1308506" y="1207171"/>
                </a:cubicBezTo>
                <a:cubicBezTo>
                  <a:pt x="1309649" y="1229756"/>
                  <a:pt x="1298213" y="1249768"/>
                  <a:pt x="1274485" y="1266921"/>
                </a:cubicBezTo>
                <a:lnTo>
                  <a:pt x="1273341" y="1267779"/>
                </a:lnTo>
                <a:lnTo>
                  <a:pt x="1271054" y="1268065"/>
                </a:lnTo>
                <a:lnTo>
                  <a:pt x="1263907" y="1266921"/>
                </a:lnTo>
                <a:cubicBezTo>
                  <a:pt x="1258189" y="1264063"/>
                  <a:pt x="1207301" y="1240048"/>
                  <a:pt x="1199010" y="1197737"/>
                </a:cubicBezTo>
                <a:cubicBezTo>
                  <a:pt x="1194436" y="1174865"/>
                  <a:pt x="1203298" y="1151709"/>
                  <a:pt x="1225312" y="1129124"/>
                </a:cubicBezTo>
                <a:close/>
                <a:moveTo>
                  <a:pt x="2970944" y="1107397"/>
                </a:moveTo>
                <a:cubicBezTo>
                  <a:pt x="2969515" y="1143990"/>
                  <a:pt x="2960366" y="1224610"/>
                  <a:pt x="2906334" y="1267779"/>
                </a:cubicBezTo>
                <a:cubicBezTo>
                  <a:pt x="2843724" y="1317809"/>
                  <a:pt x="2811418" y="1385850"/>
                  <a:pt x="2807702" y="1475619"/>
                </a:cubicBezTo>
                <a:cubicBezTo>
                  <a:pt x="2807702" y="1477906"/>
                  <a:pt x="2807702" y="1508497"/>
                  <a:pt x="2807702" y="1554811"/>
                </a:cubicBezTo>
                <a:lnTo>
                  <a:pt x="3548725" y="1554811"/>
                </a:lnTo>
                <a:cubicBezTo>
                  <a:pt x="3548725" y="1506781"/>
                  <a:pt x="3548438" y="1475047"/>
                  <a:pt x="3548438" y="1471903"/>
                </a:cubicBezTo>
                <a:cubicBezTo>
                  <a:pt x="3543292" y="1388138"/>
                  <a:pt x="3507557" y="1313522"/>
                  <a:pt x="3450093" y="1267779"/>
                </a:cubicBezTo>
                <a:cubicBezTo>
                  <a:pt x="3396060" y="1224324"/>
                  <a:pt x="3386912" y="1143704"/>
                  <a:pt x="3385482" y="1107397"/>
                </a:cubicBezTo>
                <a:close/>
                <a:moveTo>
                  <a:pt x="3655074" y="1074519"/>
                </a:moveTo>
                <a:cubicBezTo>
                  <a:pt x="3653360" y="1077092"/>
                  <a:pt x="3652787" y="1079379"/>
                  <a:pt x="3652787" y="1081952"/>
                </a:cubicBezTo>
                <a:lnTo>
                  <a:pt x="3652501" y="1084239"/>
                </a:lnTo>
                <a:cubicBezTo>
                  <a:pt x="3652501" y="1084525"/>
                  <a:pt x="3649929" y="1096818"/>
                  <a:pt x="3664223" y="1115972"/>
                </a:cubicBezTo>
                <a:cubicBezTo>
                  <a:pt x="3671084" y="1097104"/>
                  <a:pt x="3662794" y="1082809"/>
                  <a:pt x="3655074" y="1074519"/>
                </a:cubicBezTo>
                <a:close/>
                <a:moveTo>
                  <a:pt x="896256" y="1045930"/>
                </a:moveTo>
                <a:cubicBezTo>
                  <a:pt x="906834" y="1129124"/>
                  <a:pt x="898542" y="1207743"/>
                  <a:pt x="875385" y="1272640"/>
                </a:cubicBezTo>
                <a:lnTo>
                  <a:pt x="913981" y="1265493"/>
                </a:lnTo>
                <a:cubicBezTo>
                  <a:pt x="933992" y="1201167"/>
                  <a:pt x="940854" y="1126837"/>
                  <a:pt x="931705" y="1048789"/>
                </a:cubicBezTo>
                <a:cubicBezTo>
                  <a:pt x="930562" y="1049074"/>
                  <a:pt x="929132" y="1049647"/>
                  <a:pt x="927703" y="1049933"/>
                </a:cubicBezTo>
                <a:cubicBezTo>
                  <a:pt x="916553" y="1052220"/>
                  <a:pt x="905689" y="1050504"/>
                  <a:pt x="896256" y="1045930"/>
                </a:cubicBezTo>
                <a:close/>
                <a:moveTo>
                  <a:pt x="3653360" y="1045358"/>
                </a:moveTo>
                <a:lnTo>
                  <a:pt x="3660507" y="1050790"/>
                </a:lnTo>
                <a:cubicBezTo>
                  <a:pt x="3665653" y="1054507"/>
                  <a:pt x="3709108" y="1089670"/>
                  <a:pt x="3675659" y="1141131"/>
                </a:cubicBezTo>
                <a:lnTo>
                  <a:pt x="3668511" y="1152280"/>
                </a:lnTo>
                <a:lnTo>
                  <a:pt x="3659077" y="1142560"/>
                </a:lnTo>
                <a:cubicBezTo>
                  <a:pt x="3627344" y="1109969"/>
                  <a:pt x="3630774" y="1084810"/>
                  <a:pt x="3631918" y="1080236"/>
                </a:cubicBezTo>
                <a:cubicBezTo>
                  <a:pt x="3631918" y="1070516"/>
                  <a:pt x="3637064" y="1060510"/>
                  <a:pt x="3647070" y="1051361"/>
                </a:cubicBezTo>
                <a:close/>
                <a:moveTo>
                  <a:pt x="1232173" y="912420"/>
                </a:moveTo>
                <a:cubicBezTo>
                  <a:pt x="1213019" y="926143"/>
                  <a:pt x="1203870" y="943581"/>
                  <a:pt x="1203870" y="965881"/>
                </a:cubicBezTo>
                <a:cubicBezTo>
                  <a:pt x="1203870" y="978746"/>
                  <a:pt x="1209588" y="990753"/>
                  <a:pt x="1222453" y="1003618"/>
                </a:cubicBezTo>
                <a:cubicBezTo>
                  <a:pt x="1251327" y="993041"/>
                  <a:pt x="1281918" y="971313"/>
                  <a:pt x="1282489" y="953016"/>
                </a:cubicBezTo>
                <a:cubicBezTo>
                  <a:pt x="1283061" y="939579"/>
                  <a:pt x="1266479" y="925857"/>
                  <a:pt x="1236177" y="914135"/>
                </a:cubicBezTo>
                <a:cubicBezTo>
                  <a:pt x="1234746" y="913564"/>
                  <a:pt x="1233603" y="912992"/>
                  <a:pt x="1232173" y="912420"/>
                </a:cubicBezTo>
                <a:close/>
                <a:moveTo>
                  <a:pt x="6267807" y="894124"/>
                </a:moveTo>
                <a:cubicBezTo>
                  <a:pt x="6262661" y="918138"/>
                  <a:pt x="6247795" y="970169"/>
                  <a:pt x="6207199" y="992754"/>
                </a:cubicBezTo>
                <a:cubicBezTo>
                  <a:pt x="6160027" y="1018770"/>
                  <a:pt x="6131153" y="1059938"/>
                  <a:pt x="6118573" y="1118831"/>
                </a:cubicBezTo>
                <a:cubicBezTo>
                  <a:pt x="6118287" y="1120261"/>
                  <a:pt x="6114857" y="1140558"/>
                  <a:pt x="6109711" y="1171149"/>
                </a:cubicBezTo>
                <a:lnTo>
                  <a:pt x="6598865" y="1254056"/>
                </a:lnTo>
                <a:cubicBezTo>
                  <a:pt x="6604297" y="1222323"/>
                  <a:pt x="6607728" y="1201167"/>
                  <a:pt x="6608014" y="1199166"/>
                </a:cubicBezTo>
                <a:cubicBezTo>
                  <a:pt x="6614017" y="1143132"/>
                  <a:pt x="6598865" y="1089957"/>
                  <a:pt x="6565989" y="1053362"/>
                </a:cubicBezTo>
                <a:cubicBezTo>
                  <a:pt x="6535399" y="1018770"/>
                  <a:pt x="6538257" y="964738"/>
                  <a:pt x="6541403" y="940437"/>
                </a:cubicBezTo>
                <a:close/>
                <a:moveTo>
                  <a:pt x="1230173" y="886976"/>
                </a:moveTo>
                <a:lnTo>
                  <a:pt x="1235604" y="889263"/>
                </a:lnTo>
                <a:cubicBezTo>
                  <a:pt x="1238463" y="890406"/>
                  <a:pt x="1241322" y="891550"/>
                  <a:pt x="1244466" y="892693"/>
                </a:cubicBezTo>
                <a:cubicBezTo>
                  <a:pt x="1285634" y="908704"/>
                  <a:pt x="1306504" y="929287"/>
                  <a:pt x="1305074" y="953588"/>
                </a:cubicBezTo>
                <a:cubicBezTo>
                  <a:pt x="1303931" y="989324"/>
                  <a:pt x="1255330" y="1017341"/>
                  <a:pt x="1222738" y="1027347"/>
                </a:cubicBezTo>
                <a:lnTo>
                  <a:pt x="1216736" y="1029348"/>
                </a:lnTo>
                <a:lnTo>
                  <a:pt x="1211875" y="1025060"/>
                </a:lnTo>
                <a:cubicBezTo>
                  <a:pt x="1190719" y="1005905"/>
                  <a:pt x="1181000" y="987037"/>
                  <a:pt x="1181000" y="965881"/>
                </a:cubicBezTo>
                <a:cubicBezTo>
                  <a:pt x="1181000" y="933575"/>
                  <a:pt x="1195579" y="908704"/>
                  <a:pt x="1225026" y="890120"/>
                </a:cubicBezTo>
                <a:close/>
                <a:moveTo>
                  <a:pt x="3399491" y="882688"/>
                </a:moveTo>
                <a:cubicBezTo>
                  <a:pt x="3392629" y="882688"/>
                  <a:pt x="3386912" y="887262"/>
                  <a:pt x="3386912" y="892980"/>
                </a:cubicBezTo>
                <a:lnTo>
                  <a:pt x="3386912" y="1081380"/>
                </a:lnTo>
                <a:cubicBezTo>
                  <a:pt x="3386912" y="1087098"/>
                  <a:pt x="3392629" y="1091672"/>
                  <a:pt x="3399491" y="1091672"/>
                </a:cubicBezTo>
                <a:cubicBezTo>
                  <a:pt x="3406638" y="1091672"/>
                  <a:pt x="3412069" y="1087098"/>
                  <a:pt x="3412069" y="1081380"/>
                </a:cubicBezTo>
                <a:lnTo>
                  <a:pt x="3412069" y="892980"/>
                </a:lnTo>
                <a:cubicBezTo>
                  <a:pt x="3412069" y="887262"/>
                  <a:pt x="3406352" y="882688"/>
                  <a:pt x="3399491" y="882688"/>
                </a:cubicBezTo>
                <a:close/>
                <a:moveTo>
                  <a:pt x="3354892" y="882688"/>
                </a:moveTo>
                <a:cubicBezTo>
                  <a:pt x="3348317" y="882688"/>
                  <a:pt x="3342599" y="887262"/>
                  <a:pt x="3342599" y="892980"/>
                </a:cubicBezTo>
                <a:lnTo>
                  <a:pt x="3342599" y="1081380"/>
                </a:lnTo>
                <a:cubicBezTo>
                  <a:pt x="3342599" y="1087098"/>
                  <a:pt x="3348031" y="1091672"/>
                  <a:pt x="3354892" y="1091672"/>
                </a:cubicBezTo>
                <a:cubicBezTo>
                  <a:pt x="3362040" y="1091672"/>
                  <a:pt x="3367471" y="1087098"/>
                  <a:pt x="3367471" y="1081380"/>
                </a:cubicBezTo>
                <a:lnTo>
                  <a:pt x="3367471" y="892980"/>
                </a:lnTo>
                <a:cubicBezTo>
                  <a:pt x="3367471" y="887262"/>
                  <a:pt x="3361753" y="882688"/>
                  <a:pt x="3354892" y="882688"/>
                </a:cubicBezTo>
                <a:close/>
                <a:moveTo>
                  <a:pt x="3310865" y="882688"/>
                </a:moveTo>
                <a:cubicBezTo>
                  <a:pt x="3304004" y="882688"/>
                  <a:pt x="3298286" y="887262"/>
                  <a:pt x="3298286" y="892980"/>
                </a:cubicBezTo>
                <a:lnTo>
                  <a:pt x="3298286" y="1081380"/>
                </a:lnTo>
                <a:cubicBezTo>
                  <a:pt x="3298286" y="1087098"/>
                  <a:pt x="3304004" y="1091672"/>
                  <a:pt x="3310865" y="1091672"/>
                </a:cubicBezTo>
                <a:cubicBezTo>
                  <a:pt x="3317726" y="1091672"/>
                  <a:pt x="3323445" y="1087098"/>
                  <a:pt x="3323445" y="1081380"/>
                </a:cubicBezTo>
                <a:lnTo>
                  <a:pt x="3323445" y="892980"/>
                </a:lnTo>
                <a:cubicBezTo>
                  <a:pt x="3323445" y="887262"/>
                  <a:pt x="3317726" y="882688"/>
                  <a:pt x="3310865" y="882688"/>
                </a:cubicBezTo>
                <a:close/>
                <a:moveTo>
                  <a:pt x="3266552" y="882688"/>
                </a:moveTo>
                <a:cubicBezTo>
                  <a:pt x="3259691" y="882688"/>
                  <a:pt x="3254259" y="887262"/>
                  <a:pt x="3254259" y="892980"/>
                </a:cubicBezTo>
                <a:lnTo>
                  <a:pt x="3254259" y="1081380"/>
                </a:lnTo>
                <a:cubicBezTo>
                  <a:pt x="3254259" y="1087098"/>
                  <a:pt x="3259691" y="1091672"/>
                  <a:pt x="3266552" y="1091672"/>
                </a:cubicBezTo>
                <a:cubicBezTo>
                  <a:pt x="3273414" y="1091672"/>
                  <a:pt x="3279131" y="1087098"/>
                  <a:pt x="3279131" y="1081380"/>
                </a:cubicBezTo>
                <a:lnTo>
                  <a:pt x="3279131" y="892980"/>
                </a:lnTo>
                <a:cubicBezTo>
                  <a:pt x="3279131" y="887262"/>
                  <a:pt x="3273414" y="882688"/>
                  <a:pt x="3266552" y="882688"/>
                </a:cubicBezTo>
                <a:close/>
                <a:moveTo>
                  <a:pt x="3222240" y="882688"/>
                </a:moveTo>
                <a:cubicBezTo>
                  <a:pt x="3215664" y="882688"/>
                  <a:pt x="3209947" y="887262"/>
                  <a:pt x="3209947" y="892980"/>
                </a:cubicBezTo>
                <a:lnTo>
                  <a:pt x="3209947" y="1081380"/>
                </a:lnTo>
                <a:cubicBezTo>
                  <a:pt x="3209947" y="1087098"/>
                  <a:pt x="3215378" y="1091672"/>
                  <a:pt x="3222240" y="1091672"/>
                </a:cubicBezTo>
                <a:cubicBezTo>
                  <a:pt x="3229102" y="1091672"/>
                  <a:pt x="3234819" y="1087098"/>
                  <a:pt x="3234819" y="1081380"/>
                </a:cubicBezTo>
                <a:lnTo>
                  <a:pt x="3234819" y="892980"/>
                </a:lnTo>
                <a:cubicBezTo>
                  <a:pt x="3234819" y="887262"/>
                  <a:pt x="3229102" y="882688"/>
                  <a:pt x="3222240" y="882688"/>
                </a:cubicBezTo>
                <a:close/>
                <a:moveTo>
                  <a:pt x="3178499" y="882688"/>
                </a:moveTo>
                <a:cubicBezTo>
                  <a:pt x="3171352" y="882688"/>
                  <a:pt x="3165920" y="887262"/>
                  <a:pt x="3165920" y="892980"/>
                </a:cubicBezTo>
                <a:lnTo>
                  <a:pt x="3165920" y="1081380"/>
                </a:lnTo>
                <a:cubicBezTo>
                  <a:pt x="3165920" y="1087098"/>
                  <a:pt x="3171638" y="1091672"/>
                  <a:pt x="3178499" y="1091672"/>
                </a:cubicBezTo>
                <a:cubicBezTo>
                  <a:pt x="3185361" y="1091672"/>
                  <a:pt x="3191078" y="1087098"/>
                  <a:pt x="3191078" y="1081380"/>
                </a:cubicBezTo>
                <a:lnTo>
                  <a:pt x="3191078" y="892980"/>
                </a:lnTo>
                <a:cubicBezTo>
                  <a:pt x="3191078" y="887262"/>
                  <a:pt x="3185361" y="882688"/>
                  <a:pt x="3178499" y="882688"/>
                </a:cubicBezTo>
                <a:close/>
                <a:moveTo>
                  <a:pt x="3133900" y="882688"/>
                </a:moveTo>
                <a:cubicBezTo>
                  <a:pt x="3127325" y="882688"/>
                  <a:pt x="3121607" y="887262"/>
                  <a:pt x="3121607" y="892980"/>
                </a:cubicBezTo>
                <a:lnTo>
                  <a:pt x="3121607" y="1081380"/>
                </a:lnTo>
                <a:cubicBezTo>
                  <a:pt x="3121607" y="1087098"/>
                  <a:pt x="3127040" y="1091672"/>
                  <a:pt x="3133900" y="1091672"/>
                </a:cubicBezTo>
                <a:cubicBezTo>
                  <a:pt x="3141047" y="1091672"/>
                  <a:pt x="3146480" y="1087098"/>
                  <a:pt x="3146480" y="1081380"/>
                </a:cubicBezTo>
                <a:lnTo>
                  <a:pt x="3146480" y="892980"/>
                </a:lnTo>
                <a:cubicBezTo>
                  <a:pt x="3146480" y="887262"/>
                  <a:pt x="3141047" y="882688"/>
                  <a:pt x="3133900" y="882688"/>
                </a:cubicBezTo>
                <a:close/>
                <a:moveTo>
                  <a:pt x="3089873" y="882688"/>
                </a:moveTo>
                <a:cubicBezTo>
                  <a:pt x="3083299" y="882688"/>
                  <a:pt x="3077580" y="887262"/>
                  <a:pt x="3077580" y="892980"/>
                </a:cubicBezTo>
                <a:lnTo>
                  <a:pt x="3077580" y="1081380"/>
                </a:lnTo>
                <a:cubicBezTo>
                  <a:pt x="3077580" y="1087098"/>
                  <a:pt x="3083012" y="1091672"/>
                  <a:pt x="3089873" y="1091672"/>
                </a:cubicBezTo>
                <a:cubicBezTo>
                  <a:pt x="3097021" y="1091672"/>
                  <a:pt x="3102452" y="1087098"/>
                  <a:pt x="3102452" y="1081380"/>
                </a:cubicBezTo>
                <a:lnTo>
                  <a:pt x="3102452" y="892980"/>
                </a:lnTo>
                <a:cubicBezTo>
                  <a:pt x="3102452" y="887262"/>
                  <a:pt x="3096735" y="882688"/>
                  <a:pt x="3089873" y="882688"/>
                </a:cubicBezTo>
                <a:close/>
                <a:moveTo>
                  <a:pt x="3045847" y="882688"/>
                </a:moveTo>
                <a:cubicBezTo>
                  <a:pt x="3038985" y="882688"/>
                  <a:pt x="3033268" y="887262"/>
                  <a:pt x="3033268" y="892980"/>
                </a:cubicBezTo>
                <a:lnTo>
                  <a:pt x="3033268" y="1081380"/>
                </a:lnTo>
                <a:cubicBezTo>
                  <a:pt x="3033268" y="1087098"/>
                  <a:pt x="3038985" y="1091672"/>
                  <a:pt x="3045847" y="1091672"/>
                </a:cubicBezTo>
                <a:cubicBezTo>
                  <a:pt x="3052708" y="1091672"/>
                  <a:pt x="3058426" y="1087098"/>
                  <a:pt x="3058426" y="1081380"/>
                </a:cubicBezTo>
                <a:lnTo>
                  <a:pt x="3058426" y="892980"/>
                </a:lnTo>
                <a:cubicBezTo>
                  <a:pt x="3058426" y="887262"/>
                  <a:pt x="3052708" y="882688"/>
                  <a:pt x="3045847" y="882688"/>
                </a:cubicBezTo>
                <a:close/>
                <a:moveTo>
                  <a:pt x="3001534" y="882688"/>
                </a:moveTo>
                <a:cubicBezTo>
                  <a:pt x="2994673" y="882688"/>
                  <a:pt x="2988956" y="887262"/>
                  <a:pt x="2988956" y="892980"/>
                </a:cubicBezTo>
                <a:lnTo>
                  <a:pt x="2988956" y="1081380"/>
                </a:lnTo>
                <a:cubicBezTo>
                  <a:pt x="2988956" y="1087098"/>
                  <a:pt x="2994673" y="1091672"/>
                  <a:pt x="3001534" y="1091672"/>
                </a:cubicBezTo>
                <a:cubicBezTo>
                  <a:pt x="3008682" y="1091672"/>
                  <a:pt x="3014113" y="1087098"/>
                  <a:pt x="3014113" y="1081380"/>
                </a:cubicBezTo>
                <a:lnTo>
                  <a:pt x="3014113" y="892980"/>
                </a:lnTo>
                <a:cubicBezTo>
                  <a:pt x="3014113" y="887262"/>
                  <a:pt x="3008396" y="882688"/>
                  <a:pt x="3001534" y="882688"/>
                </a:cubicBezTo>
                <a:close/>
                <a:moveTo>
                  <a:pt x="2957508" y="882688"/>
                </a:moveTo>
                <a:cubicBezTo>
                  <a:pt x="2950646" y="882688"/>
                  <a:pt x="2944928" y="887262"/>
                  <a:pt x="2944928" y="892980"/>
                </a:cubicBezTo>
                <a:lnTo>
                  <a:pt x="2944928" y="1081380"/>
                </a:lnTo>
                <a:cubicBezTo>
                  <a:pt x="2944928" y="1087098"/>
                  <a:pt x="2950646" y="1091672"/>
                  <a:pt x="2957508" y="1091672"/>
                </a:cubicBezTo>
                <a:cubicBezTo>
                  <a:pt x="2964369" y="1091672"/>
                  <a:pt x="2969801" y="1087098"/>
                  <a:pt x="2969801" y="1081380"/>
                </a:cubicBezTo>
                <a:lnTo>
                  <a:pt x="2969801" y="892980"/>
                </a:lnTo>
                <a:cubicBezTo>
                  <a:pt x="2969801" y="887262"/>
                  <a:pt x="2964369" y="882688"/>
                  <a:pt x="2957508" y="882688"/>
                </a:cubicBezTo>
                <a:close/>
                <a:moveTo>
                  <a:pt x="2948931" y="861532"/>
                </a:moveTo>
                <a:lnTo>
                  <a:pt x="3407781" y="861532"/>
                </a:lnTo>
                <a:cubicBezTo>
                  <a:pt x="3420932" y="861532"/>
                  <a:pt x="3431796" y="872396"/>
                  <a:pt x="3431796" y="885547"/>
                </a:cubicBezTo>
                <a:lnTo>
                  <a:pt x="3431796" y="1107397"/>
                </a:lnTo>
                <a:lnTo>
                  <a:pt x="3413499" y="1107397"/>
                </a:lnTo>
                <a:cubicBezTo>
                  <a:pt x="3414928" y="1139987"/>
                  <a:pt x="3423220" y="1210315"/>
                  <a:pt x="3467532" y="1245766"/>
                </a:cubicBezTo>
                <a:cubicBezTo>
                  <a:pt x="3531285" y="1296654"/>
                  <a:pt x="3570738" y="1378417"/>
                  <a:pt x="3576455" y="1470474"/>
                </a:cubicBezTo>
                <a:cubicBezTo>
                  <a:pt x="3577027" y="1472761"/>
                  <a:pt x="3577027" y="1654871"/>
                  <a:pt x="3577313" y="2010516"/>
                </a:cubicBezTo>
                <a:cubicBezTo>
                  <a:pt x="3577313" y="2075413"/>
                  <a:pt x="3524424" y="2128302"/>
                  <a:pt x="3459527" y="2128302"/>
                </a:cubicBezTo>
                <a:lnTo>
                  <a:pt x="2896899" y="2128302"/>
                </a:lnTo>
                <a:cubicBezTo>
                  <a:pt x="2832003" y="2128302"/>
                  <a:pt x="2779113" y="2075413"/>
                  <a:pt x="2779113" y="2010516"/>
                </a:cubicBezTo>
                <a:cubicBezTo>
                  <a:pt x="2779399" y="1656587"/>
                  <a:pt x="2779399" y="1476192"/>
                  <a:pt x="2779685" y="1473905"/>
                </a:cubicBezTo>
                <a:cubicBezTo>
                  <a:pt x="2783687" y="1377274"/>
                  <a:pt x="2820567" y="1300370"/>
                  <a:pt x="2888894" y="1245766"/>
                </a:cubicBezTo>
                <a:cubicBezTo>
                  <a:pt x="2933207" y="1210315"/>
                  <a:pt x="2941498" y="1139987"/>
                  <a:pt x="2942927" y="1107397"/>
                </a:cubicBezTo>
                <a:lnTo>
                  <a:pt x="2924916" y="1107397"/>
                </a:lnTo>
                <a:lnTo>
                  <a:pt x="2924916" y="885547"/>
                </a:lnTo>
                <a:cubicBezTo>
                  <a:pt x="2924916" y="872396"/>
                  <a:pt x="2935780" y="861532"/>
                  <a:pt x="2948931" y="861532"/>
                </a:cubicBezTo>
                <a:close/>
                <a:moveTo>
                  <a:pt x="4368652" y="860675"/>
                </a:moveTo>
                <a:cubicBezTo>
                  <a:pt x="4361790" y="863533"/>
                  <a:pt x="4354357" y="865249"/>
                  <a:pt x="4346638" y="865249"/>
                </a:cubicBezTo>
                <a:cubicBezTo>
                  <a:pt x="4340063" y="865249"/>
                  <a:pt x="4334059" y="864105"/>
                  <a:pt x="4328055" y="861818"/>
                </a:cubicBezTo>
                <a:cubicBezTo>
                  <a:pt x="4334345" y="952731"/>
                  <a:pt x="4358360" y="1037353"/>
                  <a:pt x="4395239" y="1107109"/>
                </a:cubicBezTo>
                <a:lnTo>
                  <a:pt x="4440696" y="1107109"/>
                </a:lnTo>
                <a:cubicBezTo>
                  <a:pt x="4401528" y="1039927"/>
                  <a:pt x="4375227" y="954732"/>
                  <a:pt x="4368652" y="860675"/>
                </a:cubicBezTo>
                <a:close/>
                <a:moveTo>
                  <a:pt x="3659935" y="860389"/>
                </a:moveTo>
                <a:cubicBezTo>
                  <a:pt x="3648500" y="874111"/>
                  <a:pt x="3644211" y="887262"/>
                  <a:pt x="3646499" y="899555"/>
                </a:cubicBezTo>
                <a:cubicBezTo>
                  <a:pt x="3651073" y="922998"/>
                  <a:pt x="3679661" y="940437"/>
                  <a:pt x="3689668" y="945869"/>
                </a:cubicBezTo>
                <a:cubicBezTo>
                  <a:pt x="3701389" y="935577"/>
                  <a:pt x="3707107" y="924713"/>
                  <a:pt x="3706535" y="912992"/>
                </a:cubicBezTo>
                <a:cubicBezTo>
                  <a:pt x="3705677" y="894695"/>
                  <a:pt x="3689382" y="876685"/>
                  <a:pt x="3674229" y="868107"/>
                </a:cubicBezTo>
                <a:cubicBezTo>
                  <a:pt x="3671656" y="866678"/>
                  <a:pt x="3667940" y="864676"/>
                  <a:pt x="3663937" y="862390"/>
                </a:cubicBezTo>
                <a:close/>
                <a:moveTo>
                  <a:pt x="4952150" y="853813"/>
                </a:moveTo>
                <a:cubicBezTo>
                  <a:pt x="4946431" y="950729"/>
                  <a:pt x="4920129" y="1038497"/>
                  <a:pt x="4879534" y="1107397"/>
                </a:cubicBezTo>
                <a:lnTo>
                  <a:pt x="4925276" y="1107397"/>
                </a:lnTo>
                <a:cubicBezTo>
                  <a:pt x="4961870" y="1038497"/>
                  <a:pt x="4985598" y="955018"/>
                  <a:pt x="4991888" y="864678"/>
                </a:cubicBezTo>
                <a:cubicBezTo>
                  <a:pt x="4990172" y="864963"/>
                  <a:pt x="4988744" y="865249"/>
                  <a:pt x="4987027" y="865249"/>
                </a:cubicBezTo>
                <a:cubicBezTo>
                  <a:pt x="4974163" y="865249"/>
                  <a:pt x="4961870" y="860960"/>
                  <a:pt x="4952150" y="853813"/>
                </a:cubicBezTo>
                <a:close/>
                <a:moveTo>
                  <a:pt x="3655647" y="833801"/>
                </a:moveTo>
                <a:lnTo>
                  <a:pt x="3671656" y="842377"/>
                </a:lnTo>
                <a:cubicBezTo>
                  <a:pt x="3677375" y="845237"/>
                  <a:pt x="3681948" y="847809"/>
                  <a:pt x="3684808" y="849524"/>
                </a:cubicBezTo>
                <a:cubicBezTo>
                  <a:pt x="3704820" y="861246"/>
                  <a:pt x="3725976" y="885261"/>
                  <a:pt x="3727404" y="911848"/>
                </a:cubicBezTo>
                <a:cubicBezTo>
                  <a:pt x="3728549" y="933004"/>
                  <a:pt x="3717970" y="951586"/>
                  <a:pt x="3695957" y="967596"/>
                </a:cubicBezTo>
                <a:lnTo>
                  <a:pt x="3694814" y="968454"/>
                </a:lnTo>
                <a:lnTo>
                  <a:pt x="3692813" y="968740"/>
                </a:lnTo>
                <a:lnTo>
                  <a:pt x="3685951" y="967882"/>
                </a:lnTo>
                <a:cubicBezTo>
                  <a:pt x="3680519" y="965595"/>
                  <a:pt x="3633061" y="943010"/>
                  <a:pt x="3625343" y="903558"/>
                </a:cubicBezTo>
                <a:cubicBezTo>
                  <a:pt x="3621340" y="882116"/>
                  <a:pt x="3629631" y="860674"/>
                  <a:pt x="3649929" y="839518"/>
                </a:cubicBezTo>
                <a:close/>
                <a:moveTo>
                  <a:pt x="6575137" y="793776"/>
                </a:moveTo>
                <a:cubicBezTo>
                  <a:pt x="6570849" y="793205"/>
                  <a:pt x="6566560" y="795492"/>
                  <a:pt x="6565989" y="799209"/>
                </a:cubicBezTo>
                <a:lnTo>
                  <a:pt x="6544547" y="923570"/>
                </a:lnTo>
                <a:cubicBezTo>
                  <a:pt x="6543975" y="927286"/>
                  <a:pt x="6547120" y="930717"/>
                  <a:pt x="6551694" y="931574"/>
                </a:cubicBezTo>
                <a:cubicBezTo>
                  <a:pt x="6556269" y="932146"/>
                  <a:pt x="6560557" y="929859"/>
                  <a:pt x="6561129" y="926143"/>
                </a:cubicBezTo>
                <a:lnTo>
                  <a:pt x="6582283" y="801782"/>
                </a:lnTo>
                <a:cubicBezTo>
                  <a:pt x="6582856" y="798065"/>
                  <a:pt x="6579711" y="794634"/>
                  <a:pt x="6575137" y="793776"/>
                </a:cubicBezTo>
                <a:close/>
                <a:moveTo>
                  <a:pt x="6546263" y="788630"/>
                </a:moveTo>
                <a:cubicBezTo>
                  <a:pt x="6541688" y="788059"/>
                  <a:pt x="6537400" y="790346"/>
                  <a:pt x="6536828" y="794062"/>
                </a:cubicBezTo>
                <a:lnTo>
                  <a:pt x="6515386" y="918424"/>
                </a:lnTo>
                <a:cubicBezTo>
                  <a:pt x="6514815" y="922140"/>
                  <a:pt x="6517959" y="925571"/>
                  <a:pt x="6522534" y="926429"/>
                </a:cubicBezTo>
                <a:cubicBezTo>
                  <a:pt x="6527108" y="927000"/>
                  <a:pt x="6531395" y="924713"/>
                  <a:pt x="6531968" y="920997"/>
                </a:cubicBezTo>
                <a:lnTo>
                  <a:pt x="6553123" y="796636"/>
                </a:lnTo>
                <a:cubicBezTo>
                  <a:pt x="6553982" y="792919"/>
                  <a:pt x="6550551" y="789489"/>
                  <a:pt x="6546263" y="788630"/>
                </a:cubicBezTo>
                <a:close/>
                <a:moveTo>
                  <a:pt x="6517101" y="783770"/>
                </a:moveTo>
                <a:cubicBezTo>
                  <a:pt x="6512527" y="783199"/>
                  <a:pt x="6508239" y="785486"/>
                  <a:pt x="6507667" y="789203"/>
                </a:cubicBezTo>
                <a:lnTo>
                  <a:pt x="6486512" y="913564"/>
                </a:lnTo>
                <a:cubicBezTo>
                  <a:pt x="6485940" y="917280"/>
                  <a:pt x="6489085" y="920711"/>
                  <a:pt x="6493659" y="921569"/>
                </a:cubicBezTo>
                <a:cubicBezTo>
                  <a:pt x="6498233" y="922140"/>
                  <a:pt x="6502521" y="919853"/>
                  <a:pt x="6503093" y="916137"/>
                </a:cubicBezTo>
                <a:lnTo>
                  <a:pt x="6524249" y="791776"/>
                </a:lnTo>
                <a:cubicBezTo>
                  <a:pt x="6524821" y="788059"/>
                  <a:pt x="6521675" y="784628"/>
                  <a:pt x="6517101" y="783770"/>
                </a:cubicBezTo>
                <a:close/>
                <a:moveTo>
                  <a:pt x="6487941" y="778910"/>
                </a:moveTo>
                <a:cubicBezTo>
                  <a:pt x="6483367" y="778339"/>
                  <a:pt x="6479078" y="780626"/>
                  <a:pt x="6478507" y="784342"/>
                </a:cubicBezTo>
                <a:lnTo>
                  <a:pt x="6457351" y="908704"/>
                </a:lnTo>
                <a:cubicBezTo>
                  <a:pt x="6456779" y="912420"/>
                  <a:pt x="6459924" y="915851"/>
                  <a:pt x="6464498" y="916708"/>
                </a:cubicBezTo>
                <a:cubicBezTo>
                  <a:pt x="6469073" y="917280"/>
                  <a:pt x="6473361" y="914993"/>
                  <a:pt x="6473933" y="911277"/>
                </a:cubicBezTo>
                <a:lnTo>
                  <a:pt x="6495087" y="786915"/>
                </a:lnTo>
                <a:cubicBezTo>
                  <a:pt x="6495660" y="783199"/>
                  <a:pt x="6492515" y="779769"/>
                  <a:pt x="6487941" y="778910"/>
                </a:cubicBezTo>
                <a:close/>
                <a:moveTo>
                  <a:pt x="6458495" y="773764"/>
                </a:moveTo>
                <a:cubicBezTo>
                  <a:pt x="6453921" y="773193"/>
                  <a:pt x="6449918" y="775480"/>
                  <a:pt x="6449061" y="779196"/>
                </a:cubicBezTo>
                <a:lnTo>
                  <a:pt x="6427905" y="903558"/>
                </a:lnTo>
                <a:cubicBezTo>
                  <a:pt x="6427333" y="907274"/>
                  <a:pt x="6430478" y="910705"/>
                  <a:pt x="6435052" y="911563"/>
                </a:cubicBezTo>
                <a:cubicBezTo>
                  <a:pt x="6439626" y="912134"/>
                  <a:pt x="6443915" y="909847"/>
                  <a:pt x="6444486" y="906131"/>
                </a:cubicBezTo>
                <a:lnTo>
                  <a:pt x="6465641" y="781769"/>
                </a:lnTo>
                <a:cubicBezTo>
                  <a:pt x="6466213" y="778053"/>
                  <a:pt x="6462783" y="774622"/>
                  <a:pt x="6458495" y="773764"/>
                </a:cubicBezTo>
                <a:close/>
                <a:moveTo>
                  <a:pt x="6429619" y="768904"/>
                </a:moveTo>
                <a:cubicBezTo>
                  <a:pt x="6424759" y="768333"/>
                  <a:pt x="6420757" y="770620"/>
                  <a:pt x="6420185" y="774336"/>
                </a:cubicBezTo>
                <a:lnTo>
                  <a:pt x="6399030" y="898698"/>
                </a:lnTo>
                <a:cubicBezTo>
                  <a:pt x="6398458" y="902414"/>
                  <a:pt x="6401603" y="905844"/>
                  <a:pt x="6406177" y="906703"/>
                </a:cubicBezTo>
                <a:cubicBezTo>
                  <a:pt x="6410751" y="907274"/>
                  <a:pt x="6415039" y="904987"/>
                  <a:pt x="6415611" y="901271"/>
                </a:cubicBezTo>
                <a:lnTo>
                  <a:pt x="6436481" y="776909"/>
                </a:lnTo>
                <a:cubicBezTo>
                  <a:pt x="6437339" y="773193"/>
                  <a:pt x="6434195" y="769762"/>
                  <a:pt x="6429619" y="768904"/>
                </a:cubicBezTo>
                <a:close/>
                <a:moveTo>
                  <a:pt x="6400173" y="764044"/>
                </a:moveTo>
                <a:cubicBezTo>
                  <a:pt x="6395599" y="763473"/>
                  <a:pt x="6391311" y="765760"/>
                  <a:pt x="6390739" y="769476"/>
                </a:cubicBezTo>
                <a:lnTo>
                  <a:pt x="6369583" y="893838"/>
                </a:lnTo>
                <a:cubicBezTo>
                  <a:pt x="6369011" y="897554"/>
                  <a:pt x="6372157" y="900985"/>
                  <a:pt x="6376731" y="901842"/>
                </a:cubicBezTo>
                <a:cubicBezTo>
                  <a:pt x="6381305" y="902414"/>
                  <a:pt x="6385593" y="900127"/>
                  <a:pt x="6386165" y="896410"/>
                </a:cubicBezTo>
                <a:lnTo>
                  <a:pt x="6407321" y="772049"/>
                </a:lnTo>
                <a:cubicBezTo>
                  <a:pt x="6407893" y="768333"/>
                  <a:pt x="6404747" y="764902"/>
                  <a:pt x="6400173" y="764044"/>
                </a:cubicBezTo>
                <a:close/>
                <a:moveTo>
                  <a:pt x="1582099" y="761757"/>
                </a:moveTo>
                <a:cubicBezTo>
                  <a:pt x="1564376" y="778053"/>
                  <a:pt x="1543791" y="786343"/>
                  <a:pt x="1520063" y="786343"/>
                </a:cubicBezTo>
                <a:cubicBezTo>
                  <a:pt x="1502909" y="786343"/>
                  <a:pt x="1488043" y="781769"/>
                  <a:pt x="1478894" y="778053"/>
                </a:cubicBezTo>
                <a:cubicBezTo>
                  <a:pt x="1475464" y="784056"/>
                  <a:pt x="1472033" y="789775"/>
                  <a:pt x="1467744" y="794920"/>
                </a:cubicBezTo>
                <a:lnTo>
                  <a:pt x="1465457" y="797494"/>
                </a:lnTo>
                <a:cubicBezTo>
                  <a:pt x="1464600" y="798923"/>
                  <a:pt x="1463743" y="799494"/>
                  <a:pt x="1463171" y="800352"/>
                </a:cubicBezTo>
                <a:cubicBezTo>
                  <a:pt x="1456595" y="807785"/>
                  <a:pt x="1449162" y="814075"/>
                  <a:pt x="1441443" y="818649"/>
                </a:cubicBezTo>
                <a:cubicBezTo>
                  <a:pt x="1438870" y="820364"/>
                  <a:pt x="1435726" y="822080"/>
                  <a:pt x="1432866" y="823508"/>
                </a:cubicBezTo>
                <a:cubicBezTo>
                  <a:pt x="1512629" y="892408"/>
                  <a:pt x="1594680" y="927286"/>
                  <a:pt x="1676443" y="927286"/>
                </a:cubicBezTo>
                <a:cubicBezTo>
                  <a:pt x="1735336" y="927286"/>
                  <a:pt x="1781364" y="908704"/>
                  <a:pt x="1807952" y="894410"/>
                </a:cubicBezTo>
                <a:cubicBezTo>
                  <a:pt x="1805950" y="893838"/>
                  <a:pt x="1803949" y="893552"/>
                  <a:pt x="1801662" y="892980"/>
                </a:cubicBezTo>
                <a:lnTo>
                  <a:pt x="1799946" y="892408"/>
                </a:lnTo>
                <a:cubicBezTo>
                  <a:pt x="1794515" y="890978"/>
                  <a:pt x="1788797" y="889264"/>
                  <a:pt x="1783079" y="887548"/>
                </a:cubicBezTo>
                <a:lnTo>
                  <a:pt x="1782222" y="883260"/>
                </a:lnTo>
                <a:lnTo>
                  <a:pt x="1781078" y="887262"/>
                </a:lnTo>
                <a:cubicBezTo>
                  <a:pt x="1749344" y="877256"/>
                  <a:pt x="1716753" y="861246"/>
                  <a:pt x="1683304" y="839804"/>
                </a:cubicBezTo>
                <a:cubicBezTo>
                  <a:pt x="1636133" y="810072"/>
                  <a:pt x="1598681" y="776909"/>
                  <a:pt x="1582099" y="761757"/>
                </a:cubicBezTo>
                <a:close/>
                <a:moveTo>
                  <a:pt x="897112" y="761186"/>
                </a:moveTo>
                <a:cubicBezTo>
                  <a:pt x="880816" y="776337"/>
                  <a:pt x="843079" y="809215"/>
                  <a:pt x="795907" y="839233"/>
                </a:cubicBezTo>
                <a:cubicBezTo>
                  <a:pt x="762458" y="860675"/>
                  <a:pt x="729867" y="876398"/>
                  <a:pt x="698991" y="886405"/>
                </a:cubicBezTo>
                <a:lnTo>
                  <a:pt x="697275" y="886976"/>
                </a:lnTo>
                <a:cubicBezTo>
                  <a:pt x="690415" y="889264"/>
                  <a:pt x="684696" y="890692"/>
                  <a:pt x="679265" y="892122"/>
                </a:cubicBezTo>
                <a:cubicBezTo>
                  <a:pt x="678408" y="892408"/>
                  <a:pt x="677835" y="892694"/>
                  <a:pt x="677263" y="892694"/>
                </a:cubicBezTo>
                <a:cubicBezTo>
                  <a:pt x="674976" y="893265"/>
                  <a:pt x="672975" y="893552"/>
                  <a:pt x="671260" y="893838"/>
                </a:cubicBezTo>
                <a:cubicBezTo>
                  <a:pt x="697848" y="908132"/>
                  <a:pt x="743876" y="926715"/>
                  <a:pt x="802769" y="926715"/>
                </a:cubicBezTo>
                <a:cubicBezTo>
                  <a:pt x="884533" y="926715"/>
                  <a:pt x="966583" y="891837"/>
                  <a:pt x="1046346" y="822937"/>
                </a:cubicBezTo>
                <a:cubicBezTo>
                  <a:pt x="1043486" y="821222"/>
                  <a:pt x="1040342" y="819507"/>
                  <a:pt x="1037483" y="817791"/>
                </a:cubicBezTo>
                <a:cubicBezTo>
                  <a:pt x="1029764" y="813503"/>
                  <a:pt x="1022331" y="807214"/>
                  <a:pt x="1015755" y="799494"/>
                </a:cubicBezTo>
                <a:lnTo>
                  <a:pt x="1013468" y="796922"/>
                </a:lnTo>
                <a:lnTo>
                  <a:pt x="1016041" y="793491"/>
                </a:lnTo>
                <a:lnTo>
                  <a:pt x="1012897" y="796064"/>
                </a:lnTo>
                <a:cubicBezTo>
                  <a:pt x="1012038" y="795206"/>
                  <a:pt x="1011753" y="794920"/>
                  <a:pt x="1011467" y="794349"/>
                </a:cubicBezTo>
                <a:cubicBezTo>
                  <a:pt x="1007178" y="789203"/>
                  <a:pt x="1003462" y="783485"/>
                  <a:pt x="1000317" y="777481"/>
                </a:cubicBezTo>
                <a:cubicBezTo>
                  <a:pt x="991455" y="781198"/>
                  <a:pt x="976303" y="785772"/>
                  <a:pt x="959149" y="785772"/>
                </a:cubicBezTo>
                <a:cubicBezTo>
                  <a:pt x="935421" y="785772"/>
                  <a:pt x="914837" y="777481"/>
                  <a:pt x="897112" y="761186"/>
                </a:cubicBezTo>
                <a:close/>
                <a:moveTo>
                  <a:pt x="6371013" y="758898"/>
                </a:moveTo>
                <a:cubicBezTo>
                  <a:pt x="6366439" y="758327"/>
                  <a:pt x="6362150" y="760614"/>
                  <a:pt x="6361579" y="764330"/>
                </a:cubicBezTo>
                <a:lnTo>
                  <a:pt x="6340423" y="888692"/>
                </a:lnTo>
                <a:cubicBezTo>
                  <a:pt x="6339851" y="892408"/>
                  <a:pt x="6342996" y="895838"/>
                  <a:pt x="6347570" y="896696"/>
                </a:cubicBezTo>
                <a:cubicBezTo>
                  <a:pt x="6352143" y="897268"/>
                  <a:pt x="6356433" y="894981"/>
                  <a:pt x="6357005" y="891265"/>
                </a:cubicBezTo>
                <a:lnTo>
                  <a:pt x="6378161" y="766903"/>
                </a:lnTo>
                <a:cubicBezTo>
                  <a:pt x="6378731" y="763187"/>
                  <a:pt x="6375587" y="759756"/>
                  <a:pt x="6371013" y="758898"/>
                </a:cubicBezTo>
                <a:close/>
                <a:moveTo>
                  <a:pt x="2213912" y="756325"/>
                </a:moveTo>
                <a:lnTo>
                  <a:pt x="2213341" y="958734"/>
                </a:lnTo>
                <a:cubicBezTo>
                  <a:pt x="2213341" y="1015054"/>
                  <a:pt x="2234783" y="1067943"/>
                  <a:pt x="2274521" y="1107682"/>
                </a:cubicBezTo>
                <a:cubicBezTo>
                  <a:pt x="2313973" y="1147420"/>
                  <a:pt x="2366862" y="1169433"/>
                  <a:pt x="2422896" y="1169719"/>
                </a:cubicBezTo>
                <a:lnTo>
                  <a:pt x="2423468" y="1182299"/>
                </a:lnTo>
                <a:lnTo>
                  <a:pt x="2423468" y="1169719"/>
                </a:lnTo>
                <a:cubicBezTo>
                  <a:pt x="2539253" y="1169719"/>
                  <a:pt x="2633596" y="1075662"/>
                  <a:pt x="2633882" y="960163"/>
                </a:cubicBezTo>
                <a:lnTo>
                  <a:pt x="2634453" y="757468"/>
                </a:lnTo>
                <a:lnTo>
                  <a:pt x="2424040" y="756897"/>
                </a:lnTo>
                <a:close/>
                <a:moveTo>
                  <a:pt x="6341853" y="754038"/>
                </a:moveTo>
                <a:cubicBezTo>
                  <a:pt x="6337279" y="753467"/>
                  <a:pt x="6332990" y="755754"/>
                  <a:pt x="6332419" y="759470"/>
                </a:cubicBezTo>
                <a:lnTo>
                  <a:pt x="6311262" y="883831"/>
                </a:lnTo>
                <a:cubicBezTo>
                  <a:pt x="6310691" y="887548"/>
                  <a:pt x="6313835" y="890978"/>
                  <a:pt x="6318409" y="891836"/>
                </a:cubicBezTo>
                <a:cubicBezTo>
                  <a:pt x="6322983" y="892408"/>
                  <a:pt x="6327271" y="890121"/>
                  <a:pt x="6327843" y="886405"/>
                </a:cubicBezTo>
                <a:lnTo>
                  <a:pt x="6348999" y="762043"/>
                </a:lnTo>
                <a:cubicBezTo>
                  <a:pt x="6349571" y="758327"/>
                  <a:pt x="6346427" y="754895"/>
                  <a:pt x="6341853" y="754038"/>
                </a:cubicBezTo>
                <a:close/>
                <a:moveTo>
                  <a:pt x="6312691" y="749178"/>
                </a:moveTo>
                <a:cubicBezTo>
                  <a:pt x="6308117" y="748606"/>
                  <a:pt x="6304115" y="750893"/>
                  <a:pt x="6303257" y="754610"/>
                </a:cubicBezTo>
                <a:lnTo>
                  <a:pt x="6282102" y="878971"/>
                </a:lnTo>
                <a:cubicBezTo>
                  <a:pt x="6281529" y="882688"/>
                  <a:pt x="6284675" y="886118"/>
                  <a:pt x="6289249" y="886976"/>
                </a:cubicBezTo>
                <a:cubicBezTo>
                  <a:pt x="6293823" y="887548"/>
                  <a:pt x="6298111" y="885261"/>
                  <a:pt x="6298683" y="881545"/>
                </a:cubicBezTo>
                <a:lnTo>
                  <a:pt x="6319839" y="757183"/>
                </a:lnTo>
                <a:cubicBezTo>
                  <a:pt x="6320411" y="753752"/>
                  <a:pt x="6317266" y="750035"/>
                  <a:pt x="6312691" y="749178"/>
                </a:cubicBezTo>
                <a:close/>
                <a:moveTo>
                  <a:pt x="5715184" y="748606"/>
                </a:moveTo>
                <a:cubicBezTo>
                  <a:pt x="5690312" y="748606"/>
                  <a:pt x="5670301" y="768904"/>
                  <a:pt x="5670301" y="793490"/>
                </a:cubicBezTo>
                <a:lnTo>
                  <a:pt x="5670301" y="823223"/>
                </a:lnTo>
                <a:lnTo>
                  <a:pt x="5619126" y="823223"/>
                </a:lnTo>
                <a:cubicBezTo>
                  <a:pt x="5609978" y="823223"/>
                  <a:pt x="5602259" y="830942"/>
                  <a:pt x="5602259" y="840090"/>
                </a:cubicBezTo>
                <a:cubicBezTo>
                  <a:pt x="5602259" y="849524"/>
                  <a:pt x="5609692" y="856957"/>
                  <a:pt x="5619126" y="856957"/>
                </a:cubicBezTo>
                <a:lnTo>
                  <a:pt x="5670301" y="856957"/>
                </a:lnTo>
                <a:lnTo>
                  <a:pt x="5670301" y="900413"/>
                </a:lnTo>
                <a:lnTo>
                  <a:pt x="5619126" y="900413"/>
                </a:lnTo>
                <a:cubicBezTo>
                  <a:pt x="5609978" y="900413"/>
                  <a:pt x="5602259" y="908132"/>
                  <a:pt x="5602259" y="917280"/>
                </a:cubicBezTo>
                <a:cubicBezTo>
                  <a:pt x="5602259" y="926714"/>
                  <a:pt x="5609692" y="934147"/>
                  <a:pt x="5619126" y="934147"/>
                </a:cubicBezTo>
                <a:lnTo>
                  <a:pt x="5670301" y="934147"/>
                </a:lnTo>
                <a:lnTo>
                  <a:pt x="5670301" y="977602"/>
                </a:lnTo>
                <a:lnTo>
                  <a:pt x="5619126" y="977602"/>
                </a:lnTo>
                <a:cubicBezTo>
                  <a:pt x="5609978" y="977602"/>
                  <a:pt x="5602259" y="985035"/>
                  <a:pt x="5602259" y="994470"/>
                </a:cubicBezTo>
                <a:cubicBezTo>
                  <a:pt x="5602259" y="1003904"/>
                  <a:pt x="5609692" y="1011337"/>
                  <a:pt x="5619126" y="1011337"/>
                </a:cubicBezTo>
                <a:lnTo>
                  <a:pt x="5670301" y="1011337"/>
                </a:lnTo>
                <a:lnTo>
                  <a:pt x="5670301" y="1054792"/>
                </a:lnTo>
                <a:lnTo>
                  <a:pt x="5619126" y="1054792"/>
                </a:lnTo>
                <a:cubicBezTo>
                  <a:pt x="5609978" y="1054792"/>
                  <a:pt x="5602259" y="1062511"/>
                  <a:pt x="5602259" y="1071660"/>
                </a:cubicBezTo>
                <a:cubicBezTo>
                  <a:pt x="5602259" y="1080808"/>
                  <a:pt x="5609692" y="1088527"/>
                  <a:pt x="5619126" y="1088527"/>
                </a:cubicBezTo>
                <a:lnTo>
                  <a:pt x="5670301" y="1088527"/>
                </a:lnTo>
                <a:lnTo>
                  <a:pt x="5670301" y="1131982"/>
                </a:lnTo>
                <a:lnTo>
                  <a:pt x="5619126" y="1131982"/>
                </a:lnTo>
                <a:cubicBezTo>
                  <a:pt x="5609978" y="1131982"/>
                  <a:pt x="5602259" y="1139701"/>
                  <a:pt x="5602259" y="1148850"/>
                </a:cubicBezTo>
                <a:cubicBezTo>
                  <a:pt x="5602259" y="1158284"/>
                  <a:pt x="5609692" y="1165717"/>
                  <a:pt x="5619126" y="1165717"/>
                </a:cubicBezTo>
                <a:lnTo>
                  <a:pt x="5670301" y="1165717"/>
                </a:lnTo>
                <a:lnTo>
                  <a:pt x="5670301" y="1209172"/>
                </a:lnTo>
                <a:lnTo>
                  <a:pt x="5619126" y="1209172"/>
                </a:lnTo>
                <a:cubicBezTo>
                  <a:pt x="5609978" y="1209172"/>
                  <a:pt x="5602259" y="1216891"/>
                  <a:pt x="5602259" y="1226040"/>
                </a:cubicBezTo>
                <a:cubicBezTo>
                  <a:pt x="5602259" y="1235473"/>
                  <a:pt x="5609692" y="1242907"/>
                  <a:pt x="5619126" y="1242907"/>
                </a:cubicBezTo>
                <a:lnTo>
                  <a:pt x="5670301" y="1242907"/>
                </a:lnTo>
                <a:lnTo>
                  <a:pt x="5670301" y="1286361"/>
                </a:lnTo>
                <a:lnTo>
                  <a:pt x="5619126" y="1286361"/>
                </a:lnTo>
                <a:cubicBezTo>
                  <a:pt x="5609978" y="1286361"/>
                  <a:pt x="5602259" y="1294081"/>
                  <a:pt x="5602259" y="1303229"/>
                </a:cubicBezTo>
                <a:cubicBezTo>
                  <a:pt x="5602259" y="1312663"/>
                  <a:pt x="5609692" y="1320096"/>
                  <a:pt x="5619126" y="1320096"/>
                </a:cubicBezTo>
                <a:lnTo>
                  <a:pt x="5670301" y="1320096"/>
                </a:lnTo>
                <a:lnTo>
                  <a:pt x="5670301" y="1349543"/>
                </a:lnTo>
                <a:cubicBezTo>
                  <a:pt x="5608548" y="1368697"/>
                  <a:pt x="5563664" y="1426161"/>
                  <a:pt x="5563664" y="1494202"/>
                </a:cubicBezTo>
                <a:cubicBezTo>
                  <a:pt x="5563664" y="1577968"/>
                  <a:pt x="5631420" y="1645723"/>
                  <a:pt x="5715184" y="1645723"/>
                </a:cubicBezTo>
                <a:cubicBezTo>
                  <a:pt x="5798949" y="1645723"/>
                  <a:pt x="5866705" y="1577968"/>
                  <a:pt x="5866705" y="1494202"/>
                </a:cubicBezTo>
                <a:cubicBezTo>
                  <a:pt x="5866705" y="1426161"/>
                  <a:pt x="5821821" y="1368697"/>
                  <a:pt x="5760069" y="1349543"/>
                </a:cubicBezTo>
                <a:lnTo>
                  <a:pt x="5760069" y="1320096"/>
                </a:lnTo>
                <a:lnTo>
                  <a:pt x="5811529" y="1320096"/>
                </a:lnTo>
                <a:cubicBezTo>
                  <a:pt x="5820963" y="1320096"/>
                  <a:pt x="5828396" y="1312663"/>
                  <a:pt x="5828396" y="1303229"/>
                </a:cubicBezTo>
                <a:cubicBezTo>
                  <a:pt x="5828396" y="1293795"/>
                  <a:pt x="5820677" y="1286361"/>
                  <a:pt x="5811529" y="1286361"/>
                </a:cubicBezTo>
                <a:lnTo>
                  <a:pt x="5760069" y="1286361"/>
                </a:lnTo>
                <a:lnTo>
                  <a:pt x="5760069" y="1242907"/>
                </a:lnTo>
                <a:lnTo>
                  <a:pt x="5811529" y="1242907"/>
                </a:lnTo>
                <a:cubicBezTo>
                  <a:pt x="5820963" y="1242907"/>
                  <a:pt x="5828396" y="1235473"/>
                  <a:pt x="5828396" y="1226040"/>
                </a:cubicBezTo>
                <a:cubicBezTo>
                  <a:pt x="5828396" y="1216605"/>
                  <a:pt x="5820677" y="1209172"/>
                  <a:pt x="5811529" y="1209172"/>
                </a:cubicBezTo>
                <a:lnTo>
                  <a:pt x="5760069" y="1209172"/>
                </a:lnTo>
                <a:lnTo>
                  <a:pt x="5760069" y="1165717"/>
                </a:lnTo>
                <a:lnTo>
                  <a:pt x="5811529" y="1165717"/>
                </a:lnTo>
                <a:cubicBezTo>
                  <a:pt x="5820963" y="1165717"/>
                  <a:pt x="5828396" y="1158284"/>
                  <a:pt x="5828396" y="1148850"/>
                </a:cubicBezTo>
                <a:cubicBezTo>
                  <a:pt x="5828396" y="1139415"/>
                  <a:pt x="5820677" y="1131982"/>
                  <a:pt x="5811529" y="1131982"/>
                </a:cubicBezTo>
                <a:lnTo>
                  <a:pt x="5760069" y="1131982"/>
                </a:lnTo>
                <a:lnTo>
                  <a:pt x="5760069" y="1088527"/>
                </a:lnTo>
                <a:lnTo>
                  <a:pt x="5811529" y="1088527"/>
                </a:lnTo>
                <a:cubicBezTo>
                  <a:pt x="5820963" y="1088527"/>
                  <a:pt x="5828396" y="1080808"/>
                  <a:pt x="5828396" y="1071660"/>
                </a:cubicBezTo>
                <a:cubicBezTo>
                  <a:pt x="5828396" y="1062226"/>
                  <a:pt x="5820677" y="1054792"/>
                  <a:pt x="5811529" y="1054792"/>
                </a:cubicBezTo>
                <a:lnTo>
                  <a:pt x="5760069" y="1054792"/>
                </a:lnTo>
                <a:lnTo>
                  <a:pt x="5760069" y="1011337"/>
                </a:lnTo>
                <a:lnTo>
                  <a:pt x="5811529" y="1011337"/>
                </a:lnTo>
                <a:cubicBezTo>
                  <a:pt x="5820963" y="1011337"/>
                  <a:pt x="5828396" y="1003904"/>
                  <a:pt x="5828396" y="994470"/>
                </a:cubicBezTo>
                <a:cubicBezTo>
                  <a:pt x="5828396" y="985035"/>
                  <a:pt x="5820677" y="977602"/>
                  <a:pt x="5811529" y="977602"/>
                </a:cubicBezTo>
                <a:lnTo>
                  <a:pt x="5760069" y="977602"/>
                </a:lnTo>
                <a:lnTo>
                  <a:pt x="5760069" y="934147"/>
                </a:lnTo>
                <a:lnTo>
                  <a:pt x="5811529" y="934147"/>
                </a:lnTo>
                <a:cubicBezTo>
                  <a:pt x="5820963" y="934147"/>
                  <a:pt x="5828396" y="926428"/>
                  <a:pt x="5828396" y="917280"/>
                </a:cubicBezTo>
                <a:cubicBezTo>
                  <a:pt x="5828396" y="907845"/>
                  <a:pt x="5820677" y="900413"/>
                  <a:pt x="5811529" y="900413"/>
                </a:cubicBezTo>
                <a:lnTo>
                  <a:pt x="5760069" y="900413"/>
                </a:lnTo>
                <a:lnTo>
                  <a:pt x="5760069" y="856957"/>
                </a:lnTo>
                <a:lnTo>
                  <a:pt x="5811529" y="856957"/>
                </a:lnTo>
                <a:cubicBezTo>
                  <a:pt x="5820963" y="856957"/>
                  <a:pt x="5828396" y="849524"/>
                  <a:pt x="5828396" y="840090"/>
                </a:cubicBezTo>
                <a:cubicBezTo>
                  <a:pt x="5828396" y="830657"/>
                  <a:pt x="5820677" y="823223"/>
                  <a:pt x="5811529" y="823223"/>
                </a:cubicBezTo>
                <a:lnTo>
                  <a:pt x="5760069" y="823223"/>
                </a:lnTo>
                <a:lnTo>
                  <a:pt x="5760069" y="793490"/>
                </a:lnTo>
                <a:cubicBezTo>
                  <a:pt x="5760069" y="768618"/>
                  <a:pt x="5740057" y="748606"/>
                  <a:pt x="5715184" y="748606"/>
                </a:cubicBezTo>
                <a:close/>
                <a:moveTo>
                  <a:pt x="6283531" y="744318"/>
                </a:moveTo>
                <a:cubicBezTo>
                  <a:pt x="6278957" y="743746"/>
                  <a:pt x="6274669" y="746034"/>
                  <a:pt x="6274097" y="749750"/>
                </a:cubicBezTo>
                <a:lnTo>
                  <a:pt x="6252941" y="874111"/>
                </a:lnTo>
                <a:cubicBezTo>
                  <a:pt x="6252369" y="877828"/>
                  <a:pt x="6255514" y="881258"/>
                  <a:pt x="6260089" y="882116"/>
                </a:cubicBezTo>
                <a:cubicBezTo>
                  <a:pt x="6264663" y="882688"/>
                  <a:pt x="6268951" y="880401"/>
                  <a:pt x="6269523" y="876685"/>
                </a:cubicBezTo>
                <a:lnTo>
                  <a:pt x="6290679" y="752323"/>
                </a:lnTo>
                <a:cubicBezTo>
                  <a:pt x="6291251" y="748606"/>
                  <a:pt x="6288105" y="745175"/>
                  <a:pt x="6283531" y="744318"/>
                </a:cubicBezTo>
                <a:close/>
                <a:moveTo>
                  <a:pt x="4550477" y="736028"/>
                </a:moveTo>
                <a:lnTo>
                  <a:pt x="4550191" y="854384"/>
                </a:lnTo>
                <a:cubicBezTo>
                  <a:pt x="4550191" y="887262"/>
                  <a:pt x="4563056" y="918138"/>
                  <a:pt x="4586213" y="941580"/>
                </a:cubicBezTo>
                <a:cubicBezTo>
                  <a:pt x="4609369" y="965023"/>
                  <a:pt x="4640245" y="977888"/>
                  <a:pt x="4673122" y="977888"/>
                </a:cubicBezTo>
                <a:lnTo>
                  <a:pt x="4673409" y="985321"/>
                </a:lnTo>
                <a:lnTo>
                  <a:pt x="4673409" y="977888"/>
                </a:lnTo>
                <a:cubicBezTo>
                  <a:pt x="4741164" y="977888"/>
                  <a:pt x="4796340" y="922998"/>
                  <a:pt x="4796626" y="855242"/>
                </a:cubicBezTo>
                <a:lnTo>
                  <a:pt x="4796626" y="736601"/>
                </a:lnTo>
                <a:lnTo>
                  <a:pt x="4673695" y="736315"/>
                </a:lnTo>
                <a:close/>
                <a:moveTo>
                  <a:pt x="1165276" y="732312"/>
                </a:moveTo>
                <a:cubicBezTo>
                  <a:pt x="1160128" y="733169"/>
                  <a:pt x="1155268" y="733455"/>
                  <a:pt x="1150981" y="733742"/>
                </a:cubicBezTo>
                <a:cubicBezTo>
                  <a:pt x="1154412" y="740316"/>
                  <a:pt x="1159557" y="746892"/>
                  <a:pt x="1166133" y="753180"/>
                </a:cubicBezTo>
                <a:close/>
                <a:moveTo>
                  <a:pt x="6280386" y="729452"/>
                </a:moveTo>
                <a:lnTo>
                  <a:pt x="6583142" y="780912"/>
                </a:lnTo>
                <a:cubicBezTo>
                  <a:pt x="6592005" y="782341"/>
                  <a:pt x="6597722" y="790632"/>
                  <a:pt x="6596293" y="799494"/>
                </a:cubicBezTo>
                <a:lnTo>
                  <a:pt x="6571421" y="945869"/>
                </a:lnTo>
                <a:lnTo>
                  <a:pt x="6559413" y="943868"/>
                </a:lnTo>
                <a:cubicBezTo>
                  <a:pt x="6556840" y="965309"/>
                  <a:pt x="6554553" y="1012767"/>
                  <a:pt x="6579711" y="1041069"/>
                </a:cubicBezTo>
                <a:cubicBezTo>
                  <a:pt x="6615733" y="1081666"/>
                  <a:pt x="6632887" y="1140273"/>
                  <a:pt x="6626311" y="1201453"/>
                </a:cubicBezTo>
                <a:cubicBezTo>
                  <a:pt x="6626311" y="1202882"/>
                  <a:pt x="6606299" y="1323241"/>
                  <a:pt x="6566560" y="1557956"/>
                </a:cubicBezTo>
                <a:cubicBezTo>
                  <a:pt x="6559413" y="1600838"/>
                  <a:pt x="6518531" y="1629713"/>
                  <a:pt x="6475647" y="1622566"/>
                </a:cubicBezTo>
                <a:lnTo>
                  <a:pt x="6104565" y="1559670"/>
                </a:lnTo>
                <a:cubicBezTo>
                  <a:pt x="6061682" y="1552523"/>
                  <a:pt x="6032807" y="1511641"/>
                  <a:pt x="6039954" y="1468759"/>
                </a:cubicBezTo>
                <a:cubicBezTo>
                  <a:pt x="6079693" y="1235187"/>
                  <a:pt x="6099991" y="1115972"/>
                  <a:pt x="6100277" y="1114543"/>
                </a:cubicBezTo>
                <a:cubicBezTo>
                  <a:pt x="6113427" y="1051361"/>
                  <a:pt x="6146591" y="1004476"/>
                  <a:pt x="6197765" y="976174"/>
                </a:cubicBezTo>
                <a:cubicBezTo>
                  <a:pt x="6230927" y="957876"/>
                  <a:pt x="6244364" y="912420"/>
                  <a:pt x="6248939" y="890978"/>
                </a:cubicBezTo>
                <a:lnTo>
                  <a:pt x="6236931" y="888977"/>
                </a:lnTo>
                <a:lnTo>
                  <a:pt x="6261803" y="742602"/>
                </a:lnTo>
                <a:cubicBezTo>
                  <a:pt x="6263519" y="733741"/>
                  <a:pt x="6271809" y="728022"/>
                  <a:pt x="6280386" y="729452"/>
                </a:cubicBezTo>
                <a:close/>
                <a:moveTo>
                  <a:pt x="1301072" y="720590"/>
                </a:moveTo>
                <a:lnTo>
                  <a:pt x="1300500" y="794920"/>
                </a:lnTo>
                <a:cubicBezTo>
                  <a:pt x="1339380" y="783199"/>
                  <a:pt x="1350816" y="753180"/>
                  <a:pt x="1354247" y="732883"/>
                </a:cubicBezTo>
                <a:cubicBezTo>
                  <a:pt x="1338809" y="734313"/>
                  <a:pt x="1323943" y="732312"/>
                  <a:pt x="1311650" y="726879"/>
                </a:cubicBezTo>
                <a:cubicBezTo>
                  <a:pt x="1307934" y="725450"/>
                  <a:pt x="1304502" y="723163"/>
                  <a:pt x="1301072" y="720590"/>
                </a:cubicBezTo>
                <a:close/>
                <a:moveTo>
                  <a:pt x="4987314" y="712300"/>
                </a:moveTo>
                <a:cubicBezTo>
                  <a:pt x="5024193" y="712300"/>
                  <a:pt x="5047636" y="772336"/>
                  <a:pt x="5047636" y="803783"/>
                </a:cubicBezTo>
                <a:cubicBezTo>
                  <a:pt x="5047636" y="824653"/>
                  <a:pt x="5037344" y="843236"/>
                  <a:pt x="5021905" y="854385"/>
                </a:cubicBezTo>
                <a:cubicBezTo>
                  <a:pt x="5008184" y="1101392"/>
                  <a:pt x="4869814" y="1302657"/>
                  <a:pt x="4693992" y="1325242"/>
                </a:cubicBezTo>
                <a:cubicBezTo>
                  <a:pt x="4676267" y="1371270"/>
                  <a:pt x="4637673" y="1491629"/>
                  <a:pt x="4683415" y="1566246"/>
                </a:cubicBezTo>
                <a:cubicBezTo>
                  <a:pt x="4783190" y="1730060"/>
                  <a:pt x="4765178" y="1834695"/>
                  <a:pt x="4732873" y="1893874"/>
                </a:cubicBezTo>
                <a:cubicBezTo>
                  <a:pt x="4686559" y="1978783"/>
                  <a:pt x="4580495" y="2025382"/>
                  <a:pt x="4434406" y="2025382"/>
                </a:cubicBezTo>
                <a:cubicBezTo>
                  <a:pt x="4183968" y="2025382"/>
                  <a:pt x="4148803" y="1836410"/>
                  <a:pt x="4123360" y="1698326"/>
                </a:cubicBezTo>
                <a:cubicBezTo>
                  <a:pt x="4109065" y="1622566"/>
                  <a:pt x="4097058" y="1565961"/>
                  <a:pt x="4070470" y="1528509"/>
                </a:cubicBezTo>
                <a:cubicBezTo>
                  <a:pt x="4058177" y="1532797"/>
                  <a:pt x="4045026" y="1535084"/>
                  <a:pt x="4031304" y="1535084"/>
                </a:cubicBezTo>
                <a:cubicBezTo>
                  <a:pt x="3964406" y="1535084"/>
                  <a:pt x="3910373" y="1480194"/>
                  <a:pt x="3910373" y="1412152"/>
                </a:cubicBezTo>
                <a:cubicBezTo>
                  <a:pt x="3910373" y="1344397"/>
                  <a:pt x="3964406" y="1289221"/>
                  <a:pt x="4031304" y="1289221"/>
                </a:cubicBezTo>
                <a:cubicBezTo>
                  <a:pt x="4098201" y="1289221"/>
                  <a:pt x="4152520" y="1344111"/>
                  <a:pt x="4152520" y="1412152"/>
                </a:cubicBezTo>
                <a:cubicBezTo>
                  <a:pt x="4152520" y="1429591"/>
                  <a:pt x="4148803" y="1445887"/>
                  <a:pt x="4142514" y="1461039"/>
                </a:cubicBezTo>
                <a:cubicBezTo>
                  <a:pt x="4189971" y="1522220"/>
                  <a:pt x="4205696" y="1606270"/>
                  <a:pt x="4219418" y="1679744"/>
                </a:cubicBezTo>
                <a:cubicBezTo>
                  <a:pt x="4248578" y="1836982"/>
                  <a:pt x="4272878" y="1925893"/>
                  <a:pt x="4434406" y="1925893"/>
                </a:cubicBezTo>
                <a:cubicBezTo>
                  <a:pt x="4543329" y="1925893"/>
                  <a:pt x="4618804" y="1897304"/>
                  <a:pt x="4647393" y="1845559"/>
                </a:cubicBezTo>
                <a:cubicBezTo>
                  <a:pt x="4675696" y="1794099"/>
                  <a:pt x="4659400" y="1715479"/>
                  <a:pt x="4600220" y="1618564"/>
                </a:cubicBezTo>
                <a:cubicBezTo>
                  <a:pt x="4541042" y="1521362"/>
                  <a:pt x="4567058" y="1394428"/>
                  <a:pt x="4592216" y="1318382"/>
                </a:cubicBezTo>
                <a:cubicBezTo>
                  <a:pt x="4429545" y="1274354"/>
                  <a:pt x="4307186" y="1075090"/>
                  <a:pt x="4298609" y="840662"/>
                </a:cubicBezTo>
                <a:cubicBezTo>
                  <a:pt x="4290890" y="830370"/>
                  <a:pt x="4286316" y="817791"/>
                  <a:pt x="4286316" y="804069"/>
                </a:cubicBezTo>
                <a:cubicBezTo>
                  <a:pt x="4286316" y="772622"/>
                  <a:pt x="4309759" y="712587"/>
                  <a:pt x="4346638" y="712587"/>
                </a:cubicBezTo>
                <a:cubicBezTo>
                  <a:pt x="4383518" y="712587"/>
                  <a:pt x="4406961" y="772622"/>
                  <a:pt x="4406961" y="804069"/>
                </a:cubicBezTo>
                <a:cubicBezTo>
                  <a:pt x="4406961" y="816934"/>
                  <a:pt x="4402958" y="828941"/>
                  <a:pt x="4396096" y="838947"/>
                </a:cubicBezTo>
                <a:cubicBezTo>
                  <a:pt x="4404388" y="1055650"/>
                  <a:pt x="4519600" y="1228040"/>
                  <a:pt x="4660257" y="1228040"/>
                </a:cubicBezTo>
                <a:cubicBezTo>
                  <a:pt x="4806346" y="1228040"/>
                  <a:pt x="4924989" y="1041927"/>
                  <a:pt x="4924989" y="813503"/>
                </a:cubicBezTo>
                <a:lnTo>
                  <a:pt x="4924989" y="798923"/>
                </a:lnTo>
                <a:lnTo>
                  <a:pt x="4926991" y="798923"/>
                </a:lnTo>
                <a:cubicBezTo>
                  <a:pt x="4929278" y="766617"/>
                  <a:pt x="4952150" y="712300"/>
                  <a:pt x="4987314" y="712300"/>
                </a:cubicBezTo>
                <a:close/>
                <a:moveTo>
                  <a:pt x="1627556" y="679709"/>
                </a:moveTo>
                <a:cubicBezTo>
                  <a:pt x="1620123" y="706011"/>
                  <a:pt x="1610117" y="727738"/>
                  <a:pt x="1597824" y="744319"/>
                </a:cubicBezTo>
                <a:cubicBezTo>
                  <a:pt x="1618407" y="762615"/>
                  <a:pt x="1638706" y="779482"/>
                  <a:pt x="1658718" y="794635"/>
                </a:cubicBezTo>
                <a:cubicBezTo>
                  <a:pt x="1706461" y="829798"/>
                  <a:pt x="1777076" y="872396"/>
                  <a:pt x="1841114" y="875826"/>
                </a:cubicBezTo>
                <a:lnTo>
                  <a:pt x="1861126" y="876971"/>
                </a:lnTo>
                <a:cubicBezTo>
                  <a:pt x="1922021" y="875255"/>
                  <a:pt x="1959186" y="841520"/>
                  <a:pt x="1975768" y="821794"/>
                </a:cubicBezTo>
                <a:cubicBezTo>
                  <a:pt x="1951753" y="819221"/>
                  <a:pt x="1906868" y="812359"/>
                  <a:pt x="1873420" y="796636"/>
                </a:cubicBezTo>
                <a:cubicBezTo>
                  <a:pt x="1819387" y="775766"/>
                  <a:pt x="1768213" y="740316"/>
                  <a:pt x="1721613" y="690859"/>
                </a:cubicBezTo>
                <a:lnTo>
                  <a:pt x="1715896" y="689715"/>
                </a:lnTo>
                <a:cubicBezTo>
                  <a:pt x="1705603" y="692861"/>
                  <a:pt x="1694740" y="694575"/>
                  <a:pt x="1683876" y="694575"/>
                </a:cubicBezTo>
                <a:cubicBezTo>
                  <a:pt x="1660148" y="694575"/>
                  <a:pt x="1640707" y="687142"/>
                  <a:pt x="1627556" y="679709"/>
                </a:cubicBezTo>
                <a:close/>
                <a:moveTo>
                  <a:pt x="851370" y="679709"/>
                </a:moveTo>
                <a:cubicBezTo>
                  <a:pt x="838219" y="687142"/>
                  <a:pt x="818779" y="694575"/>
                  <a:pt x="795050" y="694575"/>
                </a:cubicBezTo>
                <a:cubicBezTo>
                  <a:pt x="784472" y="694575"/>
                  <a:pt x="773608" y="692861"/>
                  <a:pt x="763031" y="689715"/>
                </a:cubicBezTo>
                <a:lnTo>
                  <a:pt x="757312" y="690859"/>
                </a:lnTo>
                <a:cubicBezTo>
                  <a:pt x="710713" y="740316"/>
                  <a:pt x="659539" y="776052"/>
                  <a:pt x="605506" y="796922"/>
                </a:cubicBezTo>
                <a:cubicBezTo>
                  <a:pt x="572343" y="812645"/>
                  <a:pt x="527459" y="819221"/>
                  <a:pt x="502872" y="821508"/>
                </a:cubicBezTo>
                <a:cubicBezTo>
                  <a:pt x="519453" y="841234"/>
                  <a:pt x="556619" y="874969"/>
                  <a:pt x="617799" y="876685"/>
                </a:cubicBezTo>
                <a:lnTo>
                  <a:pt x="637811" y="875541"/>
                </a:lnTo>
                <a:cubicBezTo>
                  <a:pt x="701850" y="872396"/>
                  <a:pt x="772178" y="829513"/>
                  <a:pt x="820208" y="794349"/>
                </a:cubicBezTo>
                <a:cubicBezTo>
                  <a:pt x="840506" y="779196"/>
                  <a:pt x="861090" y="762329"/>
                  <a:pt x="881102" y="744033"/>
                </a:cubicBezTo>
                <a:cubicBezTo>
                  <a:pt x="868809" y="727738"/>
                  <a:pt x="858803" y="706011"/>
                  <a:pt x="851370" y="679709"/>
                </a:cubicBezTo>
                <a:close/>
                <a:moveTo>
                  <a:pt x="1337379" y="664272"/>
                </a:moveTo>
                <a:cubicBezTo>
                  <a:pt x="1343098" y="664272"/>
                  <a:pt x="1348814" y="665987"/>
                  <a:pt x="1354533" y="669989"/>
                </a:cubicBezTo>
                <a:lnTo>
                  <a:pt x="1355391" y="670561"/>
                </a:lnTo>
                <a:lnTo>
                  <a:pt x="1354533" y="671132"/>
                </a:lnTo>
                <a:cubicBezTo>
                  <a:pt x="1354533" y="671132"/>
                  <a:pt x="1349100" y="675707"/>
                  <a:pt x="1341096" y="675707"/>
                </a:cubicBezTo>
                <a:cubicBezTo>
                  <a:pt x="1335378" y="675707"/>
                  <a:pt x="1330232" y="673420"/>
                  <a:pt x="1325087" y="668846"/>
                </a:cubicBezTo>
                <a:lnTo>
                  <a:pt x="1324514" y="668274"/>
                </a:lnTo>
                <a:lnTo>
                  <a:pt x="1325087" y="667702"/>
                </a:lnTo>
                <a:cubicBezTo>
                  <a:pt x="1325372" y="667416"/>
                  <a:pt x="1329947" y="664272"/>
                  <a:pt x="1337379" y="664272"/>
                </a:cubicBezTo>
                <a:close/>
                <a:moveTo>
                  <a:pt x="1160701" y="664272"/>
                </a:moveTo>
                <a:cubicBezTo>
                  <a:pt x="1166419" y="664272"/>
                  <a:pt x="1172136" y="665987"/>
                  <a:pt x="1177855" y="669704"/>
                </a:cubicBezTo>
                <a:lnTo>
                  <a:pt x="1178713" y="670275"/>
                </a:lnTo>
                <a:lnTo>
                  <a:pt x="1178140" y="670847"/>
                </a:lnTo>
                <a:cubicBezTo>
                  <a:pt x="1178140" y="670847"/>
                  <a:pt x="1172422" y="675421"/>
                  <a:pt x="1164704" y="675421"/>
                </a:cubicBezTo>
                <a:cubicBezTo>
                  <a:pt x="1158986" y="675421"/>
                  <a:pt x="1153554" y="673134"/>
                  <a:pt x="1148123" y="668846"/>
                </a:cubicBezTo>
                <a:lnTo>
                  <a:pt x="1147550" y="668274"/>
                </a:lnTo>
                <a:lnTo>
                  <a:pt x="1148408" y="667702"/>
                </a:lnTo>
                <a:cubicBezTo>
                  <a:pt x="1148694" y="667416"/>
                  <a:pt x="1153268" y="664272"/>
                  <a:pt x="1160701" y="664272"/>
                </a:cubicBezTo>
                <a:close/>
                <a:moveTo>
                  <a:pt x="1161273" y="658553"/>
                </a:moveTo>
                <a:cubicBezTo>
                  <a:pt x="1151838" y="658553"/>
                  <a:pt x="1143834" y="660269"/>
                  <a:pt x="1137544" y="663700"/>
                </a:cubicBezTo>
                <a:cubicBezTo>
                  <a:pt x="1135542" y="664557"/>
                  <a:pt x="1093804" y="684569"/>
                  <a:pt x="1082939" y="719446"/>
                </a:cubicBezTo>
                <a:cubicBezTo>
                  <a:pt x="1077507" y="736886"/>
                  <a:pt x="1080652" y="755754"/>
                  <a:pt x="1092374" y="775194"/>
                </a:cubicBezTo>
                <a:cubicBezTo>
                  <a:pt x="1093231" y="776909"/>
                  <a:pt x="1120106" y="819793"/>
                  <a:pt x="1174709" y="858387"/>
                </a:cubicBezTo>
                <a:lnTo>
                  <a:pt x="1187289" y="867250"/>
                </a:lnTo>
                <a:lnTo>
                  <a:pt x="1175281" y="876685"/>
                </a:lnTo>
                <a:cubicBezTo>
                  <a:pt x="1148408" y="898126"/>
                  <a:pt x="1115531" y="933576"/>
                  <a:pt x="1113529" y="981034"/>
                </a:cubicBezTo>
                <a:cubicBezTo>
                  <a:pt x="1111814" y="1017913"/>
                  <a:pt x="1131255" y="1053362"/>
                  <a:pt x="1171850" y="1086526"/>
                </a:cubicBezTo>
                <a:lnTo>
                  <a:pt x="1196723" y="1106824"/>
                </a:lnTo>
                <a:lnTo>
                  <a:pt x="1168706" y="1106824"/>
                </a:lnTo>
                <a:cubicBezTo>
                  <a:pt x="1162416" y="1112542"/>
                  <a:pt x="1142118" y="1132554"/>
                  <a:pt x="1137544" y="1166289"/>
                </a:cubicBezTo>
                <a:cubicBezTo>
                  <a:pt x="1131827" y="1208886"/>
                  <a:pt x="1151268" y="1256915"/>
                  <a:pt x="1195579" y="1309233"/>
                </a:cubicBezTo>
                <a:lnTo>
                  <a:pt x="1199582" y="1314093"/>
                </a:lnTo>
                <a:lnTo>
                  <a:pt x="1197296" y="1316094"/>
                </a:lnTo>
                <a:lnTo>
                  <a:pt x="1200439" y="1321240"/>
                </a:lnTo>
                <a:lnTo>
                  <a:pt x="1196437" y="1324671"/>
                </a:lnTo>
                <a:cubicBezTo>
                  <a:pt x="1164989" y="1350115"/>
                  <a:pt x="1149551" y="1372414"/>
                  <a:pt x="1149551" y="1392712"/>
                </a:cubicBezTo>
                <a:cubicBezTo>
                  <a:pt x="1149551" y="1415584"/>
                  <a:pt x="1168134" y="1441885"/>
                  <a:pt x="1203584" y="1468472"/>
                </a:cubicBezTo>
                <a:lnTo>
                  <a:pt x="1217021" y="1476763"/>
                </a:lnTo>
                <a:lnTo>
                  <a:pt x="1210445" y="1482195"/>
                </a:lnTo>
                <a:cubicBezTo>
                  <a:pt x="1198438" y="1491915"/>
                  <a:pt x="1171278" y="1517931"/>
                  <a:pt x="1172136" y="1545376"/>
                </a:cubicBezTo>
                <a:cubicBezTo>
                  <a:pt x="1172708" y="1561101"/>
                  <a:pt x="1178426" y="1574537"/>
                  <a:pt x="1191576" y="1588545"/>
                </a:cubicBezTo>
                <a:cubicBezTo>
                  <a:pt x="1186716" y="1561386"/>
                  <a:pt x="1188146" y="1522505"/>
                  <a:pt x="1223310" y="1496204"/>
                </a:cubicBezTo>
                <a:lnTo>
                  <a:pt x="1236747" y="1485912"/>
                </a:lnTo>
                <a:lnTo>
                  <a:pt x="1240464" y="1487913"/>
                </a:lnTo>
                <a:cubicBezTo>
                  <a:pt x="1244752" y="1490200"/>
                  <a:pt x="1248468" y="1493631"/>
                  <a:pt x="1251900" y="1496775"/>
                </a:cubicBezTo>
                <a:cubicBezTo>
                  <a:pt x="1255330" y="1499634"/>
                  <a:pt x="1259047" y="1503065"/>
                  <a:pt x="1262477" y="1505066"/>
                </a:cubicBezTo>
                <a:cubicBezTo>
                  <a:pt x="1282204" y="1515358"/>
                  <a:pt x="1293925" y="1529939"/>
                  <a:pt x="1297070" y="1548235"/>
                </a:cubicBezTo>
                <a:cubicBezTo>
                  <a:pt x="1300215" y="1566246"/>
                  <a:pt x="1294211" y="1584830"/>
                  <a:pt x="1286778" y="1599981"/>
                </a:cubicBezTo>
                <a:cubicBezTo>
                  <a:pt x="1299071" y="1591404"/>
                  <a:pt x="1307647" y="1580827"/>
                  <a:pt x="1311364" y="1568819"/>
                </a:cubicBezTo>
                <a:cubicBezTo>
                  <a:pt x="1317081" y="1549093"/>
                  <a:pt x="1310221" y="1526222"/>
                  <a:pt x="1291924" y="1505638"/>
                </a:cubicBezTo>
                <a:lnTo>
                  <a:pt x="1284776" y="1497347"/>
                </a:lnTo>
                <a:lnTo>
                  <a:pt x="1292495" y="1489914"/>
                </a:lnTo>
                <a:cubicBezTo>
                  <a:pt x="1297641" y="1484768"/>
                  <a:pt x="1344527" y="1436453"/>
                  <a:pt x="1343383" y="1384136"/>
                </a:cubicBezTo>
                <a:cubicBezTo>
                  <a:pt x="1342812" y="1361550"/>
                  <a:pt x="1333091" y="1341252"/>
                  <a:pt x="1313937" y="1323528"/>
                </a:cubicBezTo>
                <a:lnTo>
                  <a:pt x="1302501" y="1313235"/>
                </a:lnTo>
                <a:lnTo>
                  <a:pt x="1315938" y="1305516"/>
                </a:lnTo>
                <a:cubicBezTo>
                  <a:pt x="1349673" y="1285504"/>
                  <a:pt x="1388554" y="1255486"/>
                  <a:pt x="1388554" y="1202597"/>
                </a:cubicBezTo>
                <a:cubicBezTo>
                  <a:pt x="1388554" y="1147420"/>
                  <a:pt x="1341383" y="1113399"/>
                  <a:pt x="1292781" y="1083381"/>
                </a:cubicBezTo>
                <a:lnTo>
                  <a:pt x="1276772" y="1073661"/>
                </a:lnTo>
                <a:lnTo>
                  <a:pt x="1292781" y="1063941"/>
                </a:lnTo>
                <a:cubicBezTo>
                  <a:pt x="1302787" y="1057937"/>
                  <a:pt x="1389126" y="1004476"/>
                  <a:pt x="1391698" y="944154"/>
                </a:cubicBezTo>
                <a:cubicBezTo>
                  <a:pt x="1392842" y="918424"/>
                  <a:pt x="1377690" y="894124"/>
                  <a:pt x="1346528" y="871825"/>
                </a:cubicBezTo>
                <a:lnTo>
                  <a:pt x="1329375" y="859531"/>
                </a:lnTo>
                <a:lnTo>
                  <a:pt x="1349101" y="851812"/>
                </a:lnTo>
                <a:cubicBezTo>
                  <a:pt x="1350245" y="851240"/>
                  <a:pt x="1351388" y="850669"/>
                  <a:pt x="1352818" y="850096"/>
                </a:cubicBezTo>
                <a:cubicBezTo>
                  <a:pt x="1381407" y="837232"/>
                  <a:pt x="1419716" y="795492"/>
                  <a:pt x="1432009" y="752895"/>
                </a:cubicBezTo>
                <a:cubicBezTo>
                  <a:pt x="1438298" y="730025"/>
                  <a:pt x="1436011" y="710012"/>
                  <a:pt x="1424576" y="694004"/>
                </a:cubicBezTo>
                <a:cubicBezTo>
                  <a:pt x="1409138" y="671990"/>
                  <a:pt x="1385124" y="660840"/>
                  <a:pt x="1352818" y="660840"/>
                </a:cubicBezTo>
                <a:cubicBezTo>
                  <a:pt x="1329089" y="660840"/>
                  <a:pt x="1309363" y="667416"/>
                  <a:pt x="1309077" y="667416"/>
                </a:cubicBezTo>
                <a:cubicBezTo>
                  <a:pt x="1307934" y="667987"/>
                  <a:pt x="1303645" y="669703"/>
                  <a:pt x="1303645" y="677708"/>
                </a:cubicBezTo>
                <a:cubicBezTo>
                  <a:pt x="1303645" y="688572"/>
                  <a:pt x="1311937" y="701151"/>
                  <a:pt x="1321656" y="705440"/>
                </a:cubicBezTo>
                <a:cubicBezTo>
                  <a:pt x="1328231" y="708298"/>
                  <a:pt x="1336236" y="709728"/>
                  <a:pt x="1345099" y="709728"/>
                </a:cubicBezTo>
                <a:cubicBezTo>
                  <a:pt x="1355105" y="709728"/>
                  <a:pt x="1363109" y="707726"/>
                  <a:pt x="1364539" y="707441"/>
                </a:cubicBezTo>
                <a:lnTo>
                  <a:pt x="1379119" y="703438"/>
                </a:lnTo>
                <a:lnTo>
                  <a:pt x="1379119" y="718589"/>
                </a:lnTo>
                <a:cubicBezTo>
                  <a:pt x="1379119" y="732598"/>
                  <a:pt x="1375117" y="802925"/>
                  <a:pt x="1297355" y="819221"/>
                </a:cubicBezTo>
                <a:cubicBezTo>
                  <a:pt x="1288207" y="820937"/>
                  <a:pt x="1277915" y="823795"/>
                  <a:pt x="1267051" y="827511"/>
                </a:cubicBezTo>
                <a:lnTo>
                  <a:pt x="1263335" y="828941"/>
                </a:lnTo>
                <a:lnTo>
                  <a:pt x="1256759" y="826654"/>
                </a:lnTo>
                <a:cubicBezTo>
                  <a:pt x="1255330" y="826083"/>
                  <a:pt x="1254187" y="825510"/>
                  <a:pt x="1253043" y="825224"/>
                </a:cubicBezTo>
                <a:cubicBezTo>
                  <a:pt x="1248468" y="823795"/>
                  <a:pt x="1137544" y="790346"/>
                  <a:pt x="1124107" y="724021"/>
                </a:cubicBezTo>
                <a:lnTo>
                  <a:pt x="1121248" y="709155"/>
                </a:lnTo>
                <a:lnTo>
                  <a:pt x="1136401" y="710299"/>
                </a:lnTo>
                <a:cubicBezTo>
                  <a:pt x="1136687" y="710584"/>
                  <a:pt x="1139546" y="710584"/>
                  <a:pt x="1143549" y="710584"/>
                </a:cubicBezTo>
                <a:cubicBezTo>
                  <a:pt x="1158414" y="710584"/>
                  <a:pt x="1193292" y="708584"/>
                  <a:pt x="1202727" y="687142"/>
                </a:cubicBezTo>
                <a:cubicBezTo>
                  <a:pt x="1205014" y="682568"/>
                  <a:pt x="1204728" y="678280"/>
                  <a:pt x="1202156" y="674563"/>
                </a:cubicBezTo>
                <a:cubicBezTo>
                  <a:pt x="1196151" y="665415"/>
                  <a:pt x="1178997" y="658553"/>
                  <a:pt x="1161273" y="658553"/>
                </a:cubicBezTo>
                <a:close/>
                <a:moveTo>
                  <a:pt x="5583962" y="647405"/>
                </a:moveTo>
                <a:lnTo>
                  <a:pt x="5846693" y="647405"/>
                </a:lnTo>
                <a:cubicBezTo>
                  <a:pt x="5912733" y="647405"/>
                  <a:pt x="5966481" y="700866"/>
                  <a:pt x="5966481" y="767189"/>
                </a:cubicBezTo>
                <a:lnTo>
                  <a:pt x="5966481" y="1628284"/>
                </a:lnTo>
                <a:cubicBezTo>
                  <a:pt x="5966481" y="1694324"/>
                  <a:pt x="5912733" y="1748071"/>
                  <a:pt x="5846693" y="1748071"/>
                </a:cubicBezTo>
                <a:lnTo>
                  <a:pt x="5583962" y="1748071"/>
                </a:lnTo>
                <a:cubicBezTo>
                  <a:pt x="5517922" y="1748071"/>
                  <a:pt x="5464175" y="1694324"/>
                  <a:pt x="5464175" y="1628284"/>
                </a:cubicBezTo>
                <a:lnTo>
                  <a:pt x="5464175" y="767189"/>
                </a:lnTo>
                <a:cubicBezTo>
                  <a:pt x="5464175" y="700866"/>
                  <a:pt x="5517922" y="647405"/>
                  <a:pt x="5583962" y="647405"/>
                </a:cubicBezTo>
                <a:close/>
                <a:moveTo>
                  <a:pt x="3656790" y="637684"/>
                </a:moveTo>
                <a:cubicBezTo>
                  <a:pt x="3638780" y="650264"/>
                  <a:pt x="3630203" y="666560"/>
                  <a:pt x="3630203" y="687429"/>
                </a:cubicBezTo>
                <a:cubicBezTo>
                  <a:pt x="3630203" y="699436"/>
                  <a:pt x="3635634" y="710585"/>
                  <a:pt x="3647642" y="722592"/>
                </a:cubicBezTo>
                <a:cubicBezTo>
                  <a:pt x="3674515" y="712872"/>
                  <a:pt x="3703104" y="692574"/>
                  <a:pt x="3703675" y="675422"/>
                </a:cubicBezTo>
                <a:cubicBezTo>
                  <a:pt x="3704248" y="662843"/>
                  <a:pt x="3688524" y="649979"/>
                  <a:pt x="3660507" y="639114"/>
                </a:cubicBezTo>
                <a:cubicBezTo>
                  <a:pt x="3659077" y="638543"/>
                  <a:pt x="3657934" y="638257"/>
                  <a:pt x="3656790" y="637684"/>
                </a:cubicBezTo>
                <a:close/>
                <a:moveTo>
                  <a:pt x="3654503" y="613384"/>
                </a:moveTo>
                <a:lnTo>
                  <a:pt x="3659649" y="615671"/>
                </a:lnTo>
                <a:cubicBezTo>
                  <a:pt x="3662508" y="616815"/>
                  <a:pt x="3665081" y="617959"/>
                  <a:pt x="3667940" y="619102"/>
                </a:cubicBezTo>
                <a:cubicBezTo>
                  <a:pt x="3706535" y="634254"/>
                  <a:pt x="3725976" y="653409"/>
                  <a:pt x="3724546" y="675708"/>
                </a:cubicBezTo>
                <a:cubicBezTo>
                  <a:pt x="3723403" y="709156"/>
                  <a:pt x="3677946" y="735171"/>
                  <a:pt x="3647642" y="744605"/>
                </a:cubicBezTo>
                <a:lnTo>
                  <a:pt x="3641924" y="746321"/>
                </a:lnTo>
                <a:lnTo>
                  <a:pt x="3637350" y="742318"/>
                </a:lnTo>
                <a:cubicBezTo>
                  <a:pt x="3617624" y="724594"/>
                  <a:pt x="3608475" y="706869"/>
                  <a:pt x="3608475" y="687144"/>
                </a:cubicBezTo>
                <a:cubicBezTo>
                  <a:pt x="3608475" y="656553"/>
                  <a:pt x="3621912" y="633397"/>
                  <a:pt x="3649643" y="616244"/>
                </a:cubicBezTo>
                <a:close/>
                <a:moveTo>
                  <a:pt x="3983561" y="496745"/>
                </a:moveTo>
                <a:cubicBezTo>
                  <a:pt x="3967265" y="511897"/>
                  <a:pt x="3947825" y="519617"/>
                  <a:pt x="3925811" y="519617"/>
                </a:cubicBezTo>
                <a:cubicBezTo>
                  <a:pt x="3909515" y="519617"/>
                  <a:pt x="3895507" y="515328"/>
                  <a:pt x="3887216" y="511897"/>
                </a:cubicBezTo>
                <a:cubicBezTo>
                  <a:pt x="3884358" y="517330"/>
                  <a:pt x="3880927" y="522761"/>
                  <a:pt x="3876925" y="527621"/>
                </a:cubicBezTo>
                <a:lnTo>
                  <a:pt x="3874923" y="529909"/>
                </a:lnTo>
                <a:cubicBezTo>
                  <a:pt x="3873780" y="531052"/>
                  <a:pt x="3873208" y="531910"/>
                  <a:pt x="3872636" y="532481"/>
                </a:cubicBezTo>
                <a:cubicBezTo>
                  <a:pt x="3866346" y="539629"/>
                  <a:pt x="3859486" y="545346"/>
                  <a:pt x="3852338" y="549633"/>
                </a:cubicBezTo>
                <a:cubicBezTo>
                  <a:pt x="3849765" y="551062"/>
                  <a:pt x="3847192" y="552778"/>
                  <a:pt x="3844333" y="554207"/>
                </a:cubicBezTo>
                <a:cubicBezTo>
                  <a:pt x="3918950" y="618246"/>
                  <a:pt x="3995283" y="650837"/>
                  <a:pt x="4071614" y="650837"/>
                </a:cubicBezTo>
                <a:cubicBezTo>
                  <a:pt x="4126505" y="650837"/>
                  <a:pt x="4169388" y="633398"/>
                  <a:pt x="4194260" y="620247"/>
                </a:cubicBezTo>
                <a:cubicBezTo>
                  <a:pt x="4192259" y="619675"/>
                  <a:pt x="4190258" y="619390"/>
                  <a:pt x="4188256" y="618818"/>
                </a:cubicBezTo>
                <a:lnTo>
                  <a:pt x="4186541" y="618532"/>
                </a:lnTo>
                <a:cubicBezTo>
                  <a:pt x="4181395" y="617388"/>
                  <a:pt x="4175963" y="615959"/>
                  <a:pt x="4170531" y="614244"/>
                </a:cubicBezTo>
                <a:lnTo>
                  <a:pt x="4170246" y="610241"/>
                </a:lnTo>
                <a:lnTo>
                  <a:pt x="4169102" y="613958"/>
                </a:lnTo>
                <a:cubicBezTo>
                  <a:pt x="4139655" y="604524"/>
                  <a:pt x="4109066" y="589657"/>
                  <a:pt x="4077904" y="569645"/>
                </a:cubicBezTo>
                <a:cubicBezTo>
                  <a:pt x="4034163" y="541916"/>
                  <a:pt x="3998998" y="511040"/>
                  <a:pt x="3983561" y="496745"/>
                </a:cubicBezTo>
                <a:close/>
                <a:moveTo>
                  <a:pt x="3343457" y="496745"/>
                </a:moveTo>
                <a:cubicBezTo>
                  <a:pt x="3328019" y="511040"/>
                  <a:pt x="3293141" y="541630"/>
                  <a:pt x="3249114" y="569645"/>
                </a:cubicBezTo>
                <a:cubicBezTo>
                  <a:pt x="3217952" y="589657"/>
                  <a:pt x="3187648" y="604524"/>
                  <a:pt x="3158774" y="613671"/>
                </a:cubicBezTo>
                <a:lnTo>
                  <a:pt x="3157344" y="614244"/>
                </a:lnTo>
                <a:cubicBezTo>
                  <a:pt x="3151341" y="615959"/>
                  <a:pt x="3145908" y="617388"/>
                  <a:pt x="3140762" y="618818"/>
                </a:cubicBezTo>
                <a:cubicBezTo>
                  <a:pt x="3140191" y="618818"/>
                  <a:pt x="3139619" y="619104"/>
                  <a:pt x="3139047" y="619104"/>
                </a:cubicBezTo>
                <a:cubicBezTo>
                  <a:pt x="3137046" y="619675"/>
                  <a:pt x="3135045" y="619961"/>
                  <a:pt x="3133043" y="620819"/>
                </a:cubicBezTo>
                <a:cubicBezTo>
                  <a:pt x="3157915" y="633970"/>
                  <a:pt x="3200799" y="651409"/>
                  <a:pt x="3255690" y="651409"/>
                </a:cubicBezTo>
                <a:cubicBezTo>
                  <a:pt x="3332021" y="651409"/>
                  <a:pt x="3408640" y="619104"/>
                  <a:pt x="3482970" y="554778"/>
                </a:cubicBezTo>
                <a:cubicBezTo>
                  <a:pt x="3480111" y="553350"/>
                  <a:pt x="3477253" y="551634"/>
                  <a:pt x="3474680" y="549918"/>
                </a:cubicBezTo>
                <a:cubicBezTo>
                  <a:pt x="3467532" y="545918"/>
                  <a:pt x="3460671" y="539914"/>
                  <a:pt x="3454382" y="532767"/>
                </a:cubicBezTo>
                <a:lnTo>
                  <a:pt x="3452381" y="530194"/>
                </a:lnTo>
                <a:lnTo>
                  <a:pt x="3454668" y="526764"/>
                </a:lnTo>
                <a:lnTo>
                  <a:pt x="3451522" y="529337"/>
                </a:lnTo>
                <a:cubicBezTo>
                  <a:pt x="3450665" y="528479"/>
                  <a:pt x="3450379" y="528193"/>
                  <a:pt x="3450093" y="527621"/>
                </a:cubicBezTo>
                <a:cubicBezTo>
                  <a:pt x="3446376" y="522761"/>
                  <a:pt x="3442661" y="517615"/>
                  <a:pt x="3439802" y="511897"/>
                </a:cubicBezTo>
                <a:cubicBezTo>
                  <a:pt x="3431225" y="515328"/>
                  <a:pt x="3417216" y="519617"/>
                  <a:pt x="3401207" y="519617"/>
                </a:cubicBezTo>
                <a:cubicBezTo>
                  <a:pt x="3379194" y="519617"/>
                  <a:pt x="3359753" y="511897"/>
                  <a:pt x="3343457" y="496745"/>
                </a:cubicBezTo>
                <a:close/>
                <a:moveTo>
                  <a:pt x="4671122" y="487884"/>
                </a:moveTo>
                <a:cubicBezTo>
                  <a:pt x="4608226" y="487597"/>
                  <a:pt x="4557052" y="538772"/>
                  <a:pt x="4557052" y="601950"/>
                </a:cubicBezTo>
                <a:lnTo>
                  <a:pt x="4556479" y="712586"/>
                </a:lnTo>
                <a:lnTo>
                  <a:pt x="4574206" y="712586"/>
                </a:lnTo>
                <a:lnTo>
                  <a:pt x="4574491" y="619961"/>
                </a:lnTo>
                <a:cubicBezTo>
                  <a:pt x="4574777" y="556779"/>
                  <a:pt x="4625951" y="505894"/>
                  <a:pt x="4688846" y="505894"/>
                </a:cubicBezTo>
                <a:cubicBezTo>
                  <a:pt x="4715720" y="505894"/>
                  <a:pt x="4740306" y="515329"/>
                  <a:pt x="4759746" y="531052"/>
                </a:cubicBezTo>
                <a:cubicBezTo>
                  <a:pt x="4738877" y="504751"/>
                  <a:pt x="4707143" y="487884"/>
                  <a:pt x="4671122" y="487884"/>
                </a:cubicBezTo>
                <a:close/>
                <a:moveTo>
                  <a:pt x="3593895" y="469586"/>
                </a:moveTo>
                <a:cubicBezTo>
                  <a:pt x="3589035" y="470443"/>
                  <a:pt x="3584461" y="470729"/>
                  <a:pt x="3580744" y="471016"/>
                </a:cubicBezTo>
                <a:cubicBezTo>
                  <a:pt x="3583889" y="477019"/>
                  <a:pt x="3588749" y="483308"/>
                  <a:pt x="3594752" y="489026"/>
                </a:cubicBezTo>
                <a:close/>
                <a:moveTo>
                  <a:pt x="4674266" y="465298"/>
                </a:moveTo>
                <a:cubicBezTo>
                  <a:pt x="4750598" y="465584"/>
                  <a:pt x="4812350" y="527622"/>
                  <a:pt x="4812921" y="603379"/>
                </a:cubicBezTo>
                <a:lnTo>
                  <a:pt x="4812636" y="721734"/>
                </a:lnTo>
                <a:lnTo>
                  <a:pt x="4812064" y="854957"/>
                </a:lnTo>
                <a:cubicBezTo>
                  <a:pt x="4811779" y="930717"/>
                  <a:pt x="4749741" y="992468"/>
                  <a:pt x="4673980" y="992468"/>
                </a:cubicBezTo>
                <a:lnTo>
                  <a:pt x="4673695" y="992468"/>
                </a:lnTo>
                <a:cubicBezTo>
                  <a:pt x="4636814" y="992468"/>
                  <a:pt x="4601936" y="977888"/>
                  <a:pt x="4576206" y="951873"/>
                </a:cubicBezTo>
                <a:cubicBezTo>
                  <a:pt x="4550191" y="925857"/>
                  <a:pt x="4535896" y="891265"/>
                  <a:pt x="4535896" y="854384"/>
                </a:cubicBezTo>
                <a:lnTo>
                  <a:pt x="4536182" y="736028"/>
                </a:lnTo>
                <a:lnTo>
                  <a:pt x="4536182" y="721448"/>
                </a:lnTo>
                <a:lnTo>
                  <a:pt x="4536182" y="721162"/>
                </a:lnTo>
                <a:lnTo>
                  <a:pt x="4536468" y="602807"/>
                </a:lnTo>
                <a:cubicBezTo>
                  <a:pt x="4536468" y="527050"/>
                  <a:pt x="4598506" y="465298"/>
                  <a:pt x="4674266" y="465298"/>
                </a:cubicBezTo>
                <a:close/>
                <a:moveTo>
                  <a:pt x="3721116" y="459007"/>
                </a:moveTo>
                <a:lnTo>
                  <a:pt x="3720543" y="528193"/>
                </a:lnTo>
                <a:cubicBezTo>
                  <a:pt x="3756565" y="517043"/>
                  <a:pt x="3767430" y="489026"/>
                  <a:pt x="3770574" y="470157"/>
                </a:cubicBezTo>
                <a:cubicBezTo>
                  <a:pt x="3755994" y="471302"/>
                  <a:pt x="3742271" y="469586"/>
                  <a:pt x="3730836" y="465012"/>
                </a:cubicBezTo>
                <a:cubicBezTo>
                  <a:pt x="3727691" y="463583"/>
                  <a:pt x="3724260" y="461581"/>
                  <a:pt x="3721116" y="459007"/>
                </a:cubicBezTo>
                <a:close/>
                <a:moveTo>
                  <a:pt x="4025586" y="420414"/>
                </a:moveTo>
                <a:cubicBezTo>
                  <a:pt x="4018439" y="445000"/>
                  <a:pt x="4009290" y="465297"/>
                  <a:pt x="3998141" y="480736"/>
                </a:cubicBezTo>
                <a:cubicBezTo>
                  <a:pt x="4017010" y="497888"/>
                  <a:pt x="4036164" y="513613"/>
                  <a:pt x="4054747" y="527621"/>
                </a:cubicBezTo>
                <a:cubicBezTo>
                  <a:pt x="4099631" y="560497"/>
                  <a:pt x="4165386" y="600235"/>
                  <a:pt x="4225137" y="603379"/>
                </a:cubicBezTo>
                <a:lnTo>
                  <a:pt x="4243718" y="604237"/>
                </a:lnTo>
                <a:cubicBezTo>
                  <a:pt x="4300611" y="602522"/>
                  <a:pt x="4335203" y="571074"/>
                  <a:pt x="4350927" y="552778"/>
                </a:cubicBezTo>
                <a:cubicBezTo>
                  <a:pt x="4328342" y="550204"/>
                  <a:pt x="4286316" y="544203"/>
                  <a:pt x="4255155" y="529337"/>
                </a:cubicBezTo>
                <a:cubicBezTo>
                  <a:pt x="4205124" y="509896"/>
                  <a:pt x="4157381" y="476733"/>
                  <a:pt x="4113640" y="430705"/>
                </a:cubicBezTo>
                <a:lnTo>
                  <a:pt x="4108208" y="429848"/>
                </a:lnTo>
                <a:cubicBezTo>
                  <a:pt x="4098202" y="432707"/>
                  <a:pt x="4088196" y="434135"/>
                  <a:pt x="4078190" y="434135"/>
                </a:cubicBezTo>
                <a:cubicBezTo>
                  <a:pt x="4055891" y="434135"/>
                  <a:pt x="4037879" y="427274"/>
                  <a:pt x="4025586" y="420414"/>
                </a:cubicBezTo>
                <a:close/>
                <a:moveTo>
                  <a:pt x="3302003" y="420414"/>
                </a:moveTo>
                <a:cubicBezTo>
                  <a:pt x="3289710" y="427274"/>
                  <a:pt x="3271413" y="434135"/>
                  <a:pt x="3249400" y="434135"/>
                </a:cubicBezTo>
                <a:cubicBezTo>
                  <a:pt x="3239394" y="434135"/>
                  <a:pt x="3229102" y="432707"/>
                  <a:pt x="3219382" y="429848"/>
                </a:cubicBezTo>
                <a:lnTo>
                  <a:pt x="3213949" y="430705"/>
                </a:lnTo>
                <a:cubicBezTo>
                  <a:pt x="3170208" y="476733"/>
                  <a:pt x="3122752" y="510182"/>
                  <a:pt x="3072149" y="529623"/>
                </a:cubicBezTo>
                <a:cubicBezTo>
                  <a:pt x="3041273" y="544489"/>
                  <a:pt x="2999248" y="550490"/>
                  <a:pt x="2977234" y="552491"/>
                </a:cubicBezTo>
                <a:cubicBezTo>
                  <a:pt x="2992672" y="570789"/>
                  <a:pt x="3027264" y="602236"/>
                  <a:pt x="3084442" y="603951"/>
                </a:cubicBezTo>
                <a:lnTo>
                  <a:pt x="3103025" y="603094"/>
                </a:lnTo>
                <a:cubicBezTo>
                  <a:pt x="3162775" y="599949"/>
                  <a:pt x="3228529" y="560211"/>
                  <a:pt x="3273129" y="527335"/>
                </a:cubicBezTo>
                <a:cubicBezTo>
                  <a:pt x="3291997" y="513327"/>
                  <a:pt x="3310865" y="497603"/>
                  <a:pt x="3329734" y="480450"/>
                </a:cubicBezTo>
                <a:cubicBezTo>
                  <a:pt x="3318298" y="465012"/>
                  <a:pt x="3308865" y="445000"/>
                  <a:pt x="3302003" y="420414"/>
                </a:cubicBezTo>
                <a:close/>
                <a:moveTo>
                  <a:pt x="3754850" y="405832"/>
                </a:moveTo>
                <a:cubicBezTo>
                  <a:pt x="3759996" y="405832"/>
                  <a:pt x="3765428" y="407833"/>
                  <a:pt x="3770859" y="410692"/>
                </a:cubicBezTo>
                <a:lnTo>
                  <a:pt x="3771431" y="411264"/>
                </a:lnTo>
                <a:lnTo>
                  <a:pt x="3770859" y="411835"/>
                </a:lnTo>
                <a:cubicBezTo>
                  <a:pt x="3770859" y="411835"/>
                  <a:pt x="3765714" y="416124"/>
                  <a:pt x="3758280" y="416124"/>
                </a:cubicBezTo>
                <a:cubicBezTo>
                  <a:pt x="3752849" y="416124"/>
                  <a:pt x="3747989" y="414122"/>
                  <a:pt x="3743414" y="409835"/>
                </a:cubicBezTo>
                <a:lnTo>
                  <a:pt x="3742843" y="409262"/>
                </a:lnTo>
                <a:lnTo>
                  <a:pt x="3743414" y="408976"/>
                </a:lnTo>
                <a:cubicBezTo>
                  <a:pt x="3743700" y="408691"/>
                  <a:pt x="3747703" y="405832"/>
                  <a:pt x="3754850" y="405832"/>
                </a:cubicBezTo>
                <a:close/>
                <a:moveTo>
                  <a:pt x="3590178" y="405832"/>
                </a:moveTo>
                <a:cubicBezTo>
                  <a:pt x="3595324" y="405832"/>
                  <a:pt x="3600756" y="407548"/>
                  <a:pt x="3606187" y="410978"/>
                </a:cubicBezTo>
                <a:lnTo>
                  <a:pt x="3606759" y="411550"/>
                </a:lnTo>
                <a:lnTo>
                  <a:pt x="3606187" y="412121"/>
                </a:lnTo>
                <a:cubicBezTo>
                  <a:pt x="3606187" y="412121"/>
                  <a:pt x="3601041" y="416410"/>
                  <a:pt x="3593609" y="416410"/>
                </a:cubicBezTo>
                <a:cubicBezTo>
                  <a:pt x="3588463" y="416410"/>
                  <a:pt x="3583317" y="414408"/>
                  <a:pt x="3578742" y="409835"/>
                </a:cubicBezTo>
                <a:lnTo>
                  <a:pt x="3578171" y="409262"/>
                </a:lnTo>
                <a:lnTo>
                  <a:pt x="3578742" y="408976"/>
                </a:lnTo>
                <a:cubicBezTo>
                  <a:pt x="3578742" y="408691"/>
                  <a:pt x="3583031" y="405832"/>
                  <a:pt x="3590178" y="405832"/>
                </a:cubicBezTo>
                <a:close/>
                <a:moveTo>
                  <a:pt x="3589035" y="400687"/>
                </a:moveTo>
                <a:cubicBezTo>
                  <a:pt x="3580459" y="400687"/>
                  <a:pt x="3573025" y="402402"/>
                  <a:pt x="3567022" y="405547"/>
                </a:cubicBezTo>
                <a:cubicBezTo>
                  <a:pt x="3565306" y="406405"/>
                  <a:pt x="3526139" y="424988"/>
                  <a:pt x="3516134" y="457578"/>
                </a:cubicBezTo>
                <a:cubicBezTo>
                  <a:pt x="3511273" y="473875"/>
                  <a:pt x="3514132" y="491313"/>
                  <a:pt x="3524996" y="509610"/>
                </a:cubicBezTo>
                <a:cubicBezTo>
                  <a:pt x="3525854" y="511040"/>
                  <a:pt x="3551011" y="551062"/>
                  <a:pt x="3601900" y="587085"/>
                </a:cubicBezTo>
                <a:lnTo>
                  <a:pt x="3613621" y="595375"/>
                </a:lnTo>
                <a:lnTo>
                  <a:pt x="3602472" y="604237"/>
                </a:lnTo>
                <a:cubicBezTo>
                  <a:pt x="3577313" y="624250"/>
                  <a:pt x="3546724" y="657127"/>
                  <a:pt x="3544723" y="701439"/>
                </a:cubicBezTo>
                <a:cubicBezTo>
                  <a:pt x="3543293" y="735744"/>
                  <a:pt x="3561590" y="768905"/>
                  <a:pt x="3599327" y="799781"/>
                </a:cubicBezTo>
                <a:lnTo>
                  <a:pt x="3622484" y="818650"/>
                </a:lnTo>
                <a:lnTo>
                  <a:pt x="3596468" y="818650"/>
                </a:lnTo>
                <a:cubicBezTo>
                  <a:pt x="3590465" y="823795"/>
                  <a:pt x="3571596" y="842664"/>
                  <a:pt x="3567307" y="874112"/>
                </a:cubicBezTo>
                <a:cubicBezTo>
                  <a:pt x="3561876" y="913565"/>
                  <a:pt x="3580172" y="958449"/>
                  <a:pt x="3621340" y="1007336"/>
                </a:cubicBezTo>
                <a:lnTo>
                  <a:pt x="3625057" y="1011910"/>
                </a:lnTo>
                <a:lnTo>
                  <a:pt x="3623056" y="1013625"/>
                </a:lnTo>
                <a:lnTo>
                  <a:pt x="3625914" y="1018486"/>
                </a:lnTo>
                <a:lnTo>
                  <a:pt x="3621912" y="1021630"/>
                </a:lnTo>
                <a:cubicBezTo>
                  <a:pt x="3592752" y="1045359"/>
                  <a:pt x="3578457" y="1066228"/>
                  <a:pt x="3578457" y="1085097"/>
                </a:cubicBezTo>
                <a:cubicBezTo>
                  <a:pt x="3578457" y="1106253"/>
                  <a:pt x="3595611" y="1130839"/>
                  <a:pt x="3628773" y="1155712"/>
                </a:cubicBezTo>
                <a:lnTo>
                  <a:pt x="3641353" y="1163431"/>
                </a:lnTo>
                <a:lnTo>
                  <a:pt x="3635349" y="1168577"/>
                </a:lnTo>
                <a:cubicBezTo>
                  <a:pt x="3624200" y="1178011"/>
                  <a:pt x="3598755" y="1202312"/>
                  <a:pt x="3599613" y="1227755"/>
                </a:cubicBezTo>
                <a:cubicBezTo>
                  <a:pt x="3599899" y="1242335"/>
                  <a:pt x="3605617" y="1254914"/>
                  <a:pt x="3617624" y="1268066"/>
                </a:cubicBezTo>
                <a:cubicBezTo>
                  <a:pt x="3613335" y="1242622"/>
                  <a:pt x="3614479" y="1206314"/>
                  <a:pt x="3647356" y="1181727"/>
                </a:cubicBezTo>
                <a:lnTo>
                  <a:pt x="3659935" y="1172007"/>
                </a:lnTo>
                <a:lnTo>
                  <a:pt x="3663366" y="1174008"/>
                </a:lnTo>
                <a:cubicBezTo>
                  <a:pt x="3667368" y="1176296"/>
                  <a:pt x="3671085" y="1179440"/>
                  <a:pt x="3674229" y="1182299"/>
                </a:cubicBezTo>
                <a:cubicBezTo>
                  <a:pt x="3677375" y="1185158"/>
                  <a:pt x="3680805" y="1188303"/>
                  <a:pt x="3684235" y="1190019"/>
                </a:cubicBezTo>
                <a:cubicBezTo>
                  <a:pt x="3702533" y="1199739"/>
                  <a:pt x="3713396" y="1213175"/>
                  <a:pt x="3716542" y="1230328"/>
                </a:cubicBezTo>
                <a:cubicBezTo>
                  <a:pt x="3719400" y="1247196"/>
                  <a:pt x="3713968" y="1264635"/>
                  <a:pt x="3706821" y="1278643"/>
                </a:cubicBezTo>
                <a:cubicBezTo>
                  <a:pt x="3718829" y="1270924"/>
                  <a:pt x="3726833" y="1260919"/>
                  <a:pt x="3729978" y="1249769"/>
                </a:cubicBezTo>
                <a:cubicBezTo>
                  <a:pt x="3735696" y="1231472"/>
                  <a:pt x="3728834" y="1210031"/>
                  <a:pt x="3711967" y="1190876"/>
                </a:cubicBezTo>
                <a:lnTo>
                  <a:pt x="3705392" y="1183443"/>
                </a:lnTo>
                <a:lnTo>
                  <a:pt x="3712539" y="1176296"/>
                </a:lnTo>
                <a:cubicBezTo>
                  <a:pt x="3717684" y="1171150"/>
                  <a:pt x="3761140" y="1125979"/>
                  <a:pt x="3760282" y="1077378"/>
                </a:cubicBezTo>
                <a:cubicBezTo>
                  <a:pt x="3759996" y="1056223"/>
                  <a:pt x="3750562" y="1037069"/>
                  <a:pt x="3732836" y="1020773"/>
                </a:cubicBezTo>
                <a:lnTo>
                  <a:pt x="3722259" y="1011053"/>
                </a:lnTo>
                <a:lnTo>
                  <a:pt x="3734552" y="1003905"/>
                </a:lnTo>
                <a:cubicBezTo>
                  <a:pt x="3766000" y="985037"/>
                  <a:pt x="3802308" y="957306"/>
                  <a:pt x="3802308" y="907846"/>
                </a:cubicBezTo>
                <a:cubicBezTo>
                  <a:pt x="3802308" y="856387"/>
                  <a:pt x="3758281" y="824653"/>
                  <a:pt x="3713110" y="796636"/>
                </a:cubicBezTo>
                <a:lnTo>
                  <a:pt x="3698244" y="787488"/>
                </a:lnTo>
                <a:lnTo>
                  <a:pt x="3713110" y="778625"/>
                </a:lnTo>
                <a:cubicBezTo>
                  <a:pt x="3722259" y="773194"/>
                  <a:pt x="3802879" y="723165"/>
                  <a:pt x="3805166" y="666847"/>
                </a:cubicBezTo>
                <a:cubicBezTo>
                  <a:pt x="3806310" y="642833"/>
                  <a:pt x="3792016" y="620247"/>
                  <a:pt x="3763141" y="599378"/>
                </a:cubicBezTo>
                <a:lnTo>
                  <a:pt x="3747131" y="587942"/>
                </a:lnTo>
                <a:lnTo>
                  <a:pt x="3765428" y="580795"/>
                </a:lnTo>
                <a:cubicBezTo>
                  <a:pt x="3766857" y="580509"/>
                  <a:pt x="3768001" y="579937"/>
                  <a:pt x="3769144" y="579365"/>
                </a:cubicBezTo>
                <a:cubicBezTo>
                  <a:pt x="3795732" y="567644"/>
                  <a:pt x="3831468" y="528479"/>
                  <a:pt x="3841760" y="489312"/>
                </a:cubicBezTo>
                <a:cubicBezTo>
                  <a:pt x="3847764" y="467870"/>
                  <a:pt x="3845477" y="449287"/>
                  <a:pt x="3834899" y="434422"/>
                </a:cubicBezTo>
                <a:cubicBezTo>
                  <a:pt x="3820605" y="413838"/>
                  <a:pt x="3798019" y="403546"/>
                  <a:pt x="3768001" y="403546"/>
                </a:cubicBezTo>
                <a:cubicBezTo>
                  <a:pt x="3745702" y="403546"/>
                  <a:pt x="3727404" y="409835"/>
                  <a:pt x="3727119" y="409835"/>
                </a:cubicBezTo>
                <a:cubicBezTo>
                  <a:pt x="3725976" y="410122"/>
                  <a:pt x="3721973" y="411836"/>
                  <a:pt x="3721973" y="419269"/>
                </a:cubicBezTo>
                <a:cubicBezTo>
                  <a:pt x="3721973" y="429275"/>
                  <a:pt x="3729406" y="440997"/>
                  <a:pt x="3738555" y="445000"/>
                </a:cubicBezTo>
                <a:cubicBezTo>
                  <a:pt x="3744843" y="447573"/>
                  <a:pt x="3752277" y="449003"/>
                  <a:pt x="3760568" y="449003"/>
                </a:cubicBezTo>
                <a:cubicBezTo>
                  <a:pt x="3770002" y="449003"/>
                  <a:pt x="3777435" y="447001"/>
                  <a:pt x="3778864" y="446715"/>
                </a:cubicBezTo>
                <a:lnTo>
                  <a:pt x="3792587" y="442998"/>
                </a:lnTo>
                <a:lnTo>
                  <a:pt x="3792587" y="457007"/>
                </a:lnTo>
                <a:cubicBezTo>
                  <a:pt x="3792587" y="469872"/>
                  <a:pt x="3788871" y="535626"/>
                  <a:pt x="3716255" y="550777"/>
                </a:cubicBezTo>
                <a:cubicBezTo>
                  <a:pt x="3707678" y="552491"/>
                  <a:pt x="3697958" y="555065"/>
                  <a:pt x="3687953" y="558496"/>
                </a:cubicBezTo>
                <a:lnTo>
                  <a:pt x="3684235" y="559639"/>
                </a:lnTo>
                <a:lnTo>
                  <a:pt x="3678232" y="557351"/>
                </a:lnTo>
                <a:cubicBezTo>
                  <a:pt x="3677088" y="557066"/>
                  <a:pt x="3675945" y="556494"/>
                  <a:pt x="3674801" y="556208"/>
                </a:cubicBezTo>
                <a:cubicBezTo>
                  <a:pt x="3670513" y="555065"/>
                  <a:pt x="3567022" y="523619"/>
                  <a:pt x="3554443" y="461867"/>
                </a:cubicBezTo>
                <a:lnTo>
                  <a:pt x="3551584" y="447858"/>
                </a:lnTo>
                <a:lnTo>
                  <a:pt x="3565878" y="449003"/>
                </a:lnTo>
                <a:cubicBezTo>
                  <a:pt x="3566164" y="449287"/>
                  <a:pt x="3568737" y="449287"/>
                  <a:pt x="3572453" y="449287"/>
                </a:cubicBezTo>
                <a:cubicBezTo>
                  <a:pt x="3586176" y="449287"/>
                  <a:pt x="3619053" y="447001"/>
                  <a:pt x="3627630" y="427274"/>
                </a:cubicBezTo>
                <a:cubicBezTo>
                  <a:pt x="3629631" y="422986"/>
                  <a:pt x="3629345" y="418984"/>
                  <a:pt x="3627058" y="415553"/>
                </a:cubicBezTo>
                <a:cubicBezTo>
                  <a:pt x="3621340" y="406976"/>
                  <a:pt x="3605617" y="400687"/>
                  <a:pt x="3589035" y="400687"/>
                </a:cubicBezTo>
                <a:close/>
                <a:moveTo>
                  <a:pt x="913408" y="392392"/>
                </a:moveTo>
                <a:cubicBezTo>
                  <a:pt x="828213" y="392392"/>
                  <a:pt x="741016" y="452999"/>
                  <a:pt x="656966" y="511607"/>
                </a:cubicBezTo>
                <a:cubicBezTo>
                  <a:pt x="591213" y="557635"/>
                  <a:pt x="523170" y="604806"/>
                  <a:pt x="455986" y="623675"/>
                </a:cubicBezTo>
                <a:cubicBezTo>
                  <a:pt x="428541" y="631394"/>
                  <a:pt x="404241" y="637684"/>
                  <a:pt x="384800" y="642544"/>
                </a:cubicBezTo>
                <a:cubicBezTo>
                  <a:pt x="317331" y="659697"/>
                  <a:pt x="276734" y="669989"/>
                  <a:pt x="274447" y="692574"/>
                </a:cubicBezTo>
                <a:cubicBezTo>
                  <a:pt x="273018" y="706297"/>
                  <a:pt x="302465" y="744033"/>
                  <a:pt x="365932" y="771477"/>
                </a:cubicBezTo>
                <a:cubicBezTo>
                  <a:pt x="392234" y="782913"/>
                  <a:pt x="434544" y="796636"/>
                  <a:pt x="486862" y="796636"/>
                </a:cubicBezTo>
                <a:cubicBezTo>
                  <a:pt x="576917" y="796636"/>
                  <a:pt x="660396" y="756897"/>
                  <a:pt x="735871" y="678565"/>
                </a:cubicBezTo>
                <a:cubicBezTo>
                  <a:pt x="721576" y="670561"/>
                  <a:pt x="707568" y="659411"/>
                  <a:pt x="694131" y="645403"/>
                </a:cubicBezTo>
                <a:lnTo>
                  <a:pt x="691272" y="642258"/>
                </a:lnTo>
                <a:lnTo>
                  <a:pt x="694131" y="638827"/>
                </a:lnTo>
                <a:lnTo>
                  <a:pt x="707568" y="626534"/>
                </a:lnTo>
                <a:lnTo>
                  <a:pt x="710428" y="629679"/>
                </a:lnTo>
                <a:cubicBezTo>
                  <a:pt x="737586" y="657982"/>
                  <a:pt x="765603" y="671990"/>
                  <a:pt x="794193" y="671990"/>
                </a:cubicBezTo>
                <a:cubicBezTo>
                  <a:pt x="827356" y="671705"/>
                  <a:pt x="849941" y="652836"/>
                  <a:pt x="850798" y="651978"/>
                </a:cubicBezTo>
                <a:lnTo>
                  <a:pt x="865093" y="639685"/>
                </a:lnTo>
                <a:lnTo>
                  <a:pt x="865378" y="641114"/>
                </a:lnTo>
                <a:lnTo>
                  <a:pt x="867094" y="639971"/>
                </a:lnTo>
                <a:lnTo>
                  <a:pt x="870810" y="659126"/>
                </a:lnTo>
                <a:cubicBezTo>
                  <a:pt x="873669" y="673706"/>
                  <a:pt x="877957" y="688001"/>
                  <a:pt x="884247" y="701722"/>
                </a:cubicBezTo>
                <a:cubicBezTo>
                  <a:pt x="890536" y="716016"/>
                  <a:pt x="897683" y="727738"/>
                  <a:pt x="905688" y="737172"/>
                </a:cubicBezTo>
                <a:lnTo>
                  <a:pt x="911121" y="743747"/>
                </a:lnTo>
                <a:cubicBezTo>
                  <a:pt x="917410" y="749464"/>
                  <a:pt x="924271" y="754038"/>
                  <a:pt x="931418" y="757183"/>
                </a:cubicBezTo>
                <a:cubicBezTo>
                  <a:pt x="939709" y="760900"/>
                  <a:pt x="949143" y="762615"/>
                  <a:pt x="958863" y="762615"/>
                </a:cubicBezTo>
                <a:cubicBezTo>
                  <a:pt x="981449" y="762615"/>
                  <a:pt x="999174" y="752895"/>
                  <a:pt x="999460" y="752895"/>
                </a:cubicBezTo>
                <a:lnTo>
                  <a:pt x="1010324" y="746606"/>
                </a:lnTo>
                <a:lnTo>
                  <a:pt x="1015184" y="757469"/>
                </a:lnTo>
                <a:cubicBezTo>
                  <a:pt x="1019759" y="767760"/>
                  <a:pt x="1025190" y="776623"/>
                  <a:pt x="1031480" y="783770"/>
                </a:cubicBezTo>
                <a:cubicBezTo>
                  <a:pt x="1036053" y="788916"/>
                  <a:pt x="1041486" y="793776"/>
                  <a:pt x="1047203" y="797779"/>
                </a:cubicBezTo>
                <a:cubicBezTo>
                  <a:pt x="1053778" y="802068"/>
                  <a:pt x="1061498" y="804926"/>
                  <a:pt x="1069216" y="806070"/>
                </a:cubicBezTo>
                <a:cubicBezTo>
                  <a:pt x="1074363" y="806928"/>
                  <a:pt x="1079795" y="806928"/>
                  <a:pt x="1085512" y="806356"/>
                </a:cubicBezTo>
                <a:cubicBezTo>
                  <a:pt x="1076364" y="794920"/>
                  <a:pt x="1071789" y="787202"/>
                  <a:pt x="1071789" y="787202"/>
                </a:cubicBezTo>
                <a:cubicBezTo>
                  <a:pt x="1056352" y="761757"/>
                  <a:pt x="1052635" y="736600"/>
                  <a:pt x="1060068" y="712871"/>
                </a:cubicBezTo>
                <a:cubicBezTo>
                  <a:pt x="1074363" y="667416"/>
                  <a:pt x="1124107" y="644545"/>
                  <a:pt x="1126395" y="643687"/>
                </a:cubicBezTo>
                <a:cubicBezTo>
                  <a:pt x="1130396" y="641400"/>
                  <a:pt x="1135542" y="639685"/>
                  <a:pt x="1141546" y="638256"/>
                </a:cubicBezTo>
                <a:cubicBezTo>
                  <a:pt x="1135828" y="622246"/>
                  <a:pt x="1130682" y="603663"/>
                  <a:pt x="1126680" y="588225"/>
                </a:cubicBezTo>
                <a:lnTo>
                  <a:pt x="1125822" y="585366"/>
                </a:lnTo>
                <a:cubicBezTo>
                  <a:pt x="1108955" y="523615"/>
                  <a:pt x="1091801" y="460148"/>
                  <a:pt x="988882" y="409831"/>
                </a:cubicBezTo>
                <a:cubicBezTo>
                  <a:pt x="964582" y="398110"/>
                  <a:pt x="939995" y="392392"/>
                  <a:pt x="913408" y="392392"/>
                </a:cubicBezTo>
                <a:close/>
                <a:moveTo>
                  <a:pt x="1565519" y="392106"/>
                </a:moveTo>
                <a:cubicBezTo>
                  <a:pt x="1539217" y="392106"/>
                  <a:pt x="1513772" y="398110"/>
                  <a:pt x="1490043" y="409545"/>
                </a:cubicBezTo>
                <a:cubicBezTo>
                  <a:pt x="1387124" y="459576"/>
                  <a:pt x="1369685" y="523329"/>
                  <a:pt x="1353104" y="585080"/>
                </a:cubicBezTo>
                <a:cubicBezTo>
                  <a:pt x="1350530" y="594800"/>
                  <a:pt x="1343956" y="618244"/>
                  <a:pt x="1336236" y="639113"/>
                </a:cubicBezTo>
                <a:cubicBezTo>
                  <a:pt x="1382550" y="634539"/>
                  <a:pt x="1420287" y="649406"/>
                  <a:pt x="1442872" y="681139"/>
                </a:cubicBezTo>
                <a:cubicBezTo>
                  <a:pt x="1458024" y="702866"/>
                  <a:pt x="1461455" y="729739"/>
                  <a:pt x="1453450" y="759184"/>
                </a:cubicBezTo>
                <a:cubicBezTo>
                  <a:pt x="1450591" y="769476"/>
                  <a:pt x="1446589" y="780055"/>
                  <a:pt x="1440871" y="790632"/>
                </a:cubicBezTo>
                <a:cubicBezTo>
                  <a:pt x="1443158" y="788630"/>
                  <a:pt x="1445445" y="786343"/>
                  <a:pt x="1447732" y="783770"/>
                </a:cubicBezTo>
                <a:cubicBezTo>
                  <a:pt x="1453736" y="776623"/>
                  <a:pt x="1459168" y="767760"/>
                  <a:pt x="1464028" y="757469"/>
                </a:cubicBezTo>
                <a:lnTo>
                  <a:pt x="1468888" y="746035"/>
                </a:lnTo>
                <a:lnTo>
                  <a:pt x="1479752" y="752609"/>
                </a:lnTo>
                <a:cubicBezTo>
                  <a:pt x="1480037" y="752609"/>
                  <a:pt x="1497763" y="762329"/>
                  <a:pt x="1520348" y="762329"/>
                </a:cubicBezTo>
                <a:cubicBezTo>
                  <a:pt x="1530068" y="762329"/>
                  <a:pt x="1539217" y="760614"/>
                  <a:pt x="1547793" y="756897"/>
                </a:cubicBezTo>
                <a:cubicBezTo>
                  <a:pt x="1555226" y="753753"/>
                  <a:pt x="1562087" y="748892"/>
                  <a:pt x="1568663" y="742889"/>
                </a:cubicBezTo>
                <a:lnTo>
                  <a:pt x="1573809" y="736886"/>
                </a:lnTo>
                <a:cubicBezTo>
                  <a:pt x="1581814" y="727738"/>
                  <a:pt x="1588961" y="715730"/>
                  <a:pt x="1594965" y="701437"/>
                </a:cubicBezTo>
                <a:cubicBezTo>
                  <a:pt x="1600968" y="687428"/>
                  <a:pt x="1605544" y="673133"/>
                  <a:pt x="1608401" y="658553"/>
                </a:cubicBezTo>
                <a:lnTo>
                  <a:pt x="1611833" y="639398"/>
                </a:lnTo>
                <a:lnTo>
                  <a:pt x="1613547" y="640543"/>
                </a:lnTo>
                <a:lnTo>
                  <a:pt x="1613833" y="639113"/>
                </a:lnTo>
                <a:lnTo>
                  <a:pt x="1628128" y="651406"/>
                </a:lnTo>
                <a:cubicBezTo>
                  <a:pt x="1628986" y="652264"/>
                  <a:pt x="1651856" y="671419"/>
                  <a:pt x="1684734" y="671419"/>
                </a:cubicBezTo>
                <a:cubicBezTo>
                  <a:pt x="1713609" y="671419"/>
                  <a:pt x="1741625" y="657410"/>
                  <a:pt x="1768213" y="629679"/>
                </a:cubicBezTo>
                <a:lnTo>
                  <a:pt x="1771071" y="626534"/>
                </a:lnTo>
                <a:lnTo>
                  <a:pt x="1774503" y="628821"/>
                </a:lnTo>
                <a:lnTo>
                  <a:pt x="1788225" y="641400"/>
                </a:lnTo>
                <a:lnTo>
                  <a:pt x="1785080" y="644545"/>
                </a:lnTo>
                <a:cubicBezTo>
                  <a:pt x="1771357" y="659126"/>
                  <a:pt x="1757064" y="670275"/>
                  <a:pt x="1742769" y="678280"/>
                </a:cubicBezTo>
                <a:cubicBezTo>
                  <a:pt x="1817958" y="756611"/>
                  <a:pt x="1901723" y="796349"/>
                  <a:pt x="1992063" y="796349"/>
                </a:cubicBezTo>
                <a:cubicBezTo>
                  <a:pt x="2044381" y="796349"/>
                  <a:pt x="2086693" y="782627"/>
                  <a:pt x="2112994" y="771192"/>
                </a:cubicBezTo>
                <a:cubicBezTo>
                  <a:pt x="2144728" y="757469"/>
                  <a:pt x="2167957" y="741103"/>
                  <a:pt x="2183073" y="726487"/>
                </a:cubicBezTo>
                <a:lnTo>
                  <a:pt x="2188789" y="719596"/>
                </a:lnTo>
                <a:lnTo>
                  <a:pt x="2188918" y="673590"/>
                </a:lnTo>
                <a:lnTo>
                  <a:pt x="2173745" y="665236"/>
                </a:lnTo>
                <a:cubicBezTo>
                  <a:pt x="2154877" y="657696"/>
                  <a:pt x="2127860" y="650834"/>
                  <a:pt x="2094126" y="642258"/>
                </a:cubicBezTo>
                <a:cubicBezTo>
                  <a:pt x="2074399" y="637112"/>
                  <a:pt x="2050098" y="630822"/>
                  <a:pt x="2022939" y="623389"/>
                </a:cubicBezTo>
                <a:cubicBezTo>
                  <a:pt x="1955756" y="604521"/>
                  <a:pt x="1887714" y="557064"/>
                  <a:pt x="1821960" y="511322"/>
                </a:cubicBezTo>
                <a:cubicBezTo>
                  <a:pt x="1737909" y="452715"/>
                  <a:pt x="1650713" y="392106"/>
                  <a:pt x="1565519" y="392106"/>
                </a:cubicBezTo>
                <a:close/>
                <a:moveTo>
                  <a:pt x="2419752" y="332646"/>
                </a:moveTo>
                <a:cubicBezTo>
                  <a:pt x="2311972" y="332360"/>
                  <a:pt x="2224776" y="419556"/>
                  <a:pt x="2224490" y="527622"/>
                </a:cubicBezTo>
                <a:lnTo>
                  <a:pt x="2223782" y="683356"/>
                </a:lnTo>
                <a:lnTo>
                  <a:pt x="2226777" y="690287"/>
                </a:lnTo>
                <a:lnTo>
                  <a:pt x="2223696" y="702406"/>
                </a:lnTo>
                <a:lnTo>
                  <a:pt x="2223632" y="716302"/>
                </a:lnTo>
                <a:lnTo>
                  <a:pt x="2254223" y="716302"/>
                </a:lnTo>
                <a:lnTo>
                  <a:pt x="2254795" y="558210"/>
                </a:lnTo>
                <a:cubicBezTo>
                  <a:pt x="2255080" y="450146"/>
                  <a:pt x="2342562" y="362950"/>
                  <a:pt x="2450056" y="363236"/>
                </a:cubicBezTo>
                <a:cubicBezTo>
                  <a:pt x="2495798" y="363522"/>
                  <a:pt x="2537824" y="379532"/>
                  <a:pt x="2570986" y="406406"/>
                </a:cubicBezTo>
                <a:cubicBezTo>
                  <a:pt x="2535537" y="361521"/>
                  <a:pt x="2480932" y="332933"/>
                  <a:pt x="2419752" y="332646"/>
                </a:cubicBezTo>
                <a:close/>
                <a:moveTo>
                  <a:pt x="1237034" y="303195"/>
                </a:moveTo>
                <a:cubicBezTo>
                  <a:pt x="1174995" y="303195"/>
                  <a:pt x="1124679" y="353511"/>
                  <a:pt x="1124679" y="415549"/>
                </a:cubicBezTo>
                <a:cubicBezTo>
                  <a:pt x="1124679" y="456716"/>
                  <a:pt x="1146978" y="494454"/>
                  <a:pt x="1183000" y="514180"/>
                </a:cubicBezTo>
                <a:lnTo>
                  <a:pt x="1189289" y="517611"/>
                </a:lnTo>
                <a:lnTo>
                  <a:pt x="1189289" y="520183"/>
                </a:lnTo>
                <a:lnTo>
                  <a:pt x="1193006" y="642258"/>
                </a:lnTo>
                <a:cubicBezTo>
                  <a:pt x="1205014" y="646833"/>
                  <a:pt x="1214734" y="653980"/>
                  <a:pt x="1220165" y="662556"/>
                </a:cubicBezTo>
                <a:cubicBezTo>
                  <a:pt x="1227028" y="673133"/>
                  <a:pt x="1227884" y="684855"/>
                  <a:pt x="1222738" y="696862"/>
                </a:cubicBezTo>
                <a:cubicBezTo>
                  <a:pt x="1217021" y="709728"/>
                  <a:pt x="1206156" y="719446"/>
                  <a:pt x="1190433" y="725736"/>
                </a:cubicBezTo>
                <a:lnTo>
                  <a:pt x="1191576" y="773193"/>
                </a:lnTo>
                <a:cubicBezTo>
                  <a:pt x="1223024" y="792919"/>
                  <a:pt x="1259047" y="804069"/>
                  <a:pt x="1259332" y="804069"/>
                </a:cubicBezTo>
                <a:lnTo>
                  <a:pt x="1262764" y="805498"/>
                </a:lnTo>
                <a:cubicBezTo>
                  <a:pt x="1267338" y="804069"/>
                  <a:pt x="1271339" y="802639"/>
                  <a:pt x="1275628" y="801495"/>
                </a:cubicBezTo>
                <a:lnTo>
                  <a:pt x="1284491" y="517611"/>
                </a:lnTo>
                <a:lnTo>
                  <a:pt x="1290780" y="514180"/>
                </a:lnTo>
                <a:cubicBezTo>
                  <a:pt x="1327087" y="494454"/>
                  <a:pt x="1349387" y="456431"/>
                  <a:pt x="1349387" y="415549"/>
                </a:cubicBezTo>
                <a:cubicBezTo>
                  <a:pt x="1349387" y="353511"/>
                  <a:pt x="1299071" y="303195"/>
                  <a:pt x="1237034" y="303195"/>
                </a:cubicBezTo>
                <a:close/>
                <a:moveTo>
                  <a:pt x="1237034" y="278037"/>
                </a:moveTo>
                <a:cubicBezTo>
                  <a:pt x="1312793" y="278037"/>
                  <a:pt x="1374831" y="339788"/>
                  <a:pt x="1374831" y="415834"/>
                </a:cubicBezTo>
                <a:cubicBezTo>
                  <a:pt x="1374831" y="463292"/>
                  <a:pt x="1349673" y="507890"/>
                  <a:pt x="1309363" y="533048"/>
                </a:cubicBezTo>
                <a:lnTo>
                  <a:pt x="1307076" y="645117"/>
                </a:lnTo>
                <a:cubicBezTo>
                  <a:pt x="1307647" y="644831"/>
                  <a:pt x="1308505" y="644831"/>
                  <a:pt x="1309363" y="644545"/>
                </a:cubicBezTo>
                <a:cubicBezTo>
                  <a:pt x="1316224" y="628535"/>
                  <a:pt x="1323371" y="607379"/>
                  <a:pt x="1330804" y="579934"/>
                </a:cubicBezTo>
                <a:cubicBezTo>
                  <a:pt x="1347958" y="516467"/>
                  <a:pt x="1367398" y="444709"/>
                  <a:pt x="1479752" y="390105"/>
                </a:cubicBezTo>
                <a:cubicBezTo>
                  <a:pt x="1506911" y="376668"/>
                  <a:pt x="1535786" y="370093"/>
                  <a:pt x="1565519" y="370093"/>
                </a:cubicBezTo>
                <a:cubicBezTo>
                  <a:pt x="1657288" y="370093"/>
                  <a:pt x="1747629" y="432703"/>
                  <a:pt x="1834825" y="493596"/>
                </a:cubicBezTo>
                <a:cubicBezTo>
                  <a:pt x="1899435" y="538481"/>
                  <a:pt x="1965762" y="584509"/>
                  <a:pt x="2028943" y="602233"/>
                </a:cubicBezTo>
                <a:cubicBezTo>
                  <a:pt x="2055817" y="609667"/>
                  <a:pt x="2080117" y="615956"/>
                  <a:pt x="2099558" y="620817"/>
                </a:cubicBezTo>
                <a:cubicBezTo>
                  <a:pt x="2119427" y="625892"/>
                  <a:pt x="2137063" y="630394"/>
                  <a:pt x="2152402" y="634888"/>
                </a:cubicBezTo>
                <a:lnTo>
                  <a:pt x="2188990" y="648016"/>
                </a:lnTo>
                <a:lnTo>
                  <a:pt x="2189326" y="529051"/>
                </a:lnTo>
                <a:cubicBezTo>
                  <a:pt x="2189612" y="399544"/>
                  <a:pt x="2295391" y="294052"/>
                  <a:pt x="2424898" y="294052"/>
                </a:cubicBezTo>
                <a:cubicBezTo>
                  <a:pt x="2555549" y="294338"/>
                  <a:pt x="2660755" y="400401"/>
                  <a:pt x="2660470" y="530481"/>
                </a:cubicBezTo>
                <a:lnTo>
                  <a:pt x="2659898" y="732884"/>
                </a:lnTo>
                <a:lnTo>
                  <a:pt x="2659327" y="960449"/>
                </a:lnTo>
                <a:cubicBezTo>
                  <a:pt x="2659041" y="1089957"/>
                  <a:pt x="2553262" y="1195449"/>
                  <a:pt x="2423754" y="1195449"/>
                </a:cubicBezTo>
                <a:lnTo>
                  <a:pt x="2423182" y="1195449"/>
                </a:lnTo>
                <a:cubicBezTo>
                  <a:pt x="2360287" y="1195163"/>
                  <a:pt x="2301108" y="1170577"/>
                  <a:pt x="2256796" y="1125978"/>
                </a:cubicBezTo>
                <a:cubicBezTo>
                  <a:pt x="2212482" y="1081380"/>
                  <a:pt x="2188182" y="1022201"/>
                  <a:pt x="2188182" y="959306"/>
                </a:cubicBezTo>
                <a:lnTo>
                  <a:pt x="2188755" y="756897"/>
                </a:lnTo>
                <a:lnTo>
                  <a:pt x="2188755" y="750452"/>
                </a:lnTo>
                <a:lnTo>
                  <a:pt x="2165066" y="769124"/>
                </a:lnTo>
                <a:cubicBezTo>
                  <a:pt x="2152018" y="777642"/>
                  <a:pt x="2137366" y="785629"/>
                  <a:pt x="2121571" y="792633"/>
                </a:cubicBezTo>
                <a:cubicBezTo>
                  <a:pt x="2101272" y="801495"/>
                  <a:pt x="2059818" y="816076"/>
                  <a:pt x="2006357" y="818363"/>
                </a:cubicBezTo>
                <a:cubicBezTo>
                  <a:pt x="2004357" y="821508"/>
                  <a:pt x="1959758" y="900127"/>
                  <a:pt x="1855695" y="900127"/>
                </a:cubicBezTo>
                <a:cubicBezTo>
                  <a:pt x="1851978" y="900127"/>
                  <a:pt x="1847690" y="900127"/>
                  <a:pt x="1843116" y="899841"/>
                </a:cubicBezTo>
                <a:cubicBezTo>
                  <a:pt x="1828535" y="910133"/>
                  <a:pt x="1766784" y="950158"/>
                  <a:pt x="1676443" y="950158"/>
                </a:cubicBezTo>
                <a:cubicBezTo>
                  <a:pt x="1586388" y="950158"/>
                  <a:pt x="1496905" y="910990"/>
                  <a:pt x="1410281" y="834087"/>
                </a:cubicBezTo>
                <a:cubicBezTo>
                  <a:pt x="1398560" y="846952"/>
                  <a:pt x="1385980" y="857816"/>
                  <a:pt x="1373974" y="865249"/>
                </a:cubicBezTo>
                <a:cubicBezTo>
                  <a:pt x="1401990" y="889549"/>
                  <a:pt x="1415428" y="916709"/>
                  <a:pt x="1414283" y="945869"/>
                </a:cubicBezTo>
                <a:cubicBezTo>
                  <a:pt x="1411711" y="1003904"/>
                  <a:pt x="1351102" y="1052791"/>
                  <a:pt x="1319655" y="1074233"/>
                </a:cubicBezTo>
                <a:cubicBezTo>
                  <a:pt x="1367970" y="1105395"/>
                  <a:pt x="1411139" y="1143132"/>
                  <a:pt x="1411139" y="1203168"/>
                </a:cubicBezTo>
                <a:cubicBezTo>
                  <a:pt x="1411139" y="1263205"/>
                  <a:pt x="1371400" y="1297226"/>
                  <a:pt x="1339380" y="1318096"/>
                </a:cubicBezTo>
                <a:cubicBezTo>
                  <a:pt x="1356249" y="1337536"/>
                  <a:pt x="1365397" y="1359835"/>
                  <a:pt x="1365683" y="1384421"/>
                </a:cubicBezTo>
                <a:cubicBezTo>
                  <a:pt x="1366826" y="1435595"/>
                  <a:pt x="1329947" y="1482481"/>
                  <a:pt x="1315080" y="1499348"/>
                </a:cubicBezTo>
                <a:cubicBezTo>
                  <a:pt x="1333377" y="1523934"/>
                  <a:pt x="1339953" y="1551952"/>
                  <a:pt x="1332519" y="1576252"/>
                </a:cubicBezTo>
                <a:cubicBezTo>
                  <a:pt x="1325373" y="1601124"/>
                  <a:pt x="1305074" y="1620565"/>
                  <a:pt x="1273912" y="1632286"/>
                </a:cubicBezTo>
                <a:lnTo>
                  <a:pt x="1273056" y="1659159"/>
                </a:lnTo>
                <a:cubicBezTo>
                  <a:pt x="1273056" y="1668594"/>
                  <a:pt x="1269338" y="1677457"/>
                  <a:pt x="1262477" y="1684318"/>
                </a:cubicBezTo>
                <a:cubicBezTo>
                  <a:pt x="1255616" y="1691179"/>
                  <a:pt x="1246467" y="1694896"/>
                  <a:pt x="1236747" y="1694896"/>
                </a:cubicBezTo>
                <a:cubicBezTo>
                  <a:pt x="1216736" y="1694896"/>
                  <a:pt x="1200439" y="1678600"/>
                  <a:pt x="1200439" y="1658588"/>
                </a:cubicBezTo>
                <a:lnTo>
                  <a:pt x="1199582" y="1629999"/>
                </a:lnTo>
                <a:cubicBezTo>
                  <a:pt x="1163274" y="1609416"/>
                  <a:pt x="1149265" y="1573393"/>
                  <a:pt x="1148694" y="1546234"/>
                </a:cubicBezTo>
                <a:cubicBezTo>
                  <a:pt x="1147835" y="1515358"/>
                  <a:pt x="1165561" y="1491344"/>
                  <a:pt x="1178140" y="1478193"/>
                </a:cubicBezTo>
                <a:cubicBezTo>
                  <a:pt x="1143549" y="1449604"/>
                  <a:pt x="1126108" y="1421015"/>
                  <a:pt x="1126108" y="1392998"/>
                </a:cubicBezTo>
                <a:cubicBezTo>
                  <a:pt x="1126108" y="1367554"/>
                  <a:pt x="1140403" y="1342968"/>
                  <a:pt x="1170708" y="1316094"/>
                </a:cubicBezTo>
                <a:cubicBezTo>
                  <a:pt x="1100950" y="1229470"/>
                  <a:pt x="1106954" y="1166289"/>
                  <a:pt x="1124679" y="1128551"/>
                </a:cubicBezTo>
                <a:cubicBezTo>
                  <a:pt x="1130111" y="1117117"/>
                  <a:pt x="1138115" y="1105108"/>
                  <a:pt x="1146978" y="1095960"/>
                </a:cubicBezTo>
                <a:cubicBezTo>
                  <a:pt x="1107240" y="1060510"/>
                  <a:pt x="1088371" y="1021629"/>
                  <a:pt x="1090087" y="980461"/>
                </a:cubicBezTo>
                <a:cubicBezTo>
                  <a:pt x="1091801" y="940152"/>
                  <a:pt x="1112386" y="901842"/>
                  <a:pt x="1149265" y="868965"/>
                </a:cubicBezTo>
                <a:cubicBezTo>
                  <a:pt x="1132685" y="856386"/>
                  <a:pt x="1116960" y="842092"/>
                  <a:pt x="1102952" y="826940"/>
                </a:cubicBezTo>
                <a:cubicBezTo>
                  <a:pt x="1094660" y="828941"/>
                  <a:pt x="1086655" y="829798"/>
                  <a:pt x="1078937" y="829798"/>
                </a:cubicBezTo>
                <a:cubicBezTo>
                  <a:pt x="1077221" y="829798"/>
                  <a:pt x="1075506" y="829798"/>
                  <a:pt x="1073219" y="829513"/>
                </a:cubicBezTo>
                <a:cubicBezTo>
                  <a:pt x="1029335" y="869395"/>
                  <a:pt x="984593" y="899413"/>
                  <a:pt x="939352" y="919460"/>
                </a:cubicBezTo>
                <a:lnTo>
                  <a:pt x="923763" y="924622"/>
                </a:lnTo>
                <a:lnTo>
                  <a:pt x="926099" y="925071"/>
                </a:lnTo>
                <a:cubicBezTo>
                  <a:pt x="947769" y="937131"/>
                  <a:pt x="965297" y="968812"/>
                  <a:pt x="969158" y="988753"/>
                </a:cubicBezTo>
                <a:cubicBezTo>
                  <a:pt x="972587" y="1006192"/>
                  <a:pt x="966584" y="1023631"/>
                  <a:pt x="955149" y="1035638"/>
                </a:cubicBezTo>
                <a:cubicBezTo>
                  <a:pt x="982879" y="1247195"/>
                  <a:pt x="897399" y="1439884"/>
                  <a:pt x="752168" y="1487341"/>
                </a:cubicBezTo>
                <a:cubicBezTo>
                  <a:pt x="744449" y="1529367"/>
                  <a:pt x="731012" y="1637432"/>
                  <a:pt x="781614" y="1693466"/>
                </a:cubicBezTo>
                <a:cubicBezTo>
                  <a:pt x="892253" y="1816113"/>
                  <a:pt x="893969" y="1907883"/>
                  <a:pt x="875956" y="1963345"/>
                </a:cubicBezTo>
                <a:cubicBezTo>
                  <a:pt x="849941" y="2042536"/>
                  <a:pt x="767605" y="2099142"/>
                  <a:pt x="643816" y="2122584"/>
                </a:cubicBezTo>
                <a:cubicBezTo>
                  <a:pt x="431401" y="2162609"/>
                  <a:pt x="371365" y="2007944"/>
                  <a:pt x="327624" y="1895017"/>
                </a:cubicBezTo>
                <a:cubicBezTo>
                  <a:pt x="303609" y="1833266"/>
                  <a:pt x="284454" y="1786952"/>
                  <a:pt x="255865" y="1759507"/>
                </a:cubicBezTo>
                <a:cubicBezTo>
                  <a:pt x="246145" y="1765225"/>
                  <a:pt x="235568" y="1769227"/>
                  <a:pt x="223846" y="1771514"/>
                </a:cubicBezTo>
                <a:cubicBezTo>
                  <a:pt x="167240" y="1782378"/>
                  <a:pt x="112349" y="1744355"/>
                  <a:pt x="101486" y="1686606"/>
                </a:cubicBezTo>
                <a:cubicBezTo>
                  <a:pt x="90622" y="1628856"/>
                  <a:pt x="127787" y="1573394"/>
                  <a:pt x="184681" y="1562816"/>
                </a:cubicBezTo>
                <a:cubicBezTo>
                  <a:pt x="241285" y="1551952"/>
                  <a:pt x="296176" y="1590261"/>
                  <a:pt x="307040" y="1647725"/>
                </a:cubicBezTo>
                <a:cubicBezTo>
                  <a:pt x="309898" y="1662591"/>
                  <a:pt x="309326" y="1677171"/>
                  <a:pt x="306468" y="1690893"/>
                </a:cubicBezTo>
                <a:cubicBezTo>
                  <a:pt x="356499" y="1735207"/>
                  <a:pt x="383372" y="1804105"/>
                  <a:pt x="406529" y="1864142"/>
                </a:cubicBezTo>
                <a:cubicBezTo>
                  <a:pt x="456559" y="1992791"/>
                  <a:pt x="491438" y="2064263"/>
                  <a:pt x="628377" y="2038534"/>
                </a:cubicBezTo>
                <a:cubicBezTo>
                  <a:pt x="720721" y="2021094"/>
                  <a:pt x="780471" y="1984786"/>
                  <a:pt x="796194" y="1936185"/>
                </a:cubicBezTo>
                <a:cubicBezTo>
                  <a:pt x="811919" y="1887870"/>
                  <a:pt x="785617" y="1824117"/>
                  <a:pt x="719863" y="1751216"/>
                </a:cubicBezTo>
                <a:cubicBezTo>
                  <a:pt x="653823" y="1678314"/>
                  <a:pt x="655823" y="1566532"/>
                  <a:pt x="664972" y="1497919"/>
                </a:cubicBezTo>
                <a:cubicBezTo>
                  <a:pt x="520026" y="1486484"/>
                  <a:pt x="384515" y="1336964"/>
                  <a:pt x="339631" y="1139701"/>
                </a:cubicBezTo>
                <a:cubicBezTo>
                  <a:pt x="331626" y="1131982"/>
                  <a:pt x="325623" y="1122262"/>
                  <a:pt x="323335" y="1110541"/>
                </a:cubicBezTo>
                <a:cubicBezTo>
                  <a:pt x="318189" y="1083668"/>
                  <a:pt x="328767" y="1029063"/>
                  <a:pt x="359929" y="1023059"/>
                </a:cubicBezTo>
                <a:cubicBezTo>
                  <a:pt x="391376" y="1017055"/>
                  <a:pt x="420823" y="1064513"/>
                  <a:pt x="425969" y="1091101"/>
                </a:cubicBezTo>
                <a:cubicBezTo>
                  <a:pt x="427970" y="1102250"/>
                  <a:pt x="426541" y="1113114"/>
                  <a:pt x="422253" y="1122548"/>
                </a:cubicBezTo>
                <a:cubicBezTo>
                  <a:pt x="464277" y="1305231"/>
                  <a:pt x="589497" y="1433023"/>
                  <a:pt x="708713" y="1410438"/>
                </a:cubicBezTo>
                <a:cubicBezTo>
                  <a:pt x="832502" y="1386995"/>
                  <a:pt x="903402" y="1210316"/>
                  <a:pt x="866807" y="1016484"/>
                </a:cubicBezTo>
                <a:lnTo>
                  <a:pt x="864521" y="1004190"/>
                </a:lnTo>
                <a:lnTo>
                  <a:pt x="866237" y="1003905"/>
                </a:lnTo>
                <a:cubicBezTo>
                  <a:pt x="864521" y="990039"/>
                  <a:pt x="866380" y="970670"/>
                  <a:pt x="872384" y="954053"/>
                </a:cubicBezTo>
                <a:lnTo>
                  <a:pt x="880887" y="938819"/>
                </a:lnTo>
                <a:lnTo>
                  <a:pt x="871158" y="942041"/>
                </a:lnTo>
                <a:cubicBezTo>
                  <a:pt x="848333" y="947067"/>
                  <a:pt x="825425" y="949586"/>
                  <a:pt x="802483" y="949586"/>
                </a:cubicBezTo>
                <a:cubicBezTo>
                  <a:pt x="712142" y="949586"/>
                  <a:pt x="650104" y="909561"/>
                  <a:pt x="635810" y="899270"/>
                </a:cubicBezTo>
                <a:cubicBezTo>
                  <a:pt x="631235" y="899555"/>
                  <a:pt x="627234" y="899555"/>
                  <a:pt x="623231" y="899555"/>
                </a:cubicBezTo>
                <a:cubicBezTo>
                  <a:pt x="518882" y="899555"/>
                  <a:pt x="474569" y="821222"/>
                  <a:pt x="472568" y="817791"/>
                </a:cubicBezTo>
                <a:cubicBezTo>
                  <a:pt x="419107" y="815504"/>
                  <a:pt x="377367" y="800924"/>
                  <a:pt x="357355" y="792061"/>
                </a:cubicBezTo>
                <a:cubicBezTo>
                  <a:pt x="294459" y="764902"/>
                  <a:pt x="249289" y="721162"/>
                  <a:pt x="252434" y="690573"/>
                </a:cubicBezTo>
                <a:cubicBezTo>
                  <a:pt x="256437" y="652550"/>
                  <a:pt x="300177" y="641400"/>
                  <a:pt x="379655" y="621102"/>
                </a:cubicBezTo>
                <a:cubicBezTo>
                  <a:pt x="400810" y="615671"/>
                  <a:pt x="424253" y="609667"/>
                  <a:pt x="450269" y="602519"/>
                </a:cubicBezTo>
                <a:cubicBezTo>
                  <a:pt x="513736" y="584794"/>
                  <a:pt x="580062" y="538481"/>
                  <a:pt x="644387" y="493883"/>
                </a:cubicBezTo>
                <a:cubicBezTo>
                  <a:pt x="731583" y="432988"/>
                  <a:pt x="821923" y="370093"/>
                  <a:pt x="913693" y="370093"/>
                </a:cubicBezTo>
                <a:cubicBezTo>
                  <a:pt x="943426" y="370093"/>
                  <a:pt x="972300" y="376953"/>
                  <a:pt x="999460" y="390105"/>
                </a:cubicBezTo>
                <a:cubicBezTo>
                  <a:pt x="1111528" y="444709"/>
                  <a:pt x="1130969" y="516753"/>
                  <a:pt x="1148122" y="579934"/>
                </a:cubicBezTo>
                <a:lnTo>
                  <a:pt x="1149265" y="583365"/>
                </a:lnTo>
                <a:cubicBezTo>
                  <a:pt x="1153268" y="599089"/>
                  <a:pt x="1158985" y="620245"/>
                  <a:pt x="1165561" y="636826"/>
                </a:cubicBezTo>
                <a:cubicBezTo>
                  <a:pt x="1166418" y="636826"/>
                  <a:pt x="1166704" y="636826"/>
                  <a:pt x="1167562" y="636826"/>
                </a:cubicBezTo>
                <a:lnTo>
                  <a:pt x="1164417" y="533048"/>
                </a:lnTo>
                <a:cubicBezTo>
                  <a:pt x="1124107" y="507890"/>
                  <a:pt x="1099234" y="463292"/>
                  <a:pt x="1099234" y="415834"/>
                </a:cubicBezTo>
                <a:cubicBezTo>
                  <a:pt x="1099234" y="339788"/>
                  <a:pt x="1160987" y="278037"/>
                  <a:pt x="1237034" y="278037"/>
                </a:cubicBezTo>
                <a:close/>
                <a:moveTo>
                  <a:pt x="3360325" y="152822"/>
                </a:moveTo>
                <a:cubicBezTo>
                  <a:pt x="3280847" y="152822"/>
                  <a:pt x="3199655" y="209428"/>
                  <a:pt x="3121036" y="264032"/>
                </a:cubicBezTo>
                <a:cubicBezTo>
                  <a:pt x="3059570" y="306630"/>
                  <a:pt x="2996103" y="350942"/>
                  <a:pt x="2933494" y="368381"/>
                </a:cubicBezTo>
                <a:cubicBezTo>
                  <a:pt x="2908049" y="375529"/>
                  <a:pt x="2885464" y="381247"/>
                  <a:pt x="2867167" y="385821"/>
                </a:cubicBezTo>
                <a:cubicBezTo>
                  <a:pt x="2804558" y="401830"/>
                  <a:pt x="2766535" y="411265"/>
                  <a:pt x="2764248" y="432421"/>
                </a:cubicBezTo>
                <a:cubicBezTo>
                  <a:pt x="2762818" y="445000"/>
                  <a:pt x="2790264" y="480163"/>
                  <a:pt x="2849442" y="505894"/>
                </a:cubicBezTo>
                <a:cubicBezTo>
                  <a:pt x="2874028" y="516471"/>
                  <a:pt x="2913768" y="529337"/>
                  <a:pt x="2962368" y="529337"/>
                </a:cubicBezTo>
                <a:cubicBezTo>
                  <a:pt x="3046133" y="529337"/>
                  <a:pt x="3124180" y="492171"/>
                  <a:pt x="3194509" y="419269"/>
                </a:cubicBezTo>
                <a:cubicBezTo>
                  <a:pt x="3180787" y="411836"/>
                  <a:pt x="3167921" y="401545"/>
                  <a:pt x="3155342" y="388393"/>
                </a:cubicBezTo>
                <a:lnTo>
                  <a:pt x="3152484" y="385535"/>
                </a:lnTo>
                <a:lnTo>
                  <a:pt x="3155056" y="382390"/>
                </a:lnTo>
                <a:lnTo>
                  <a:pt x="3167635" y="370954"/>
                </a:lnTo>
                <a:lnTo>
                  <a:pt x="3170208" y="373813"/>
                </a:lnTo>
                <a:cubicBezTo>
                  <a:pt x="3195367" y="400115"/>
                  <a:pt x="3221669" y="413266"/>
                  <a:pt x="3248257" y="413266"/>
                </a:cubicBezTo>
                <a:cubicBezTo>
                  <a:pt x="3279418" y="413266"/>
                  <a:pt x="3300288" y="395540"/>
                  <a:pt x="3301145" y="394683"/>
                </a:cubicBezTo>
                <a:lnTo>
                  <a:pt x="3314582" y="383247"/>
                </a:lnTo>
                <a:lnTo>
                  <a:pt x="3314868" y="384677"/>
                </a:lnTo>
                <a:lnTo>
                  <a:pt x="3316298" y="383534"/>
                </a:lnTo>
                <a:lnTo>
                  <a:pt x="3319728" y="401545"/>
                </a:lnTo>
                <a:cubicBezTo>
                  <a:pt x="3322301" y="414982"/>
                  <a:pt x="3326304" y="428418"/>
                  <a:pt x="3332307" y="441283"/>
                </a:cubicBezTo>
                <a:cubicBezTo>
                  <a:pt x="3337739" y="454720"/>
                  <a:pt x="3344600" y="465870"/>
                  <a:pt x="3352033" y="474446"/>
                </a:cubicBezTo>
                <a:lnTo>
                  <a:pt x="3357179" y="480450"/>
                </a:lnTo>
                <a:cubicBezTo>
                  <a:pt x="3362898" y="485882"/>
                  <a:pt x="3369473" y="490170"/>
                  <a:pt x="3376048" y="493029"/>
                </a:cubicBezTo>
                <a:cubicBezTo>
                  <a:pt x="3384054" y="496459"/>
                  <a:pt x="3392630" y="498175"/>
                  <a:pt x="3401778" y="498175"/>
                </a:cubicBezTo>
                <a:cubicBezTo>
                  <a:pt x="3422934" y="498175"/>
                  <a:pt x="3439515" y="489026"/>
                  <a:pt x="3439515" y="489026"/>
                </a:cubicBezTo>
                <a:lnTo>
                  <a:pt x="3449808" y="483023"/>
                </a:lnTo>
                <a:lnTo>
                  <a:pt x="3454953" y="493601"/>
                </a:lnTo>
                <a:cubicBezTo>
                  <a:pt x="3459242" y="503035"/>
                  <a:pt x="3464388" y="511040"/>
                  <a:pt x="3470105" y="517901"/>
                </a:cubicBezTo>
                <a:cubicBezTo>
                  <a:pt x="3474394" y="523047"/>
                  <a:pt x="3479540" y="527335"/>
                  <a:pt x="3484971" y="531052"/>
                </a:cubicBezTo>
                <a:cubicBezTo>
                  <a:pt x="3491261" y="535054"/>
                  <a:pt x="3498409" y="537627"/>
                  <a:pt x="3505556" y="538771"/>
                </a:cubicBezTo>
                <a:cubicBezTo>
                  <a:pt x="3510130" y="539629"/>
                  <a:pt x="3515276" y="539629"/>
                  <a:pt x="3520708" y="539056"/>
                </a:cubicBezTo>
                <a:cubicBezTo>
                  <a:pt x="3512130" y="528193"/>
                  <a:pt x="3507843" y="521046"/>
                  <a:pt x="3507843" y="521046"/>
                </a:cubicBezTo>
                <a:cubicBezTo>
                  <a:pt x="3493834" y="497317"/>
                  <a:pt x="3490117" y="474160"/>
                  <a:pt x="3496979" y="451861"/>
                </a:cubicBezTo>
                <a:cubicBezTo>
                  <a:pt x="3510416" y="409549"/>
                  <a:pt x="3556730" y="388108"/>
                  <a:pt x="3558731" y="387250"/>
                </a:cubicBezTo>
                <a:cubicBezTo>
                  <a:pt x="3562733" y="384963"/>
                  <a:pt x="3567593" y="383247"/>
                  <a:pt x="3573025" y="382104"/>
                </a:cubicBezTo>
                <a:cubicBezTo>
                  <a:pt x="3567593" y="367238"/>
                  <a:pt x="3563019" y="349799"/>
                  <a:pt x="3559017" y="335505"/>
                </a:cubicBezTo>
                <a:lnTo>
                  <a:pt x="3558445" y="332932"/>
                </a:lnTo>
                <a:cubicBezTo>
                  <a:pt x="3542721" y="275468"/>
                  <a:pt x="3526711" y="216004"/>
                  <a:pt x="3430653" y="169118"/>
                </a:cubicBezTo>
                <a:cubicBezTo>
                  <a:pt x="3408067" y="158254"/>
                  <a:pt x="3385197" y="152822"/>
                  <a:pt x="3360325" y="152822"/>
                </a:cubicBezTo>
                <a:close/>
                <a:moveTo>
                  <a:pt x="3967551" y="152536"/>
                </a:moveTo>
                <a:cubicBezTo>
                  <a:pt x="3943250" y="152536"/>
                  <a:pt x="3919521" y="157969"/>
                  <a:pt x="3897222" y="168832"/>
                </a:cubicBezTo>
                <a:cubicBezTo>
                  <a:pt x="3801450" y="215717"/>
                  <a:pt x="3785154" y="275182"/>
                  <a:pt x="3769717" y="332645"/>
                </a:cubicBezTo>
                <a:cubicBezTo>
                  <a:pt x="3767144" y="341794"/>
                  <a:pt x="3760854" y="363807"/>
                  <a:pt x="3753706" y="383247"/>
                </a:cubicBezTo>
                <a:cubicBezTo>
                  <a:pt x="3796876" y="379246"/>
                  <a:pt x="3832325" y="392968"/>
                  <a:pt x="3853196" y="422701"/>
                </a:cubicBezTo>
                <a:cubicBezTo>
                  <a:pt x="3867490" y="442998"/>
                  <a:pt x="3870920" y="468156"/>
                  <a:pt x="3863201" y="495602"/>
                </a:cubicBezTo>
                <a:cubicBezTo>
                  <a:pt x="3860343" y="505036"/>
                  <a:pt x="3856340" y="515042"/>
                  <a:pt x="3851194" y="524763"/>
                </a:cubicBezTo>
                <a:cubicBezTo>
                  <a:pt x="3853196" y="522475"/>
                  <a:pt x="3855483" y="520474"/>
                  <a:pt x="3857484" y="518187"/>
                </a:cubicBezTo>
                <a:cubicBezTo>
                  <a:pt x="3862916" y="511611"/>
                  <a:pt x="3868061" y="503321"/>
                  <a:pt x="3872636" y="493886"/>
                </a:cubicBezTo>
                <a:lnTo>
                  <a:pt x="3877210" y="483023"/>
                </a:lnTo>
                <a:lnTo>
                  <a:pt x="3887502" y="489026"/>
                </a:lnTo>
                <a:cubicBezTo>
                  <a:pt x="3887788" y="489026"/>
                  <a:pt x="3904369" y="498175"/>
                  <a:pt x="3925526" y="498175"/>
                </a:cubicBezTo>
                <a:cubicBezTo>
                  <a:pt x="3934388" y="498175"/>
                  <a:pt x="3943250" y="496459"/>
                  <a:pt x="3950969" y="493029"/>
                </a:cubicBezTo>
                <a:cubicBezTo>
                  <a:pt x="3957830" y="489884"/>
                  <a:pt x="3964406" y="485596"/>
                  <a:pt x="3970409" y="479878"/>
                </a:cubicBezTo>
                <a:lnTo>
                  <a:pt x="3974984" y="474160"/>
                </a:lnTo>
                <a:cubicBezTo>
                  <a:pt x="3982703" y="465583"/>
                  <a:pt x="3989278" y="454434"/>
                  <a:pt x="3994996" y="440997"/>
                </a:cubicBezTo>
                <a:cubicBezTo>
                  <a:pt x="4001000" y="428132"/>
                  <a:pt x="4005003" y="414695"/>
                  <a:pt x="4007575" y="400973"/>
                </a:cubicBezTo>
                <a:lnTo>
                  <a:pt x="4010720" y="383247"/>
                </a:lnTo>
                <a:lnTo>
                  <a:pt x="4012435" y="384391"/>
                </a:lnTo>
                <a:lnTo>
                  <a:pt x="4012722" y="382962"/>
                </a:lnTo>
                <a:lnTo>
                  <a:pt x="4026158" y="394397"/>
                </a:lnTo>
                <a:cubicBezTo>
                  <a:pt x="4027016" y="395255"/>
                  <a:pt x="4048458" y="412980"/>
                  <a:pt x="4079047" y="412980"/>
                </a:cubicBezTo>
                <a:cubicBezTo>
                  <a:pt x="4105920" y="412980"/>
                  <a:pt x="4131937" y="399829"/>
                  <a:pt x="4156809" y="373813"/>
                </a:cubicBezTo>
                <a:lnTo>
                  <a:pt x="4159381" y="370954"/>
                </a:lnTo>
                <a:lnTo>
                  <a:pt x="4162527" y="373241"/>
                </a:lnTo>
                <a:lnTo>
                  <a:pt x="4175106" y="384963"/>
                </a:lnTo>
                <a:lnTo>
                  <a:pt x="4172247" y="387822"/>
                </a:lnTo>
                <a:cubicBezTo>
                  <a:pt x="4159381" y="401545"/>
                  <a:pt x="4146231" y="411836"/>
                  <a:pt x="4132794" y="419269"/>
                </a:cubicBezTo>
                <a:cubicBezTo>
                  <a:pt x="4203123" y="492171"/>
                  <a:pt x="4281171" y="529337"/>
                  <a:pt x="4365507" y="529051"/>
                </a:cubicBezTo>
                <a:cubicBezTo>
                  <a:pt x="4414394" y="529051"/>
                  <a:pt x="4453847" y="516185"/>
                  <a:pt x="4478433" y="505608"/>
                </a:cubicBezTo>
                <a:cubicBezTo>
                  <a:pt x="4537612" y="480163"/>
                  <a:pt x="4565057" y="444714"/>
                  <a:pt x="4563627" y="432135"/>
                </a:cubicBezTo>
                <a:cubicBezTo>
                  <a:pt x="4561340" y="411265"/>
                  <a:pt x="4523604" y="401545"/>
                  <a:pt x="4460708" y="385535"/>
                </a:cubicBezTo>
                <a:cubicBezTo>
                  <a:pt x="4442411" y="380960"/>
                  <a:pt x="4419826" y="375243"/>
                  <a:pt x="4394382" y="368096"/>
                </a:cubicBezTo>
                <a:cubicBezTo>
                  <a:pt x="4331773" y="350657"/>
                  <a:pt x="4268305" y="306630"/>
                  <a:pt x="4206839" y="263746"/>
                </a:cubicBezTo>
                <a:cubicBezTo>
                  <a:pt x="4128220" y="209142"/>
                  <a:pt x="4047028" y="152536"/>
                  <a:pt x="3967551" y="152536"/>
                </a:cubicBezTo>
                <a:close/>
                <a:moveTo>
                  <a:pt x="4466140" y="140241"/>
                </a:moveTo>
                <a:lnTo>
                  <a:pt x="4466140" y="200563"/>
                </a:lnTo>
                <a:cubicBezTo>
                  <a:pt x="4466140" y="260886"/>
                  <a:pt x="4515312" y="309773"/>
                  <a:pt x="4575349" y="310058"/>
                </a:cubicBezTo>
                <a:lnTo>
                  <a:pt x="4665975" y="310058"/>
                </a:lnTo>
                <a:lnTo>
                  <a:pt x="4665975" y="259457"/>
                </a:lnTo>
                <a:cubicBezTo>
                  <a:pt x="4665975" y="193416"/>
                  <a:pt x="4612800" y="140241"/>
                  <a:pt x="4547045" y="140241"/>
                </a:cubicBezTo>
                <a:close/>
                <a:moveTo>
                  <a:pt x="5224887" y="109937"/>
                </a:moveTo>
                <a:cubicBezTo>
                  <a:pt x="5158847" y="109937"/>
                  <a:pt x="5105672" y="163113"/>
                  <a:pt x="5105672" y="228867"/>
                </a:cubicBezTo>
                <a:lnTo>
                  <a:pt x="5105672" y="309773"/>
                </a:lnTo>
                <a:lnTo>
                  <a:pt x="5165994" y="309773"/>
                </a:lnTo>
                <a:cubicBezTo>
                  <a:pt x="5226317" y="309773"/>
                  <a:pt x="5275489" y="260886"/>
                  <a:pt x="5275775" y="200563"/>
                </a:cubicBezTo>
                <a:lnTo>
                  <a:pt x="5275775" y="109937"/>
                </a:lnTo>
                <a:close/>
                <a:moveTo>
                  <a:pt x="2549545" y="87350"/>
                </a:moveTo>
                <a:cubicBezTo>
                  <a:pt x="2549545" y="102501"/>
                  <a:pt x="2549545" y="116796"/>
                  <a:pt x="2549545" y="129947"/>
                </a:cubicBezTo>
                <a:cubicBezTo>
                  <a:pt x="2549545" y="163110"/>
                  <a:pt x="2576419" y="189983"/>
                  <a:pt x="2609582" y="189983"/>
                </a:cubicBezTo>
                <a:lnTo>
                  <a:pt x="2986096" y="189983"/>
                </a:lnTo>
                <a:cubicBezTo>
                  <a:pt x="3019260" y="189983"/>
                  <a:pt x="3046133" y="163110"/>
                  <a:pt x="3046133" y="129947"/>
                </a:cubicBezTo>
                <a:cubicBezTo>
                  <a:pt x="3046133" y="116796"/>
                  <a:pt x="3046133" y="102501"/>
                  <a:pt x="3046133" y="87350"/>
                </a:cubicBezTo>
                <a:close/>
                <a:moveTo>
                  <a:pt x="3661079" y="69343"/>
                </a:moveTo>
                <a:cubicBezTo>
                  <a:pt x="3603329" y="69343"/>
                  <a:pt x="3556444" y="116228"/>
                  <a:pt x="3556730" y="173692"/>
                </a:cubicBezTo>
                <a:cubicBezTo>
                  <a:pt x="3556730" y="211715"/>
                  <a:pt x="3577599" y="247165"/>
                  <a:pt x="3611048" y="265462"/>
                </a:cubicBezTo>
                <a:lnTo>
                  <a:pt x="3617052" y="268607"/>
                </a:lnTo>
                <a:lnTo>
                  <a:pt x="3617052" y="270894"/>
                </a:lnTo>
                <a:lnTo>
                  <a:pt x="3620482" y="384963"/>
                </a:lnTo>
                <a:cubicBezTo>
                  <a:pt x="3631632" y="389251"/>
                  <a:pt x="3640780" y="395826"/>
                  <a:pt x="3645927" y="403832"/>
                </a:cubicBezTo>
                <a:cubicBezTo>
                  <a:pt x="3652216" y="413552"/>
                  <a:pt x="3653074" y="424702"/>
                  <a:pt x="3648214" y="435851"/>
                </a:cubicBezTo>
                <a:cubicBezTo>
                  <a:pt x="3642782" y="448144"/>
                  <a:pt x="3632776" y="457007"/>
                  <a:pt x="3618195" y="463010"/>
                </a:cubicBezTo>
                <a:lnTo>
                  <a:pt x="3619053" y="507324"/>
                </a:lnTo>
                <a:cubicBezTo>
                  <a:pt x="3648500" y="525906"/>
                  <a:pt x="3681948" y="536198"/>
                  <a:pt x="3682235" y="536198"/>
                </a:cubicBezTo>
                <a:lnTo>
                  <a:pt x="3685379" y="537341"/>
                </a:lnTo>
                <a:cubicBezTo>
                  <a:pt x="3689095" y="535912"/>
                  <a:pt x="3693384" y="534769"/>
                  <a:pt x="3697101" y="533624"/>
                </a:cubicBezTo>
                <a:lnTo>
                  <a:pt x="3705392" y="268892"/>
                </a:lnTo>
                <a:lnTo>
                  <a:pt x="3711395" y="265748"/>
                </a:lnTo>
                <a:cubicBezTo>
                  <a:pt x="3745130" y="247451"/>
                  <a:pt x="3766000" y="212287"/>
                  <a:pt x="3766000" y="173978"/>
                </a:cubicBezTo>
                <a:cubicBezTo>
                  <a:pt x="3766000" y="116228"/>
                  <a:pt x="3718829" y="69343"/>
                  <a:pt x="3661079" y="69343"/>
                </a:cubicBezTo>
                <a:close/>
                <a:moveTo>
                  <a:pt x="3661079" y="45328"/>
                </a:moveTo>
                <a:cubicBezTo>
                  <a:pt x="3731979" y="45328"/>
                  <a:pt x="3789729" y="103078"/>
                  <a:pt x="3789729" y="173978"/>
                </a:cubicBezTo>
                <a:cubicBezTo>
                  <a:pt x="3789729" y="218004"/>
                  <a:pt x="3766571" y="259745"/>
                  <a:pt x="3728834" y="283187"/>
                </a:cubicBezTo>
                <a:lnTo>
                  <a:pt x="3726547" y="387822"/>
                </a:lnTo>
                <a:cubicBezTo>
                  <a:pt x="3727119" y="387536"/>
                  <a:pt x="3727976" y="387536"/>
                  <a:pt x="3728834" y="387250"/>
                </a:cubicBezTo>
                <a:cubicBezTo>
                  <a:pt x="3735123" y="372384"/>
                  <a:pt x="3741985" y="352658"/>
                  <a:pt x="3748846" y="326928"/>
                </a:cubicBezTo>
                <a:cubicBezTo>
                  <a:pt x="3764856" y="268035"/>
                  <a:pt x="3782867" y="200851"/>
                  <a:pt x="3887502" y="149963"/>
                </a:cubicBezTo>
                <a:cubicBezTo>
                  <a:pt x="3912947" y="137670"/>
                  <a:pt x="3939820" y="131381"/>
                  <a:pt x="3967551" y="131381"/>
                </a:cubicBezTo>
                <a:cubicBezTo>
                  <a:pt x="4053318" y="131381"/>
                  <a:pt x="4137368" y="189988"/>
                  <a:pt x="4218847" y="246593"/>
                </a:cubicBezTo>
                <a:cubicBezTo>
                  <a:pt x="4278884" y="288619"/>
                  <a:pt x="4340921" y="331502"/>
                  <a:pt x="4399814" y="348084"/>
                </a:cubicBezTo>
                <a:cubicBezTo>
                  <a:pt x="4424686" y="355231"/>
                  <a:pt x="4447271" y="360948"/>
                  <a:pt x="4465569" y="365523"/>
                </a:cubicBezTo>
                <a:cubicBezTo>
                  <a:pt x="4539899" y="384391"/>
                  <a:pt x="4580495" y="394969"/>
                  <a:pt x="4584212" y="430419"/>
                </a:cubicBezTo>
                <a:cubicBezTo>
                  <a:pt x="4587356" y="459007"/>
                  <a:pt x="4545046" y="499604"/>
                  <a:pt x="4487296" y="525906"/>
                </a:cubicBezTo>
                <a:cubicBezTo>
                  <a:pt x="4468427" y="534197"/>
                  <a:pt x="4429832" y="547919"/>
                  <a:pt x="4379801" y="549918"/>
                </a:cubicBezTo>
                <a:cubicBezTo>
                  <a:pt x="4377801" y="553064"/>
                  <a:pt x="4336061" y="626251"/>
                  <a:pt x="4239145" y="626251"/>
                </a:cubicBezTo>
                <a:cubicBezTo>
                  <a:pt x="4235428" y="626251"/>
                  <a:pt x="4231711" y="626251"/>
                  <a:pt x="4227424" y="625965"/>
                </a:cubicBezTo>
                <a:cubicBezTo>
                  <a:pt x="4213701" y="635400"/>
                  <a:pt x="4156237" y="672851"/>
                  <a:pt x="4071900" y="672851"/>
                </a:cubicBezTo>
                <a:cubicBezTo>
                  <a:pt x="3988135" y="672851"/>
                  <a:pt x="3904369" y="636257"/>
                  <a:pt x="3823749" y="564499"/>
                </a:cubicBezTo>
                <a:cubicBezTo>
                  <a:pt x="3812885" y="576506"/>
                  <a:pt x="3800878" y="586799"/>
                  <a:pt x="3789729" y="593659"/>
                </a:cubicBezTo>
                <a:cubicBezTo>
                  <a:pt x="3815745" y="616531"/>
                  <a:pt x="3828323" y="641689"/>
                  <a:pt x="3827179" y="668848"/>
                </a:cubicBezTo>
                <a:cubicBezTo>
                  <a:pt x="3825179" y="722879"/>
                  <a:pt x="3768572" y="768620"/>
                  <a:pt x="3739126" y="788631"/>
                </a:cubicBezTo>
                <a:cubicBezTo>
                  <a:pt x="3784011" y="817792"/>
                  <a:pt x="3824321" y="852957"/>
                  <a:pt x="3824321" y="908991"/>
                </a:cubicBezTo>
                <a:cubicBezTo>
                  <a:pt x="3824321" y="965024"/>
                  <a:pt x="3787156" y="996758"/>
                  <a:pt x="3757423" y="1016199"/>
                </a:cubicBezTo>
                <a:cubicBezTo>
                  <a:pt x="3773147" y="1034495"/>
                  <a:pt x="3781437" y="1055365"/>
                  <a:pt x="3782010" y="1078237"/>
                </a:cubicBezTo>
                <a:cubicBezTo>
                  <a:pt x="3783153" y="1125979"/>
                  <a:pt x="3748561" y="1169720"/>
                  <a:pt x="3734838" y="1185444"/>
                </a:cubicBezTo>
                <a:cubicBezTo>
                  <a:pt x="3751991" y="1208601"/>
                  <a:pt x="3757995" y="1234331"/>
                  <a:pt x="3751133" y="1257202"/>
                </a:cubicBezTo>
                <a:cubicBezTo>
                  <a:pt x="3743986" y="1280359"/>
                  <a:pt x="3725117" y="1298370"/>
                  <a:pt x="3696243" y="1309520"/>
                </a:cubicBezTo>
                <a:lnTo>
                  <a:pt x="3695385" y="1334678"/>
                </a:lnTo>
                <a:cubicBezTo>
                  <a:pt x="3695385" y="1343255"/>
                  <a:pt x="3691668" y="1351830"/>
                  <a:pt x="3685379" y="1358120"/>
                </a:cubicBezTo>
                <a:cubicBezTo>
                  <a:pt x="3679089" y="1364696"/>
                  <a:pt x="3670513" y="1368127"/>
                  <a:pt x="3661365" y="1368127"/>
                </a:cubicBezTo>
                <a:cubicBezTo>
                  <a:pt x="3642782" y="1368127"/>
                  <a:pt x="3627630" y="1352975"/>
                  <a:pt x="3627630" y="1334391"/>
                </a:cubicBezTo>
                <a:lnTo>
                  <a:pt x="3626772" y="1307804"/>
                </a:lnTo>
                <a:cubicBezTo>
                  <a:pt x="3592466" y="1288650"/>
                  <a:pt x="3579600" y="1255201"/>
                  <a:pt x="3579029" y="1229757"/>
                </a:cubicBezTo>
                <a:cubicBezTo>
                  <a:pt x="3578172" y="1200882"/>
                  <a:pt x="3594752" y="1178583"/>
                  <a:pt x="3606474" y="1166290"/>
                </a:cubicBezTo>
                <a:cubicBezTo>
                  <a:pt x="3574169" y="1139702"/>
                  <a:pt x="3557873" y="1112829"/>
                  <a:pt x="3557873" y="1086813"/>
                </a:cubicBezTo>
                <a:cubicBezTo>
                  <a:pt x="3557873" y="1063084"/>
                  <a:pt x="3571024" y="1040213"/>
                  <a:pt x="3599327" y="1015055"/>
                </a:cubicBezTo>
                <a:cubicBezTo>
                  <a:pt x="3534431" y="934148"/>
                  <a:pt x="3540148" y="875256"/>
                  <a:pt x="3556444" y="840091"/>
                </a:cubicBezTo>
                <a:cubicBezTo>
                  <a:pt x="3561304" y="829228"/>
                  <a:pt x="3569023" y="818078"/>
                  <a:pt x="3577027" y="809502"/>
                </a:cubicBezTo>
                <a:cubicBezTo>
                  <a:pt x="3540434" y="776338"/>
                  <a:pt x="3522423" y="740033"/>
                  <a:pt x="3524138" y="701724"/>
                </a:cubicBezTo>
                <a:cubicBezTo>
                  <a:pt x="3525854" y="664273"/>
                  <a:pt x="3544723" y="628251"/>
                  <a:pt x="3579315" y="597662"/>
                </a:cubicBezTo>
                <a:cubicBezTo>
                  <a:pt x="3563877" y="585940"/>
                  <a:pt x="3549297" y="572790"/>
                  <a:pt x="3536145" y="558496"/>
                </a:cubicBezTo>
                <a:cubicBezTo>
                  <a:pt x="3528427" y="560211"/>
                  <a:pt x="3520708" y="561068"/>
                  <a:pt x="3513560" y="561068"/>
                </a:cubicBezTo>
                <a:cubicBezTo>
                  <a:pt x="3512130" y="561068"/>
                  <a:pt x="3510130" y="561068"/>
                  <a:pt x="3508415" y="560783"/>
                </a:cubicBezTo>
                <a:cubicBezTo>
                  <a:pt x="3426364" y="635113"/>
                  <a:pt x="3341456" y="672851"/>
                  <a:pt x="3255690" y="672851"/>
                </a:cubicBezTo>
                <a:cubicBezTo>
                  <a:pt x="3171638" y="672851"/>
                  <a:pt x="3113889" y="635685"/>
                  <a:pt x="3100453" y="625965"/>
                </a:cubicBezTo>
                <a:cubicBezTo>
                  <a:pt x="3096164" y="625965"/>
                  <a:pt x="3092447" y="626251"/>
                  <a:pt x="3088731" y="626251"/>
                </a:cubicBezTo>
                <a:cubicBezTo>
                  <a:pt x="2991243" y="626251"/>
                  <a:pt x="2949788" y="553064"/>
                  <a:pt x="2948074" y="549918"/>
                </a:cubicBezTo>
                <a:cubicBezTo>
                  <a:pt x="2898043" y="547919"/>
                  <a:pt x="2859448" y="533910"/>
                  <a:pt x="2840579" y="525906"/>
                </a:cubicBezTo>
                <a:cubicBezTo>
                  <a:pt x="2781972" y="500462"/>
                  <a:pt x="2739947" y="459580"/>
                  <a:pt x="2742806" y="430991"/>
                </a:cubicBezTo>
                <a:cubicBezTo>
                  <a:pt x="2746523" y="395255"/>
                  <a:pt x="2787404" y="384963"/>
                  <a:pt x="2861450" y="366094"/>
                </a:cubicBezTo>
                <a:cubicBezTo>
                  <a:pt x="2881461" y="360948"/>
                  <a:pt x="2903189" y="355517"/>
                  <a:pt x="2927489" y="348655"/>
                </a:cubicBezTo>
                <a:cubicBezTo>
                  <a:pt x="2986669" y="332073"/>
                  <a:pt x="3048706" y="288905"/>
                  <a:pt x="3108457" y="247165"/>
                </a:cubicBezTo>
                <a:cubicBezTo>
                  <a:pt x="3189935" y="190273"/>
                  <a:pt x="3273986" y="131667"/>
                  <a:pt x="3359753" y="131667"/>
                </a:cubicBezTo>
                <a:cubicBezTo>
                  <a:pt x="3387198" y="131667"/>
                  <a:pt x="3414072" y="137956"/>
                  <a:pt x="3439515" y="150249"/>
                </a:cubicBezTo>
                <a:cubicBezTo>
                  <a:pt x="3544151" y="201137"/>
                  <a:pt x="3562161" y="268035"/>
                  <a:pt x="3578172" y="327213"/>
                </a:cubicBezTo>
                <a:lnTo>
                  <a:pt x="3579029" y="330358"/>
                </a:lnTo>
                <a:cubicBezTo>
                  <a:pt x="3582746" y="344938"/>
                  <a:pt x="3588177" y="364665"/>
                  <a:pt x="3594181" y="380103"/>
                </a:cubicBezTo>
                <a:cubicBezTo>
                  <a:pt x="3595039" y="380103"/>
                  <a:pt x="3595611" y="380103"/>
                  <a:pt x="3596182" y="380103"/>
                </a:cubicBezTo>
                <a:lnTo>
                  <a:pt x="3593323" y="283187"/>
                </a:lnTo>
                <a:cubicBezTo>
                  <a:pt x="3555586" y="260030"/>
                  <a:pt x="3532429" y="218290"/>
                  <a:pt x="3532429" y="173978"/>
                </a:cubicBezTo>
                <a:cubicBezTo>
                  <a:pt x="3532429" y="103078"/>
                  <a:pt x="3590179" y="45328"/>
                  <a:pt x="3661079" y="45328"/>
                </a:cubicBezTo>
                <a:close/>
                <a:moveTo>
                  <a:pt x="6197089" y="0"/>
                </a:moveTo>
                <a:lnTo>
                  <a:pt x="6332769" y="0"/>
                </a:lnTo>
                <a:lnTo>
                  <a:pt x="6331095" y="9088"/>
                </a:lnTo>
                <a:cubicBezTo>
                  <a:pt x="6328344" y="13305"/>
                  <a:pt x="6323984" y="16450"/>
                  <a:pt x="6318695" y="17593"/>
                </a:cubicBezTo>
                <a:lnTo>
                  <a:pt x="6238932" y="34460"/>
                </a:lnTo>
                <a:lnTo>
                  <a:pt x="6250367" y="87635"/>
                </a:lnTo>
                <a:lnTo>
                  <a:pt x="6330131" y="70768"/>
                </a:lnTo>
                <a:cubicBezTo>
                  <a:pt x="6340709" y="68481"/>
                  <a:pt x="6351001" y="75342"/>
                  <a:pt x="6353288" y="85920"/>
                </a:cubicBezTo>
                <a:cubicBezTo>
                  <a:pt x="6355575" y="96784"/>
                  <a:pt x="6348713" y="107076"/>
                  <a:pt x="6338136" y="109363"/>
                </a:cubicBezTo>
                <a:lnTo>
                  <a:pt x="6258373" y="126230"/>
                </a:lnTo>
                <a:lnTo>
                  <a:pt x="6269809" y="179406"/>
                </a:lnTo>
                <a:lnTo>
                  <a:pt x="6349571" y="162252"/>
                </a:lnTo>
                <a:cubicBezTo>
                  <a:pt x="6360435" y="159965"/>
                  <a:pt x="6370727" y="166827"/>
                  <a:pt x="6373015" y="177404"/>
                </a:cubicBezTo>
                <a:cubicBezTo>
                  <a:pt x="6375301" y="188268"/>
                  <a:pt x="6368439" y="198560"/>
                  <a:pt x="6357862" y="200847"/>
                </a:cubicBezTo>
                <a:lnTo>
                  <a:pt x="6279529" y="217429"/>
                </a:lnTo>
                <a:cubicBezTo>
                  <a:pt x="6285246" y="231151"/>
                  <a:pt x="6294681" y="242873"/>
                  <a:pt x="6307545" y="251163"/>
                </a:cubicBezTo>
                <a:cubicBezTo>
                  <a:pt x="6324127" y="262027"/>
                  <a:pt x="6344139" y="265744"/>
                  <a:pt x="6363579" y="261456"/>
                </a:cubicBezTo>
                <a:lnTo>
                  <a:pt x="6408178" y="252021"/>
                </a:lnTo>
                <a:lnTo>
                  <a:pt x="6459352" y="492453"/>
                </a:lnTo>
                <a:lnTo>
                  <a:pt x="6342139" y="517325"/>
                </a:lnTo>
                <a:cubicBezTo>
                  <a:pt x="6337279" y="518468"/>
                  <a:pt x="6332990" y="520469"/>
                  <a:pt x="6329273" y="523615"/>
                </a:cubicBezTo>
                <a:cubicBezTo>
                  <a:pt x="6320697" y="530762"/>
                  <a:pt x="6316694" y="541911"/>
                  <a:pt x="6318981" y="553061"/>
                </a:cubicBezTo>
                <a:cubicBezTo>
                  <a:pt x="6322411" y="569357"/>
                  <a:pt x="6338421" y="579649"/>
                  <a:pt x="6354717" y="576217"/>
                </a:cubicBezTo>
                <a:lnTo>
                  <a:pt x="6640891" y="515324"/>
                </a:lnTo>
                <a:cubicBezTo>
                  <a:pt x="6656615" y="511893"/>
                  <a:pt x="6667479" y="495312"/>
                  <a:pt x="6664049" y="479588"/>
                </a:cubicBezTo>
                <a:cubicBezTo>
                  <a:pt x="6660618" y="463292"/>
                  <a:pt x="6644609" y="453000"/>
                  <a:pt x="6628311" y="456431"/>
                </a:cubicBezTo>
                <a:lnTo>
                  <a:pt x="6511098" y="481303"/>
                </a:lnTo>
                <a:lnTo>
                  <a:pt x="6459924" y="240871"/>
                </a:lnTo>
                <a:lnTo>
                  <a:pt x="6504809" y="231437"/>
                </a:lnTo>
                <a:cubicBezTo>
                  <a:pt x="6516529" y="228864"/>
                  <a:pt x="6527394" y="223718"/>
                  <a:pt x="6536828" y="215999"/>
                </a:cubicBezTo>
                <a:cubicBezTo>
                  <a:pt x="6558269" y="198274"/>
                  <a:pt x="6567703" y="170257"/>
                  <a:pt x="6561986" y="143098"/>
                </a:cubicBezTo>
                <a:lnTo>
                  <a:pt x="6531607" y="0"/>
                </a:lnTo>
                <a:lnTo>
                  <a:pt x="6565038" y="0"/>
                </a:lnTo>
                <a:lnTo>
                  <a:pt x="6594005" y="135950"/>
                </a:lnTo>
                <a:cubicBezTo>
                  <a:pt x="6602296" y="175403"/>
                  <a:pt x="6588288" y="215713"/>
                  <a:pt x="6557413" y="241443"/>
                </a:cubicBezTo>
                <a:cubicBezTo>
                  <a:pt x="6544261" y="252593"/>
                  <a:pt x="6527965" y="260312"/>
                  <a:pt x="6511098" y="264029"/>
                </a:cubicBezTo>
                <a:lnTo>
                  <a:pt x="6498805" y="266602"/>
                </a:lnTo>
                <a:lnTo>
                  <a:pt x="6536255" y="441851"/>
                </a:lnTo>
                <a:lnTo>
                  <a:pt x="6620879" y="423840"/>
                </a:lnTo>
                <a:cubicBezTo>
                  <a:pt x="6655185" y="416693"/>
                  <a:pt x="6688921" y="438706"/>
                  <a:pt x="6696067" y="472727"/>
                </a:cubicBezTo>
                <a:cubicBezTo>
                  <a:pt x="6701213" y="495883"/>
                  <a:pt x="6692923" y="519612"/>
                  <a:pt x="6674627" y="534764"/>
                </a:cubicBezTo>
                <a:cubicBezTo>
                  <a:pt x="6666907" y="541054"/>
                  <a:pt x="6657187" y="545628"/>
                  <a:pt x="6647181" y="547915"/>
                </a:cubicBezTo>
                <a:lnTo>
                  <a:pt x="6361293" y="608809"/>
                </a:lnTo>
                <a:cubicBezTo>
                  <a:pt x="6326987" y="615957"/>
                  <a:pt x="6293251" y="594229"/>
                  <a:pt x="6285819" y="559923"/>
                </a:cubicBezTo>
                <a:cubicBezTo>
                  <a:pt x="6280959" y="536765"/>
                  <a:pt x="6288963" y="513036"/>
                  <a:pt x="6307260" y="497885"/>
                </a:cubicBezTo>
                <a:cubicBezTo>
                  <a:pt x="6315265" y="491596"/>
                  <a:pt x="6324699" y="486735"/>
                  <a:pt x="6334705" y="484734"/>
                </a:cubicBezTo>
                <a:lnTo>
                  <a:pt x="6419327" y="466723"/>
                </a:lnTo>
                <a:lnTo>
                  <a:pt x="6382162" y="291473"/>
                </a:lnTo>
                <a:lnTo>
                  <a:pt x="6369869" y="294047"/>
                </a:lnTo>
                <a:cubicBezTo>
                  <a:pt x="6341853" y="300050"/>
                  <a:pt x="6312977" y="294904"/>
                  <a:pt x="6288677" y="279180"/>
                </a:cubicBezTo>
                <a:cubicBezTo>
                  <a:pt x="6264663" y="263457"/>
                  <a:pt x="6248081" y="239442"/>
                  <a:pt x="6242077" y="211139"/>
                </a:cubicBezTo>
                <a:close/>
                <a:moveTo>
                  <a:pt x="5787741" y="0"/>
                </a:moveTo>
                <a:lnTo>
                  <a:pt x="6077624" y="0"/>
                </a:lnTo>
                <a:lnTo>
                  <a:pt x="6077762" y="5019"/>
                </a:lnTo>
                <a:cubicBezTo>
                  <a:pt x="6073903" y="51547"/>
                  <a:pt x="6059966" y="96503"/>
                  <a:pt x="6037381" y="136813"/>
                </a:cubicBezTo>
                <a:cubicBezTo>
                  <a:pt x="6052319" y="115585"/>
                  <a:pt x="6064647" y="92678"/>
                  <a:pt x="6074122" y="68628"/>
                </a:cubicBezTo>
                <a:lnTo>
                  <a:pt x="6092059" y="0"/>
                </a:lnTo>
                <a:lnTo>
                  <a:pt x="6128224" y="0"/>
                </a:lnTo>
                <a:lnTo>
                  <a:pt x="6122292" y="49570"/>
                </a:lnTo>
                <a:cubicBezTo>
                  <a:pt x="6097583" y="163892"/>
                  <a:pt x="6020192" y="264533"/>
                  <a:pt x="5906731" y="314920"/>
                </a:cubicBezTo>
                <a:close/>
                <a:moveTo>
                  <a:pt x="5378813" y="0"/>
                </a:moveTo>
                <a:lnTo>
                  <a:pt x="5741418" y="0"/>
                </a:lnTo>
                <a:lnTo>
                  <a:pt x="5866133" y="330073"/>
                </a:lnTo>
                <a:cubicBezTo>
                  <a:pt x="5676876" y="389824"/>
                  <a:pt x="5471609" y="291764"/>
                  <a:pt x="5400422" y="103650"/>
                </a:cubicBezTo>
                <a:cubicBezTo>
                  <a:pt x="5391524" y="80136"/>
                  <a:pt x="5385132" y="56291"/>
                  <a:pt x="5381113" y="32408"/>
                </a:cubicBezTo>
                <a:close/>
                <a:moveTo>
                  <a:pt x="4725276" y="0"/>
                </a:moveTo>
                <a:lnTo>
                  <a:pt x="5016659" y="0"/>
                </a:lnTo>
                <a:lnTo>
                  <a:pt x="5016760" y="14165"/>
                </a:lnTo>
                <a:lnTo>
                  <a:pt x="4907265" y="14165"/>
                </a:lnTo>
                <a:lnTo>
                  <a:pt x="4907551" y="119086"/>
                </a:lnTo>
                <a:lnTo>
                  <a:pt x="4832363" y="119372"/>
                </a:lnTo>
                <a:lnTo>
                  <a:pt x="4832076" y="14737"/>
                </a:lnTo>
                <a:lnTo>
                  <a:pt x="4725440" y="15308"/>
                </a:lnTo>
                <a:close/>
                <a:moveTo>
                  <a:pt x="4446699" y="0"/>
                </a:moveTo>
                <a:lnTo>
                  <a:pt x="4691419" y="0"/>
                </a:lnTo>
                <a:lnTo>
                  <a:pt x="4691419" y="36179"/>
                </a:lnTo>
                <a:lnTo>
                  <a:pt x="4807204" y="36179"/>
                </a:lnTo>
                <a:lnTo>
                  <a:pt x="4807204" y="151963"/>
                </a:lnTo>
                <a:lnTo>
                  <a:pt x="4934424" y="151963"/>
                </a:lnTo>
                <a:lnTo>
                  <a:pt x="4934424" y="36179"/>
                </a:lnTo>
                <a:lnTo>
                  <a:pt x="5050209" y="36179"/>
                </a:lnTo>
                <a:lnTo>
                  <a:pt x="5050209" y="0"/>
                </a:lnTo>
                <a:lnTo>
                  <a:pt x="5294644" y="0"/>
                </a:lnTo>
                <a:lnTo>
                  <a:pt x="5294644" y="200278"/>
                </a:lnTo>
                <a:cubicBezTo>
                  <a:pt x="5294644" y="271178"/>
                  <a:pt x="5236894" y="328927"/>
                  <a:pt x="5165994" y="328927"/>
                </a:cubicBezTo>
                <a:lnTo>
                  <a:pt x="4575634" y="328927"/>
                </a:lnTo>
                <a:cubicBezTo>
                  <a:pt x="4504449" y="328927"/>
                  <a:pt x="4446699" y="271178"/>
                  <a:pt x="4446699" y="200278"/>
                </a:cubicBezTo>
                <a:close/>
                <a:moveTo>
                  <a:pt x="2776541" y="0"/>
                </a:moveTo>
                <a:lnTo>
                  <a:pt x="2817819" y="0"/>
                </a:lnTo>
                <a:lnTo>
                  <a:pt x="2817994" y="35320"/>
                </a:lnTo>
                <a:lnTo>
                  <a:pt x="2776541" y="35320"/>
                </a:lnTo>
                <a:close/>
                <a:moveTo>
                  <a:pt x="2530966" y="0"/>
                </a:moveTo>
                <a:lnTo>
                  <a:pt x="2762818" y="0"/>
                </a:lnTo>
                <a:lnTo>
                  <a:pt x="2762818" y="54472"/>
                </a:lnTo>
                <a:lnTo>
                  <a:pt x="2832861" y="54472"/>
                </a:lnTo>
                <a:lnTo>
                  <a:pt x="2832861" y="0"/>
                </a:lnTo>
                <a:lnTo>
                  <a:pt x="3065007" y="0"/>
                </a:lnTo>
                <a:lnTo>
                  <a:pt x="3065099" y="46092"/>
                </a:lnTo>
                <a:cubicBezTo>
                  <a:pt x="3065154" y="72224"/>
                  <a:pt x="3065217" y="100179"/>
                  <a:pt x="3065288" y="129947"/>
                </a:cubicBezTo>
                <a:cubicBezTo>
                  <a:pt x="3065288" y="173402"/>
                  <a:pt x="3029837" y="208852"/>
                  <a:pt x="2986383" y="208852"/>
                </a:cubicBezTo>
                <a:lnTo>
                  <a:pt x="2609868" y="208852"/>
                </a:lnTo>
                <a:cubicBezTo>
                  <a:pt x="2566413" y="208852"/>
                  <a:pt x="2530963" y="173402"/>
                  <a:pt x="2530963" y="129947"/>
                </a:cubicBezTo>
                <a:cubicBezTo>
                  <a:pt x="2530963" y="100322"/>
                  <a:pt x="2530963" y="72510"/>
                  <a:pt x="2530963" y="46519"/>
                </a:cubicBezTo>
                <a:close/>
                <a:moveTo>
                  <a:pt x="1520919" y="0"/>
                </a:moveTo>
                <a:lnTo>
                  <a:pt x="1539216" y="0"/>
                </a:lnTo>
                <a:lnTo>
                  <a:pt x="1539216" y="45326"/>
                </a:lnTo>
                <a:cubicBezTo>
                  <a:pt x="1539216" y="102504"/>
                  <a:pt x="1585816" y="149104"/>
                  <a:pt x="1642994" y="149104"/>
                </a:cubicBezTo>
                <a:lnTo>
                  <a:pt x="1728760" y="149104"/>
                </a:lnTo>
                <a:lnTo>
                  <a:pt x="1728760" y="101074"/>
                </a:lnTo>
                <a:cubicBezTo>
                  <a:pt x="1728760" y="69913"/>
                  <a:pt x="1716110" y="41681"/>
                  <a:pt x="1695669" y="21240"/>
                </a:cubicBezTo>
                <a:lnTo>
                  <a:pt x="1664177" y="0"/>
                </a:lnTo>
                <a:lnTo>
                  <a:pt x="2173527" y="0"/>
                </a:lnTo>
                <a:lnTo>
                  <a:pt x="2154466" y="28262"/>
                </a:lnTo>
                <a:cubicBezTo>
                  <a:pt x="2148748" y="41770"/>
                  <a:pt x="2145585" y="56618"/>
                  <a:pt x="2145585" y="72199"/>
                </a:cubicBezTo>
                <a:lnTo>
                  <a:pt x="2145585" y="149104"/>
                </a:lnTo>
                <a:lnTo>
                  <a:pt x="2202762" y="149104"/>
                </a:lnTo>
                <a:cubicBezTo>
                  <a:pt x="2259940" y="149104"/>
                  <a:pt x="2306540" y="102504"/>
                  <a:pt x="2306540" y="45326"/>
                </a:cubicBezTo>
                <a:lnTo>
                  <a:pt x="2306540" y="0"/>
                </a:lnTo>
                <a:lnTo>
                  <a:pt x="2324837" y="0"/>
                </a:lnTo>
                <a:lnTo>
                  <a:pt x="2324837" y="45040"/>
                </a:lnTo>
                <a:cubicBezTo>
                  <a:pt x="2324837" y="112510"/>
                  <a:pt x="2270232" y="167115"/>
                  <a:pt x="2202762" y="167115"/>
                </a:cubicBezTo>
                <a:lnTo>
                  <a:pt x="1642994" y="167115"/>
                </a:lnTo>
                <a:cubicBezTo>
                  <a:pt x="1575810" y="167115"/>
                  <a:pt x="1520919" y="112510"/>
                  <a:pt x="1520919" y="45040"/>
                </a:cubicBezTo>
                <a:close/>
                <a:moveTo>
                  <a:pt x="861944" y="0"/>
                </a:moveTo>
                <a:lnTo>
                  <a:pt x="890388" y="0"/>
                </a:lnTo>
                <a:lnTo>
                  <a:pt x="911942" y="47933"/>
                </a:lnTo>
                <a:cubicBezTo>
                  <a:pt x="939566" y="86564"/>
                  <a:pt x="982449" y="107076"/>
                  <a:pt x="1056923" y="107076"/>
                </a:cubicBezTo>
                <a:cubicBezTo>
                  <a:pt x="1157555" y="107076"/>
                  <a:pt x="1227312" y="80488"/>
                  <a:pt x="1253614" y="32745"/>
                </a:cubicBezTo>
                <a:lnTo>
                  <a:pt x="1263392" y="0"/>
                </a:lnTo>
                <a:lnTo>
                  <a:pt x="1291319" y="0"/>
                </a:lnTo>
                <a:lnTo>
                  <a:pt x="1277057" y="45610"/>
                </a:lnTo>
                <a:cubicBezTo>
                  <a:pt x="1246181" y="102501"/>
                  <a:pt x="1168134" y="133663"/>
                  <a:pt x="1057495" y="133663"/>
                </a:cubicBezTo>
                <a:cubicBezTo>
                  <a:pt x="974444" y="133663"/>
                  <a:pt x="925486" y="110220"/>
                  <a:pt x="893717" y="67409"/>
                </a:cubicBezTo>
                <a:close/>
                <a:moveTo>
                  <a:pt x="793141" y="0"/>
                </a:moveTo>
                <a:lnTo>
                  <a:pt x="821672" y="0"/>
                </a:lnTo>
                <a:lnTo>
                  <a:pt x="857337" y="81238"/>
                </a:lnTo>
                <a:cubicBezTo>
                  <a:pt x="893395" y="134807"/>
                  <a:pt x="952574" y="171972"/>
                  <a:pt x="1057209" y="171972"/>
                </a:cubicBezTo>
                <a:cubicBezTo>
                  <a:pt x="1182143" y="171972"/>
                  <a:pt x="1271625" y="133949"/>
                  <a:pt x="1309648" y="64479"/>
                </a:cubicBezTo>
                <a:cubicBezTo>
                  <a:pt x="1316224" y="52400"/>
                  <a:pt x="1322013" y="37909"/>
                  <a:pt x="1325672" y="20778"/>
                </a:cubicBezTo>
                <a:lnTo>
                  <a:pt x="1326802" y="0"/>
                </a:lnTo>
                <a:lnTo>
                  <a:pt x="1352910" y="0"/>
                </a:lnTo>
                <a:lnTo>
                  <a:pt x="1350982" y="28604"/>
                </a:lnTo>
                <a:cubicBezTo>
                  <a:pt x="1346671" y="47700"/>
                  <a:pt x="1340024" y="63978"/>
                  <a:pt x="1332519" y="77629"/>
                </a:cubicBezTo>
                <a:cubicBezTo>
                  <a:pt x="1289636" y="155677"/>
                  <a:pt x="1191863" y="198846"/>
                  <a:pt x="1056923" y="198846"/>
                </a:cubicBezTo>
                <a:cubicBezTo>
                  <a:pt x="941424" y="198846"/>
                  <a:pt x="875599" y="155248"/>
                  <a:pt x="835682" y="95747"/>
                </a:cubicBezTo>
                <a:close/>
                <a:moveTo>
                  <a:pt x="160901" y="0"/>
                </a:moveTo>
                <a:lnTo>
                  <a:pt x="240126" y="0"/>
                </a:lnTo>
                <a:lnTo>
                  <a:pt x="244145" y="1302"/>
                </a:lnTo>
                <a:lnTo>
                  <a:pt x="174103" y="218863"/>
                </a:lnTo>
                <a:lnTo>
                  <a:pt x="68037" y="184556"/>
                </a:lnTo>
                <a:cubicBezTo>
                  <a:pt x="63463" y="183127"/>
                  <a:pt x="59175" y="182841"/>
                  <a:pt x="54601" y="183699"/>
                </a:cubicBezTo>
                <a:cubicBezTo>
                  <a:pt x="44309" y="185700"/>
                  <a:pt x="36017" y="192847"/>
                  <a:pt x="32588" y="202853"/>
                </a:cubicBezTo>
                <a:cubicBezTo>
                  <a:pt x="27727" y="217434"/>
                  <a:pt x="35732" y="233157"/>
                  <a:pt x="50598" y="238018"/>
                </a:cubicBezTo>
                <a:lnTo>
                  <a:pt x="309326" y="321497"/>
                </a:lnTo>
                <a:cubicBezTo>
                  <a:pt x="323621" y="326071"/>
                  <a:pt x="339918" y="317780"/>
                  <a:pt x="344491" y="303486"/>
                </a:cubicBezTo>
                <a:cubicBezTo>
                  <a:pt x="349065" y="288905"/>
                  <a:pt x="341061" y="273182"/>
                  <a:pt x="326480" y="268322"/>
                </a:cubicBezTo>
                <a:lnTo>
                  <a:pt x="220416" y="234301"/>
                </a:lnTo>
                <a:lnTo>
                  <a:pt x="290459" y="16740"/>
                </a:lnTo>
                <a:lnTo>
                  <a:pt x="331054" y="29891"/>
                </a:lnTo>
                <a:cubicBezTo>
                  <a:pt x="341918" y="33322"/>
                  <a:pt x="353354" y="34179"/>
                  <a:pt x="364217" y="32178"/>
                </a:cubicBezTo>
                <a:cubicBezTo>
                  <a:pt x="377082" y="30034"/>
                  <a:pt x="388661" y="24459"/>
                  <a:pt x="398024" y="16347"/>
                </a:cubicBezTo>
                <a:lnTo>
                  <a:pt x="408821" y="0"/>
                </a:lnTo>
                <a:lnTo>
                  <a:pt x="444418" y="0"/>
                </a:lnTo>
                <a:lnTo>
                  <a:pt x="418072" y="40076"/>
                </a:lnTo>
                <a:cubicBezTo>
                  <a:pt x="404527" y="51833"/>
                  <a:pt x="387803" y="59910"/>
                  <a:pt x="369363" y="63054"/>
                </a:cubicBezTo>
                <a:cubicBezTo>
                  <a:pt x="353641" y="65913"/>
                  <a:pt x="337058" y="64483"/>
                  <a:pt x="321620" y="59623"/>
                </a:cubicBezTo>
                <a:lnTo>
                  <a:pt x="310470" y="55906"/>
                </a:lnTo>
                <a:lnTo>
                  <a:pt x="259297" y="214575"/>
                </a:lnTo>
                <a:lnTo>
                  <a:pt x="335914" y="239161"/>
                </a:lnTo>
                <a:cubicBezTo>
                  <a:pt x="366791" y="249167"/>
                  <a:pt x="383943" y="282616"/>
                  <a:pt x="373937" y="313491"/>
                </a:cubicBezTo>
                <a:cubicBezTo>
                  <a:pt x="367362" y="334362"/>
                  <a:pt x="349637" y="349800"/>
                  <a:pt x="327910" y="353516"/>
                </a:cubicBezTo>
                <a:cubicBezTo>
                  <a:pt x="318476" y="355232"/>
                  <a:pt x="308755" y="354374"/>
                  <a:pt x="299606" y="351515"/>
                </a:cubicBezTo>
                <a:lnTo>
                  <a:pt x="40878" y="268036"/>
                </a:lnTo>
                <a:cubicBezTo>
                  <a:pt x="10002" y="258030"/>
                  <a:pt x="-7151" y="224866"/>
                  <a:pt x="2855" y="193705"/>
                </a:cubicBezTo>
                <a:cubicBezTo>
                  <a:pt x="9716" y="172835"/>
                  <a:pt x="27442" y="157397"/>
                  <a:pt x="49168" y="153681"/>
                </a:cubicBezTo>
                <a:cubicBezTo>
                  <a:pt x="58603" y="151965"/>
                  <a:pt x="68324" y="152823"/>
                  <a:pt x="77472" y="155682"/>
                </a:cubicBezTo>
                <a:lnTo>
                  <a:pt x="154090" y="180554"/>
                </a:lnTo>
                <a:lnTo>
                  <a:pt x="205263" y="21886"/>
                </a:lnTo>
                <a:lnTo>
                  <a:pt x="194114" y="18456"/>
                </a:lnTo>
                <a:close/>
              </a:path>
            </a:pathLst>
          </a:custGeom>
          <a:gradFill>
            <a:gsLst>
              <a:gs pos="0">
                <a:schemeClr val="accent1">
                  <a:lumMod val="40000"/>
                  <a:lumOff val="60000"/>
                </a:schemeClr>
              </a:gs>
              <a:gs pos="88000">
                <a:schemeClr val="accent1"/>
              </a:gs>
            </a:gsLst>
            <a:lin ang="5400000" scaled="1"/>
          </a:gradFill>
          <a:ln w="31750" cap="flat">
            <a:noFill/>
            <a:prstDash val="solid"/>
            <a:miter/>
          </a:ln>
        </p:spPr>
        <p:txBody>
          <a:bodyPr rtlCol="0" anchor="ctr"/>
          <a:lstStyle/>
          <a:p>
            <a:endParaRPr lang="zh-CN" altLang="en-US"/>
          </a:p>
        </p:txBody>
      </p:sp>
      <p:sp>
        <p:nvSpPr>
          <p:cNvPr id="9802" name="标题 9801"/>
          <p:cNvSpPr>
            <a:spLocks noGrp="1"/>
          </p:cNvSpPr>
          <p:nvPr userDrawn="1">
            <p:ph type="ctrTitle" hasCustomPrompt="1"/>
          </p:nvPr>
        </p:nvSpPr>
        <p:spPr>
          <a:xfrm>
            <a:off x="669924" y="2193041"/>
            <a:ext cx="10850563" cy="1660343"/>
          </a:xfrm>
        </p:spPr>
        <p:txBody>
          <a:bodyPr anchor="b">
            <a:normAutofit/>
          </a:bodyPr>
          <a:lstStyle>
            <a:lvl1pPr algn="ctr">
              <a:defRPr sz="4000">
                <a:solidFill>
                  <a:schemeClr val="bg1"/>
                </a:solidFill>
              </a:defRPr>
            </a:lvl1pPr>
          </a:lstStyle>
          <a:p>
            <a:r>
              <a:rPr lang="en-US" dirty="0"/>
              <a:t>Click to edit Master title style</a:t>
            </a:r>
            <a:endParaRPr lang="zh-CN" altLang="en-US" dirty="0"/>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0" name="标题 19"/>
          <p:cNvSpPr>
            <a:spLocks noGrp="1"/>
          </p:cNvSpPr>
          <p:nvPr userDrawn="1">
            <p:ph type="title"/>
          </p:nvPr>
        </p:nvSpPr>
        <p:spPr>
          <a:xfrm>
            <a:off x="5489847" y="3111689"/>
            <a:ext cx="5419185" cy="895350"/>
          </a:xfrm>
        </p:spPr>
        <p:txBody>
          <a:bodyPr anchor="b">
            <a:normAutofit/>
          </a:bodyPr>
          <a:lstStyle>
            <a:lvl1pPr algn="l">
              <a:defRPr sz="2400" b="1">
                <a:solidFill>
                  <a:schemeClr val="accent1"/>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5489847" y="4007039"/>
            <a:ext cx="5419185" cy="1015623"/>
          </a:xfrm>
        </p:spPr>
        <p:txBody>
          <a:bodyPr anchor="t">
            <a:normAutofit/>
          </a:bodyPr>
          <a:lstStyle>
            <a:lvl1pPr marL="0" indent="0" algn="l">
              <a:lnSpc>
                <a:spcPct val="150000"/>
              </a:lnSpc>
              <a:spcBef>
                <a:spcPts val="0"/>
              </a:spcBef>
              <a:buNone/>
              <a:defRPr sz="1100">
                <a:solidFill>
                  <a:schemeClr val="accent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pic>
        <p:nvPicPr>
          <p:cNvPr id="2" name="图形 1">
            <a:extLst>
              <a:ext uri="{FF2B5EF4-FFF2-40B4-BE49-F238E27FC236}">
                <a16:creationId xmlns:a16="http://schemas.microsoft.com/office/drawing/2014/main" id="{B387EED0-8D82-4296-9D26-1FA383E7755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840652" y="2209800"/>
            <a:ext cx="2838830" cy="2850962"/>
          </a:xfrm>
          <a:prstGeom prst="rect">
            <a:avLst/>
          </a:prstGeom>
        </p:spPr>
      </p:pic>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en-GB" altLang="zh-CN" dirty="0"/>
              <a:t>https://iSlide-PowerPoint.com </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日期占位符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en-GB" altLang="zh-CN" dirty="0"/>
              <a:t>https://iSlide-PowerPoint.com </a:t>
            </a:r>
            <a:endParaRPr lang="zh-CN" altLang="en-US" dirty="0"/>
          </a:p>
        </p:txBody>
      </p:sp>
      <p:sp>
        <p:nvSpPr>
          <p:cNvPr id="5" name="灯片编号占位符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bg>
      <p:bgPr>
        <a:solidFill>
          <a:schemeClr val="accent1"/>
        </a:solidFill>
        <a:effectLst/>
      </p:bgPr>
    </p:bg>
    <p:spTree>
      <p:nvGrpSpPr>
        <p:cNvPr id="1" name=""/>
        <p:cNvGrpSpPr/>
        <p:nvPr/>
      </p:nvGrpSpPr>
      <p:grpSpPr>
        <a:xfrm>
          <a:off x="0" y="0"/>
          <a:ext cx="0" cy="0"/>
          <a:chOff x="0" y="0"/>
          <a:chExt cx="0" cy="0"/>
        </a:xfrm>
      </p:grpSpPr>
      <p:sp>
        <p:nvSpPr>
          <p:cNvPr id="5" name="任意多边形: 形状 4">
            <a:extLst>
              <a:ext uri="{FF2B5EF4-FFF2-40B4-BE49-F238E27FC236}">
                <a16:creationId xmlns:a16="http://schemas.microsoft.com/office/drawing/2014/main" id="{3396325D-A6EE-44C4-AC51-934B5F939C24}"/>
              </a:ext>
            </a:extLst>
          </p:cNvPr>
          <p:cNvSpPr/>
          <p:nvPr userDrawn="1"/>
        </p:nvSpPr>
        <p:spPr>
          <a:xfrm>
            <a:off x="2933700" y="0"/>
            <a:ext cx="6324600" cy="3847034"/>
          </a:xfrm>
          <a:custGeom>
            <a:avLst/>
            <a:gdLst>
              <a:gd name="connsiteX0" fmla="*/ 2762246 w 6697570"/>
              <a:gd name="connsiteY0" fmla="*/ 3624639 h 4073898"/>
              <a:gd name="connsiteX1" fmla="*/ 2761960 w 6697570"/>
              <a:gd name="connsiteY1" fmla="*/ 3756148 h 4073898"/>
              <a:gd name="connsiteX2" fmla="*/ 2599576 w 6697570"/>
              <a:gd name="connsiteY2" fmla="*/ 3918246 h 4073898"/>
              <a:gd name="connsiteX3" fmla="*/ 2498943 w 6697570"/>
              <a:gd name="connsiteY3" fmla="*/ 3882511 h 4073898"/>
              <a:gd name="connsiteX4" fmla="*/ 2624734 w 6697570"/>
              <a:gd name="connsiteY4" fmla="*/ 3943691 h 4073898"/>
              <a:gd name="connsiteX5" fmla="*/ 2786832 w 6697570"/>
              <a:gd name="connsiteY5" fmla="*/ 3781592 h 4073898"/>
              <a:gd name="connsiteX6" fmla="*/ 2787691 w 6697570"/>
              <a:gd name="connsiteY6" fmla="*/ 3624639 h 4073898"/>
              <a:gd name="connsiteX7" fmla="*/ 4280026 w 6697570"/>
              <a:gd name="connsiteY7" fmla="*/ 3582328 h 4073898"/>
              <a:gd name="connsiteX8" fmla="*/ 4492156 w 6697570"/>
              <a:gd name="connsiteY8" fmla="*/ 3582328 h 4073898"/>
              <a:gd name="connsiteX9" fmla="*/ 4236571 w 6697570"/>
              <a:gd name="connsiteY9" fmla="*/ 3844773 h 4073898"/>
              <a:gd name="connsiteX10" fmla="*/ 1861985 w 6697570"/>
              <a:gd name="connsiteY10" fmla="*/ 3554883 h 4073898"/>
              <a:gd name="connsiteX11" fmla="*/ 1861985 w 6697570"/>
              <a:gd name="connsiteY11" fmla="*/ 3597195 h 4073898"/>
              <a:gd name="connsiteX12" fmla="*/ 1922022 w 6697570"/>
              <a:gd name="connsiteY12" fmla="*/ 3657231 h 4073898"/>
              <a:gd name="connsiteX13" fmla="*/ 2298250 w 6697570"/>
              <a:gd name="connsiteY13" fmla="*/ 3657231 h 4073898"/>
              <a:gd name="connsiteX14" fmla="*/ 2358573 w 6697570"/>
              <a:gd name="connsiteY14" fmla="*/ 3597195 h 4073898"/>
              <a:gd name="connsiteX15" fmla="*/ 2358573 w 6697570"/>
              <a:gd name="connsiteY15" fmla="*/ 3554883 h 4073898"/>
              <a:gd name="connsiteX16" fmla="*/ 3209809 w 6697570"/>
              <a:gd name="connsiteY16" fmla="*/ 3549250 h 4073898"/>
              <a:gd name="connsiteX17" fmla="*/ 3120464 w 6697570"/>
              <a:gd name="connsiteY17" fmla="*/ 3559457 h 4073898"/>
              <a:gd name="connsiteX18" fmla="*/ 3126468 w 6697570"/>
              <a:gd name="connsiteY18" fmla="*/ 3574895 h 4073898"/>
              <a:gd name="connsiteX19" fmla="*/ 3399491 w 6697570"/>
              <a:gd name="connsiteY19" fmla="*/ 3721842 h 4073898"/>
              <a:gd name="connsiteX20" fmla="*/ 3384911 w 6697570"/>
              <a:gd name="connsiteY20" fmla="*/ 3920533 h 4073898"/>
              <a:gd name="connsiteX21" fmla="*/ 3412070 w 6697570"/>
              <a:gd name="connsiteY21" fmla="*/ 3701258 h 4073898"/>
              <a:gd name="connsiteX22" fmla="*/ 3209809 w 6697570"/>
              <a:gd name="connsiteY22" fmla="*/ 3549250 h 4073898"/>
              <a:gd name="connsiteX23" fmla="*/ 3066717 w 6697570"/>
              <a:gd name="connsiteY23" fmla="*/ 3548879 h 4073898"/>
              <a:gd name="connsiteX24" fmla="*/ 3260263 w 6697570"/>
              <a:gd name="connsiteY24" fmla="*/ 4061190 h 4073898"/>
              <a:gd name="connsiteX25" fmla="*/ 2921486 w 6697570"/>
              <a:gd name="connsiteY25" fmla="*/ 3896519 h 4073898"/>
              <a:gd name="connsiteX26" fmla="*/ 3066717 w 6697570"/>
              <a:gd name="connsiteY26" fmla="*/ 3548879 h 4073898"/>
              <a:gd name="connsiteX27" fmla="*/ 3199955 w 6697570"/>
              <a:gd name="connsiteY27" fmla="*/ 3525910 h 4073898"/>
              <a:gd name="connsiteX28" fmla="*/ 3434942 w 6697570"/>
              <a:gd name="connsiteY28" fmla="*/ 3702401 h 4073898"/>
              <a:gd name="connsiteX29" fmla="*/ 3289996 w 6697570"/>
              <a:gd name="connsiteY29" fmla="*/ 4050327 h 4073898"/>
              <a:gd name="connsiteX30" fmla="*/ 3096164 w 6697570"/>
              <a:gd name="connsiteY30" fmla="*/ 3537730 h 4073898"/>
              <a:gd name="connsiteX31" fmla="*/ 3199955 w 6697570"/>
              <a:gd name="connsiteY31" fmla="*/ 3525910 h 4073898"/>
              <a:gd name="connsiteX32" fmla="*/ 3879497 w 6697570"/>
              <a:gd name="connsiteY32" fmla="*/ 3404220 h 4073898"/>
              <a:gd name="connsiteX33" fmla="*/ 3938104 w 6697570"/>
              <a:gd name="connsiteY33" fmla="*/ 3806750 h 4073898"/>
              <a:gd name="connsiteX34" fmla="*/ 3952112 w 6697570"/>
              <a:gd name="connsiteY34" fmla="*/ 3817328 h 4073898"/>
              <a:gd name="connsiteX35" fmla="*/ 3966693 w 6697570"/>
              <a:gd name="connsiteY35" fmla="*/ 3807036 h 4073898"/>
              <a:gd name="connsiteX36" fmla="*/ 4002429 w 6697570"/>
              <a:gd name="connsiteY36" fmla="*/ 3638076 h 4073898"/>
              <a:gd name="connsiteX37" fmla="*/ 4005002 w 6697570"/>
              <a:gd name="connsiteY37" fmla="*/ 3662948 h 4073898"/>
              <a:gd name="connsiteX38" fmla="*/ 4020154 w 6697570"/>
              <a:gd name="connsiteY38" fmla="*/ 3676099 h 4073898"/>
              <a:gd name="connsiteX39" fmla="*/ 4033877 w 6697570"/>
              <a:gd name="connsiteY39" fmla="*/ 3666665 h 4073898"/>
              <a:gd name="connsiteX40" fmla="*/ 4119929 w 6697570"/>
              <a:gd name="connsiteY40" fmla="*/ 3428806 h 4073898"/>
              <a:gd name="connsiteX41" fmla="*/ 4187399 w 6697570"/>
              <a:gd name="connsiteY41" fmla="*/ 3882225 h 4073898"/>
              <a:gd name="connsiteX42" fmla="*/ 4083906 w 6697570"/>
              <a:gd name="connsiteY42" fmla="*/ 3953410 h 4073898"/>
              <a:gd name="connsiteX43" fmla="*/ 3675373 w 6697570"/>
              <a:gd name="connsiteY43" fmla="*/ 3582328 h 4073898"/>
              <a:gd name="connsiteX44" fmla="*/ 3809168 w 6697570"/>
              <a:gd name="connsiteY44" fmla="*/ 3582328 h 4073898"/>
              <a:gd name="connsiteX45" fmla="*/ 3823463 w 6697570"/>
              <a:gd name="connsiteY45" fmla="*/ 3572322 h 4073898"/>
              <a:gd name="connsiteX46" fmla="*/ 2131291 w 6697570"/>
              <a:gd name="connsiteY46" fmla="*/ 3336465 h 4073898"/>
              <a:gd name="connsiteX47" fmla="*/ 2131291 w 6697570"/>
              <a:gd name="connsiteY47" fmla="*/ 3399361 h 4073898"/>
              <a:gd name="connsiteX48" fmla="*/ 2196759 w 6697570"/>
              <a:gd name="connsiteY48" fmla="*/ 3399361 h 4073898"/>
              <a:gd name="connsiteX49" fmla="*/ 2197045 w 6697570"/>
              <a:gd name="connsiteY49" fmla="*/ 3447103 h 4073898"/>
              <a:gd name="connsiteX50" fmla="*/ 2131577 w 6697570"/>
              <a:gd name="connsiteY50" fmla="*/ 3447103 h 4073898"/>
              <a:gd name="connsiteX51" fmla="*/ 2131862 w 6697570"/>
              <a:gd name="connsiteY51" fmla="*/ 3509427 h 4073898"/>
              <a:gd name="connsiteX52" fmla="*/ 2086978 w 6697570"/>
              <a:gd name="connsiteY52" fmla="*/ 3509713 h 4073898"/>
              <a:gd name="connsiteX53" fmla="*/ 2086978 w 6697570"/>
              <a:gd name="connsiteY53" fmla="*/ 3447389 h 4073898"/>
              <a:gd name="connsiteX54" fmla="*/ 2023225 w 6697570"/>
              <a:gd name="connsiteY54" fmla="*/ 3447675 h 4073898"/>
              <a:gd name="connsiteX55" fmla="*/ 2022939 w 6697570"/>
              <a:gd name="connsiteY55" fmla="*/ 3399932 h 4073898"/>
              <a:gd name="connsiteX56" fmla="*/ 2086406 w 6697570"/>
              <a:gd name="connsiteY56" fmla="*/ 3399646 h 4073898"/>
              <a:gd name="connsiteX57" fmla="*/ 2086406 w 6697570"/>
              <a:gd name="connsiteY57" fmla="*/ 3336751 h 4073898"/>
              <a:gd name="connsiteX58" fmla="*/ 2075257 w 6697570"/>
              <a:gd name="connsiteY58" fmla="*/ 3324744 h 4073898"/>
              <a:gd name="connsiteX59" fmla="*/ 2075257 w 6697570"/>
              <a:gd name="connsiteY59" fmla="*/ 3388496 h 4073898"/>
              <a:gd name="connsiteX60" fmla="*/ 2011504 w 6697570"/>
              <a:gd name="connsiteY60" fmla="*/ 3388496 h 4073898"/>
              <a:gd name="connsiteX61" fmla="*/ 2011504 w 6697570"/>
              <a:gd name="connsiteY61" fmla="*/ 3458539 h 4073898"/>
              <a:gd name="connsiteX62" fmla="*/ 2075257 w 6697570"/>
              <a:gd name="connsiteY62" fmla="*/ 3458539 h 4073898"/>
              <a:gd name="connsiteX63" fmla="*/ 2075257 w 6697570"/>
              <a:gd name="connsiteY63" fmla="*/ 3522006 h 4073898"/>
              <a:gd name="connsiteX64" fmla="*/ 2145300 w 6697570"/>
              <a:gd name="connsiteY64" fmla="*/ 3522006 h 4073898"/>
              <a:gd name="connsiteX65" fmla="*/ 2145300 w 6697570"/>
              <a:gd name="connsiteY65" fmla="*/ 3458539 h 4073898"/>
              <a:gd name="connsiteX66" fmla="*/ 2209053 w 6697570"/>
              <a:gd name="connsiteY66" fmla="*/ 3458539 h 4073898"/>
              <a:gd name="connsiteX67" fmla="*/ 2209053 w 6697570"/>
              <a:gd name="connsiteY67" fmla="*/ 3388496 h 4073898"/>
              <a:gd name="connsiteX68" fmla="*/ 2145300 w 6697570"/>
              <a:gd name="connsiteY68" fmla="*/ 3388496 h 4073898"/>
              <a:gd name="connsiteX69" fmla="*/ 2145300 w 6697570"/>
              <a:gd name="connsiteY69" fmla="*/ 3324744 h 4073898"/>
              <a:gd name="connsiteX70" fmla="*/ 2621018 w 6697570"/>
              <a:gd name="connsiteY70" fmla="*/ 3236976 h 4073898"/>
              <a:gd name="connsiteX71" fmla="*/ 2621018 w 6697570"/>
              <a:gd name="connsiteY71" fmla="*/ 3247553 h 4073898"/>
              <a:gd name="connsiteX72" fmla="*/ 2446340 w 6697570"/>
              <a:gd name="connsiteY72" fmla="*/ 3421945 h 4073898"/>
              <a:gd name="connsiteX73" fmla="*/ 2445768 w 6697570"/>
              <a:gd name="connsiteY73" fmla="*/ 3589761 h 4073898"/>
              <a:gd name="connsiteX74" fmla="*/ 2620446 w 6697570"/>
              <a:gd name="connsiteY74" fmla="*/ 3590333 h 4073898"/>
              <a:gd name="connsiteX75" fmla="*/ 2795124 w 6697570"/>
              <a:gd name="connsiteY75" fmla="*/ 3590905 h 4073898"/>
              <a:gd name="connsiteX76" fmla="*/ 2795695 w 6697570"/>
              <a:gd name="connsiteY76" fmla="*/ 3422802 h 4073898"/>
              <a:gd name="connsiteX77" fmla="*/ 2744807 w 6697570"/>
              <a:gd name="connsiteY77" fmla="*/ 3299013 h 4073898"/>
              <a:gd name="connsiteX78" fmla="*/ 2621303 w 6697570"/>
              <a:gd name="connsiteY78" fmla="*/ 3247553 h 4073898"/>
              <a:gd name="connsiteX79" fmla="*/ 2621303 w 6697570"/>
              <a:gd name="connsiteY79" fmla="*/ 3226683 h 4073898"/>
              <a:gd name="connsiteX80" fmla="*/ 2621875 w 6697570"/>
              <a:gd name="connsiteY80" fmla="*/ 3226683 h 4073898"/>
              <a:gd name="connsiteX81" fmla="*/ 2760245 w 6697570"/>
              <a:gd name="connsiteY81" fmla="*/ 3284433 h 4073898"/>
              <a:gd name="connsiteX82" fmla="*/ 2817137 w 6697570"/>
              <a:gd name="connsiteY82" fmla="*/ 3423088 h 4073898"/>
              <a:gd name="connsiteX83" fmla="*/ 2816565 w 6697570"/>
              <a:gd name="connsiteY83" fmla="*/ 3591191 h 4073898"/>
              <a:gd name="connsiteX84" fmla="*/ 2816565 w 6697570"/>
              <a:gd name="connsiteY84" fmla="*/ 3611774 h 4073898"/>
              <a:gd name="connsiteX85" fmla="*/ 2816565 w 6697570"/>
              <a:gd name="connsiteY85" fmla="*/ 3612346 h 4073898"/>
              <a:gd name="connsiteX86" fmla="*/ 2815993 w 6697570"/>
              <a:gd name="connsiteY86" fmla="*/ 3780449 h 4073898"/>
              <a:gd name="connsiteX87" fmla="*/ 2620160 w 6697570"/>
              <a:gd name="connsiteY87" fmla="*/ 3975710 h 4073898"/>
              <a:gd name="connsiteX88" fmla="*/ 2424327 w 6697570"/>
              <a:gd name="connsiteY88" fmla="*/ 3779305 h 4073898"/>
              <a:gd name="connsiteX89" fmla="*/ 2424898 w 6697570"/>
              <a:gd name="connsiteY89" fmla="*/ 3611203 h 4073898"/>
              <a:gd name="connsiteX90" fmla="*/ 2425470 w 6697570"/>
              <a:gd name="connsiteY90" fmla="*/ 3421945 h 4073898"/>
              <a:gd name="connsiteX91" fmla="*/ 2621303 w 6697570"/>
              <a:gd name="connsiteY91" fmla="*/ 3226683 h 4073898"/>
              <a:gd name="connsiteX92" fmla="*/ 3811380 w 6697570"/>
              <a:gd name="connsiteY92" fmla="*/ 3096930 h 4073898"/>
              <a:gd name="connsiteX93" fmla="*/ 4083906 w 6697570"/>
              <a:gd name="connsiteY93" fmla="*/ 3303015 h 4073898"/>
              <a:gd name="connsiteX94" fmla="*/ 4356292 w 6697570"/>
              <a:gd name="connsiteY94" fmla="*/ 3096930 h 4073898"/>
              <a:gd name="connsiteX95" fmla="*/ 4509594 w 6697570"/>
              <a:gd name="connsiteY95" fmla="*/ 3555169 h 4073898"/>
              <a:gd name="connsiteX96" fmla="*/ 4267447 w 6697570"/>
              <a:gd name="connsiteY96" fmla="*/ 3555169 h 4073898"/>
              <a:gd name="connsiteX97" fmla="*/ 4253152 w 6697570"/>
              <a:gd name="connsiteY97" fmla="*/ 3565746 h 4073898"/>
              <a:gd name="connsiteX98" fmla="*/ 4209126 w 6697570"/>
              <a:gd name="connsiteY98" fmla="*/ 3831623 h 4073898"/>
              <a:gd name="connsiteX99" fmla="*/ 4139654 w 6697570"/>
              <a:gd name="connsiteY99" fmla="*/ 3366769 h 4073898"/>
              <a:gd name="connsiteX100" fmla="*/ 4126504 w 6697570"/>
              <a:gd name="connsiteY100" fmla="*/ 3356191 h 4073898"/>
              <a:gd name="connsiteX101" fmla="*/ 4111352 w 6697570"/>
              <a:gd name="connsiteY101" fmla="*/ 3365911 h 4073898"/>
              <a:gd name="connsiteX102" fmla="*/ 4027015 w 6697570"/>
              <a:gd name="connsiteY102" fmla="*/ 3598624 h 4073898"/>
              <a:gd name="connsiteX103" fmla="*/ 4021297 w 6697570"/>
              <a:gd name="connsiteY103" fmla="*/ 3544877 h 4073898"/>
              <a:gd name="connsiteX104" fmla="*/ 4005287 w 6697570"/>
              <a:gd name="connsiteY104" fmla="*/ 3531726 h 4073898"/>
              <a:gd name="connsiteX105" fmla="*/ 3992423 w 6697570"/>
              <a:gd name="connsiteY105" fmla="*/ 3542017 h 4073898"/>
              <a:gd name="connsiteX106" fmla="*/ 3954685 w 6697570"/>
              <a:gd name="connsiteY106" fmla="*/ 3720698 h 4073898"/>
              <a:gd name="connsiteX107" fmla="*/ 3899223 w 6697570"/>
              <a:gd name="connsiteY107" fmla="*/ 3338466 h 4073898"/>
              <a:gd name="connsiteX108" fmla="*/ 3886072 w 6697570"/>
              <a:gd name="connsiteY108" fmla="*/ 3327888 h 4073898"/>
              <a:gd name="connsiteX109" fmla="*/ 3870920 w 6697570"/>
              <a:gd name="connsiteY109" fmla="*/ 3337608 h 4073898"/>
              <a:gd name="connsiteX110" fmla="*/ 3798591 w 6697570"/>
              <a:gd name="connsiteY110" fmla="*/ 3555169 h 4073898"/>
              <a:gd name="connsiteX111" fmla="*/ 3657934 w 6697570"/>
              <a:gd name="connsiteY111" fmla="*/ 3555169 h 4073898"/>
              <a:gd name="connsiteX112" fmla="*/ 3811380 w 6697570"/>
              <a:gd name="connsiteY112" fmla="*/ 3096930 h 4073898"/>
              <a:gd name="connsiteX113" fmla="*/ 4969875 w 6697570"/>
              <a:gd name="connsiteY113" fmla="*/ 3096319 h 4073898"/>
              <a:gd name="connsiteX114" fmla="*/ 5019047 w 6697570"/>
              <a:gd name="connsiteY114" fmla="*/ 3154068 h 4073898"/>
              <a:gd name="connsiteX115" fmla="*/ 5076797 w 6697570"/>
              <a:gd name="connsiteY115" fmla="*/ 3105467 h 4073898"/>
              <a:gd name="connsiteX116" fmla="*/ 5111389 w 6697570"/>
              <a:gd name="connsiteY116" fmla="*/ 3146063 h 4073898"/>
              <a:gd name="connsiteX117" fmla="*/ 5053926 w 6697570"/>
              <a:gd name="connsiteY117" fmla="*/ 3194950 h 4073898"/>
              <a:gd name="connsiteX118" fmla="*/ 5104242 w 6697570"/>
              <a:gd name="connsiteY118" fmla="*/ 3254415 h 4073898"/>
              <a:gd name="connsiteX119" fmla="*/ 5060786 w 6697570"/>
              <a:gd name="connsiteY119" fmla="*/ 3291580 h 4073898"/>
              <a:gd name="connsiteX120" fmla="*/ 5010471 w 6697570"/>
              <a:gd name="connsiteY120" fmla="*/ 3232116 h 4073898"/>
              <a:gd name="connsiteX121" fmla="*/ 4953293 w 6697570"/>
              <a:gd name="connsiteY121" fmla="*/ 3280431 h 4073898"/>
              <a:gd name="connsiteX122" fmla="*/ 4918415 w 6697570"/>
              <a:gd name="connsiteY122" fmla="*/ 3239835 h 4073898"/>
              <a:gd name="connsiteX123" fmla="*/ 4975592 w 6697570"/>
              <a:gd name="connsiteY123" fmla="*/ 3191520 h 4073898"/>
              <a:gd name="connsiteX124" fmla="*/ 4926420 w 6697570"/>
              <a:gd name="connsiteY124" fmla="*/ 3133484 h 4073898"/>
              <a:gd name="connsiteX125" fmla="*/ 1415820 w 6697570"/>
              <a:gd name="connsiteY125" fmla="*/ 3073983 h 4073898"/>
              <a:gd name="connsiteX126" fmla="*/ 1293638 w 6697570"/>
              <a:gd name="connsiteY126" fmla="*/ 3126622 h 4073898"/>
              <a:gd name="connsiteX127" fmla="*/ 1211016 w 6697570"/>
              <a:gd name="connsiteY127" fmla="*/ 3211245 h 4073898"/>
              <a:gd name="connsiteX128" fmla="*/ 1274197 w 6697570"/>
              <a:gd name="connsiteY128" fmla="*/ 3272711 h 4073898"/>
              <a:gd name="connsiteX129" fmla="*/ 1500337 w 6697570"/>
              <a:gd name="connsiteY129" fmla="*/ 3269566 h 4073898"/>
              <a:gd name="connsiteX130" fmla="*/ 1592392 w 6697570"/>
              <a:gd name="connsiteY130" fmla="*/ 3174937 h 4073898"/>
              <a:gd name="connsiteX131" fmla="*/ 1539502 w 6697570"/>
              <a:gd name="connsiteY131" fmla="*/ 3123192 h 4073898"/>
              <a:gd name="connsiteX132" fmla="*/ 1415820 w 6697570"/>
              <a:gd name="connsiteY132" fmla="*/ 3073983 h 4073898"/>
              <a:gd name="connsiteX133" fmla="*/ 4971303 w 6697570"/>
              <a:gd name="connsiteY133" fmla="*/ 3073447 h 4073898"/>
              <a:gd name="connsiteX134" fmla="*/ 4906979 w 6697570"/>
              <a:gd name="connsiteY134" fmla="*/ 3127194 h 4073898"/>
              <a:gd name="connsiteX135" fmla="*/ 4955580 w 6697570"/>
              <a:gd name="connsiteY135" fmla="*/ 3185802 h 4073898"/>
              <a:gd name="connsiteX136" fmla="*/ 4897259 w 6697570"/>
              <a:gd name="connsiteY136" fmla="*/ 3234688 h 4073898"/>
              <a:gd name="connsiteX137" fmla="*/ 4951006 w 6697570"/>
              <a:gd name="connsiteY137" fmla="*/ 3299012 h 4073898"/>
              <a:gd name="connsiteX138" fmla="*/ 5009613 w 6697570"/>
              <a:gd name="connsiteY138" fmla="*/ 3250126 h 4073898"/>
              <a:gd name="connsiteX139" fmla="*/ 5058213 w 6697570"/>
              <a:gd name="connsiteY139" fmla="*/ 3308733 h 4073898"/>
              <a:gd name="connsiteX140" fmla="*/ 5122539 w 6697570"/>
              <a:gd name="connsiteY140" fmla="*/ 3254986 h 4073898"/>
              <a:gd name="connsiteX141" fmla="*/ 5073938 w 6697570"/>
              <a:gd name="connsiteY141" fmla="*/ 3196379 h 4073898"/>
              <a:gd name="connsiteX142" fmla="*/ 5132259 w 6697570"/>
              <a:gd name="connsiteY142" fmla="*/ 3147492 h 4073898"/>
              <a:gd name="connsiteX143" fmla="*/ 5078512 w 6697570"/>
              <a:gd name="connsiteY143" fmla="*/ 3083167 h 4073898"/>
              <a:gd name="connsiteX144" fmla="*/ 5020191 w 6697570"/>
              <a:gd name="connsiteY144" fmla="*/ 3132054 h 4073898"/>
              <a:gd name="connsiteX145" fmla="*/ 4703998 w 6697570"/>
              <a:gd name="connsiteY145" fmla="*/ 3063441 h 4073898"/>
              <a:gd name="connsiteX146" fmla="*/ 4664832 w 6697570"/>
              <a:gd name="connsiteY146" fmla="*/ 3096033 h 4073898"/>
              <a:gd name="connsiteX147" fmla="*/ 4655683 w 6697570"/>
              <a:gd name="connsiteY147" fmla="*/ 3197522 h 4073898"/>
              <a:gd name="connsiteX148" fmla="*/ 4944144 w 6697570"/>
              <a:gd name="connsiteY148" fmla="*/ 3543447 h 4073898"/>
              <a:gd name="connsiteX149" fmla="*/ 5045634 w 6697570"/>
              <a:gd name="connsiteY149" fmla="*/ 3552596 h 4073898"/>
              <a:gd name="connsiteX150" fmla="*/ 5084801 w 6697570"/>
              <a:gd name="connsiteY150" fmla="*/ 3520004 h 4073898"/>
              <a:gd name="connsiteX151" fmla="*/ 1971194 w 6697570"/>
              <a:gd name="connsiteY151" fmla="*/ 2992541 h 4073898"/>
              <a:gd name="connsiteX152" fmla="*/ 1928025 w 6697570"/>
              <a:gd name="connsiteY152" fmla="*/ 3099749 h 4073898"/>
              <a:gd name="connsiteX153" fmla="*/ 1861985 w 6697570"/>
              <a:gd name="connsiteY153" fmla="*/ 3238977 h 4073898"/>
              <a:gd name="connsiteX154" fmla="*/ 1861985 w 6697570"/>
              <a:gd name="connsiteY154" fmla="*/ 3291866 h 4073898"/>
              <a:gd name="connsiteX155" fmla="*/ 2357714 w 6697570"/>
              <a:gd name="connsiteY155" fmla="*/ 3291866 h 4073898"/>
              <a:gd name="connsiteX156" fmla="*/ 2357714 w 6697570"/>
              <a:gd name="connsiteY156" fmla="*/ 3236403 h 4073898"/>
              <a:gd name="connsiteX157" fmla="*/ 2291960 w 6697570"/>
              <a:gd name="connsiteY157" fmla="*/ 3099749 h 4073898"/>
              <a:gd name="connsiteX158" fmla="*/ 2248791 w 6697570"/>
              <a:gd name="connsiteY158" fmla="*/ 2992541 h 4073898"/>
              <a:gd name="connsiteX159" fmla="*/ 5650002 w 6697570"/>
              <a:gd name="connsiteY159" fmla="*/ 2879043 h 4073898"/>
              <a:gd name="connsiteX160" fmla="*/ 5534218 w 6697570"/>
              <a:gd name="connsiteY160" fmla="*/ 2975673 h 4073898"/>
              <a:gd name="connsiteX161" fmla="*/ 5534218 w 6697570"/>
              <a:gd name="connsiteY161" fmla="*/ 2988538 h 4073898"/>
              <a:gd name="connsiteX162" fmla="*/ 5546797 w 6697570"/>
              <a:gd name="connsiteY162" fmla="*/ 2990825 h 4073898"/>
              <a:gd name="connsiteX163" fmla="*/ 5662867 w 6697570"/>
              <a:gd name="connsiteY163" fmla="*/ 2894195 h 4073898"/>
              <a:gd name="connsiteX164" fmla="*/ 5662581 w 6697570"/>
              <a:gd name="connsiteY164" fmla="*/ 2881330 h 4073898"/>
              <a:gd name="connsiteX165" fmla="*/ 5650002 w 6697570"/>
              <a:gd name="connsiteY165" fmla="*/ 2879043 h 4073898"/>
              <a:gd name="connsiteX166" fmla="*/ 5627417 w 6697570"/>
              <a:gd name="connsiteY166" fmla="*/ 2851884 h 4073898"/>
              <a:gd name="connsiteX167" fmla="*/ 5511346 w 6697570"/>
              <a:gd name="connsiteY167" fmla="*/ 2948800 h 4073898"/>
              <a:gd name="connsiteX168" fmla="*/ 5511346 w 6697570"/>
              <a:gd name="connsiteY168" fmla="*/ 2961665 h 4073898"/>
              <a:gd name="connsiteX169" fmla="*/ 5523925 w 6697570"/>
              <a:gd name="connsiteY169" fmla="*/ 2964238 h 4073898"/>
              <a:gd name="connsiteX170" fmla="*/ 5639996 w 6697570"/>
              <a:gd name="connsiteY170" fmla="*/ 2867322 h 4073898"/>
              <a:gd name="connsiteX171" fmla="*/ 5639996 w 6697570"/>
              <a:gd name="connsiteY171" fmla="*/ 2854457 h 4073898"/>
              <a:gd name="connsiteX172" fmla="*/ 5627417 w 6697570"/>
              <a:gd name="connsiteY172" fmla="*/ 2851884 h 4073898"/>
              <a:gd name="connsiteX173" fmla="*/ 2257940 w 6697570"/>
              <a:gd name="connsiteY173" fmla="*/ 2842165 h 4073898"/>
              <a:gd name="connsiteX174" fmla="*/ 2249649 w 6697570"/>
              <a:gd name="connsiteY174" fmla="*/ 2849026 h 4073898"/>
              <a:gd name="connsiteX175" fmla="*/ 2249649 w 6697570"/>
              <a:gd name="connsiteY175" fmla="*/ 2975389 h 4073898"/>
              <a:gd name="connsiteX176" fmla="*/ 2257940 w 6697570"/>
              <a:gd name="connsiteY176" fmla="*/ 2982250 h 4073898"/>
              <a:gd name="connsiteX177" fmla="*/ 2266230 w 6697570"/>
              <a:gd name="connsiteY177" fmla="*/ 2975389 h 4073898"/>
              <a:gd name="connsiteX178" fmla="*/ 2266230 w 6697570"/>
              <a:gd name="connsiteY178" fmla="*/ 2849026 h 4073898"/>
              <a:gd name="connsiteX179" fmla="*/ 2257940 w 6697570"/>
              <a:gd name="connsiteY179" fmla="*/ 2842165 h 4073898"/>
              <a:gd name="connsiteX180" fmla="*/ 2228493 w 6697570"/>
              <a:gd name="connsiteY180" fmla="*/ 2842165 h 4073898"/>
              <a:gd name="connsiteX181" fmla="*/ 2220202 w 6697570"/>
              <a:gd name="connsiteY181" fmla="*/ 2849026 h 4073898"/>
              <a:gd name="connsiteX182" fmla="*/ 2220202 w 6697570"/>
              <a:gd name="connsiteY182" fmla="*/ 2975389 h 4073898"/>
              <a:gd name="connsiteX183" fmla="*/ 2228493 w 6697570"/>
              <a:gd name="connsiteY183" fmla="*/ 2982250 h 4073898"/>
              <a:gd name="connsiteX184" fmla="*/ 2236784 w 6697570"/>
              <a:gd name="connsiteY184" fmla="*/ 2975389 h 4073898"/>
              <a:gd name="connsiteX185" fmla="*/ 2236784 w 6697570"/>
              <a:gd name="connsiteY185" fmla="*/ 2849026 h 4073898"/>
              <a:gd name="connsiteX186" fmla="*/ 2228493 w 6697570"/>
              <a:gd name="connsiteY186" fmla="*/ 2842165 h 4073898"/>
              <a:gd name="connsiteX187" fmla="*/ 2198761 w 6697570"/>
              <a:gd name="connsiteY187" fmla="*/ 2842165 h 4073898"/>
              <a:gd name="connsiteX188" fmla="*/ 2190470 w 6697570"/>
              <a:gd name="connsiteY188" fmla="*/ 2849026 h 4073898"/>
              <a:gd name="connsiteX189" fmla="*/ 2190470 w 6697570"/>
              <a:gd name="connsiteY189" fmla="*/ 2975389 h 4073898"/>
              <a:gd name="connsiteX190" fmla="*/ 2198761 w 6697570"/>
              <a:gd name="connsiteY190" fmla="*/ 2982250 h 4073898"/>
              <a:gd name="connsiteX191" fmla="*/ 2207051 w 6697570"/>
              <a:gd name="connsiteY191" fmla="*/ 2975389 h 4073898"/>
              <a:gd name="connsiteX192" fmla="*/ 2207051 w 6697570"/>
              <a:gd name="connsiteY192" fmla="*/ 2849026 h 4073898"/>
              <a:gd name="connsiteX193" fmla="*/ 2198761 w 6697570"/>
              <a:gd name="connsiteY193" fmla="*/ 2842165 h 4073898"/>
              <a:gd name="connsiteX194" fmla="*/ 2169314 w 6697570"/>
              <a:gd name="connsiteY194" fmla="*/ 2842165 h 4073898"/>
              <a:gd name="connsiteX195" fmla="*/ 2161023 w 6697570"/>
              <a:gd name="connsiteY195" fmla="*/ 2849026 h 4073898"/>
              <a:gd name="connsiteX196" fmla="*/ 2161023 w 6697570"/>
              <a:gd name="connsiteY196" fmla="*/ 2975389 h 4073898"/>
              <a:gd name="connsiteX197" fmla="*/ 2169314 w 6697570"/>
              <a:gd name="connsiteY197" fmla="*/ 2982250 h 4073898"/>
              <a:gd name="connsiteX198" fmla="*/ 2177605 w 6697570"/>
              <a:gd name="connsiteY198" fmla="*/ 2975389 h 4073898"/>
              <a:gd name="connsiteX199" fmla="*/ 2177605 w 6697570"/>
              <a:gd name="connsiteY199" fmla="*/ 2849026 h 4073898"/>
              <a:gd name="connsiteX200" fmla="*/ 2169314 w 6697570"/>
              <a:gd name="connsiteY200" fmla="*/ 2842165 h 4073898"/>
              <a:gd name="connsiteX201" fmla="*/ 2139582 w 6697570"/>
              <a:gd name="connsiteY201" fmla="*/ 2842165 h 4073898"/>
              <a:gd name="connsiteX202" fmla="*/ 2131291 w 6697570"/>
              <a:gd name="connsiteY202" fmla="*/ 2849026 h 4073898"/>
              <a:gd name="connsiteX203" fmla="*/ 2131291 w 6697570"/>
              <a:gd name="connsiteY203" fmla="*/ 2975389 h 4073898"/>
              <a:gd name="connsiteX204" fmla="*/ 2139582 w 6697570"/>
              <a:gd name="connsiteY204" fmla="*/ 2982250 h 4073898"/>
              <a:gd name="connsiteX205" fmla="*/ 2147873 w 6697570"/>
              <a:gd name="connsiteY205" fmla="*/ 2975389 h 4073898"/>
              <a:gd name="connsiteX206" fmla="*/ 2147873 w 6697570"/>
              <a:gd name="connsiteY206" fmla="*/ 2849026 h 4073898"/>
              <a:gd name="connsiteX207" fmla="*/ 2139582 w 6697570"/>
              <a:gd name="connsiteY207" fmla="*/ 2842165 h 4073898"/>
              <a:gd name="connsiteX208" fmla="*/ 2110135 w 6697570"/>
              <a:gd name="connsiteY208" fmla="*/ 2842165 h 4073898"/>
              <a:gd name="connsiteX209" fmla="*/ 2101845 w 6697570"/>
              <a:gd name="connsiteY209" fmla="*/ 2849026 h 4073898"/>
              <a:gd name="connsiteX210" fmla="*/ 2101845 w 6697570"/>
              <a:gd name="connsiteY210" fmla="*/ 2975389 h 4073898"/>
              <a:gd name="connsiteX211" fmla="*/ 2110135 w 6697570"/>
              <a:gd name="connsiteY211" fmla="*/ 2982250 h 4073898"/>
              <a:gd name="connsiteX212" fmla="*/ 2118426 w 6697570"/>
              <a:gd name="connsiteY212" fmla="*/ 2975389 h 4073898"/>
              <a:gd name="connsiteX213" fmla="*/ 2118426 w 6697570"/>
              <a:gd name="connsiteY213" fmla="*/ 2849026 h 4073898"/>
              <a:gd name="connsiteX214" fmla="*/ 2110135 w 6697570"/>
              <a:gd name="connsiteY214" fmla="*/ 2842165 h 4073898"/>
              <a:gd name="connsiteX215" fmla="*/ 2080403 w 6697570"/>
              <a:gd name="connsiteY215" fmla="*/ 2842165 h 4073898"/>
              <a:gd name="connsiteX216" fmla="*/ 2072112 w 6697570"/>
              <a:gd name="connsiteY216" fmla="*/ 2849026 h 4073898"/>
              <a:gd name="connsiteX217" fmla="*/ 2072112 w 6697570"/>
              <a:gd name="connsiteY217" fmla="*/ 2975389 h 4073898"/>
              <a:gd name="connsiteX218" fmla="*/ 2080403 w 6697570"/>
              <a:gd name="connsiteY218" fmla="*/ 2982250 h 4073898"/>
              <a:gd name="connsiteX219" fmla="*/ 2088694 w 6697570"/>
              <a:gd name="connsiteY219" fmla="*/ 2975389 h 4073898"/>
              <a:gd name="connsiteX220" fmla="*/ 2088694 w 6697570"/>
              <a:gd name="connsiteY220" fmla="*/ 2849026 h 4073898"/>
              <a:gd name="connsiteX221" fmla="*/ 2080403 w 6697570"/>
              <a:gd name="connsiteY221" fmla="*/ 2842165 h 4073898"/>
              <a:gd name="connsiteX222" fmla="*/ 2050671 w 6697570"/>
              <a:gd name="connsiteY222" fmla="*/ 2842165 h 4073898"/>
              <a:gd name="connsiteX223" fmla="*/ 2042380 w 6697570"/>
              <a:gd name="connsiteY223" fmla="*/ 2849026 h 4073898"/>
              <a:gd name="connsiteX224" fmla="*/ 2042380 w 6697570"/>
              <a:gd name="connsiteY224" fmla="*/ 2975389 h 4073898"/>
              <a:gd name="connsiteX225" fmla="*/ 2050671 w 6697570"/>
              <a:gd name="connsiteY225" fmla="*/ 2982250 h 4073898"/>
              <a:gd name="connsiteX226" fmla="*/ 2058961 w 6697570"/>
              <a:gd name="connsiteY226" fmla="*/ 2975389 h 4073898"/>
              <a:gd name="connsiteX227" fmla="*/ 2058961 w 6697570"/>
              <a:gd name="connsiteY227" fmla="*/ 2849026 h 4073898"/>
              <a:gd name="connsiteX228" fmla="*/ 2050671 w 6697570"/>
              <a:gd name="connsiteY228" fmla="*/ 2842165 h 4073898"/>
              <a:gd name="connsiteX229" fmla="*/ 2021224 w 6697570"/>
              <a:gd name="connsiteY229" fmla="*/ 2842165 h 4073898"/>
              <a:gd name="connsiteX230" fmla="*/ 2012933 w 6697570"/>
              <a:gd name="connsiteY230" fmla="*/ 2849026 h 4073898"/>
              <a:gd name="connsiteX231" fmla="*/ 2012933 w 6697570"/>
              <a:gd name="connsiteY231" fmla="*/ 2975389 h 4073898"/>
              <a:gd name="connsiteX232" fmla="*/ 2021224 w 6697570"/>
              <a:gd name="connsiteY232" fmla="*/ 2982250 h 4073898"/>
              <a:gd name="connsiteX233" fmla="*/ 2029515 w 6697570"/>
              <a:gd name="connsiteY233" fmla="*/ 2975389 h 4073898"/>
              <a:gd name="connsiteX234" fmla="*/ 2029515 w 6697570"/>
              <a:gd name="connsiteY234" fmla="*/ 2849026 h 4073898"/>
              <a:gd name="connsiteX235" fmla="*/ 2021224 w 6697570"/>
              <a:gd name="connsiteY235" fmla="*/ 2842165 h 4073898"/>
              <a:gd name="connsiteX236" fmla="*/ 1991492 w 6697570"/>
              <a:gd name="connsiteY236" fmla="*/ 2842165 h 4073898"/>
              <a:gd name="connsiteX237" fmla="*/ 1983201 w 6697570"/>
              <a:gd name="connsiteY237" fmla="*/ 2849026 h 4073898"/>
              <a:gd name="connsiteX238" fmla="*/ 1983201 w 6697570"/>
              <a:gd name="connsiteY238" fmla="*/ 2975389 h 4073898"/>
              <a:gd name="connsiteX239" fmla="*/ 1991492 w 6697570"/>
              <a:gd name="connsiteY239" fmla="*/ 2982250 h 4073898"/>
              <a:gd name="connsiteX240" fmla="*/ 1999783 w 6697570"/>
              <a:gd name="connsiteY240" fmla="*/ 2975389 h 4073898"/>
              <a:gd name="connsiteX241" fmla="*/ 1999783 w 6697570"/>
              <a:gd name="connsiteY241" fmla="*/ 2849026 h 4073898"/>
              <a:gd name="connsiteX242" fmla="*/ 1991492 w 6697570"/>
              <a:gd name="connsiteY242" fmla="*/ 2842165 h 4073898"/>
              <a:gd name="connsiteX243" fmla="*/ 1962045 w 6697570"/>
              <a:gd name="connsiteY243" fmla="*/ 2842165 h 4073898"/>
              <a:gd name="connsiteX244" fmla="*/ 1953755 w 6697570"/>
              <a:gd name="connsiteY244" fmla="*/ 2849026 h 4073898"/>
              <a:gd name="connsiteX245" fmla="*/ 1953755 w 6697570"/>
              <a:gd name="connsiteY245" fmla="*/ 2975389 h 4073898"/>
              <a:gd name="connsiteX246" fmla="*/ 1962045 w 6697570"/>
              <a:gd name="connsiteY246" fmla="*/ 2982250 h 4073898"/>
              <a:gd name="connsiteX247" fmla="*/ 1970336 w 6697570"/>
              <a:gd name="connsiteY247" fmla="*/ 2975389 h 4073898"/>
              <a:gd name="connsiteX248" fmla="*/ 1970336 w 6697570"/>
              <a:gd name="connsiteY248" fmla="*/ 2849026 h 4073898"/>
              <a:gd name="connsiteX249" fmla="*/ 1962045 w 6697570"/>
              <a:gd name="connsiteY249" fmla="*/ 2842165 h 4073898"/>
              <a:gd name="connsiteX250" fmla="*/ 5604546 w 6697570"/>
              <a:gd name="connsiteY250" fmla="*/ 2824725 h 4073898"/>
              <a:gd name="connsiteX251" fmla="*/ 5488476 w 6697570"/>
              <a:gd name="connsiteY251" fmla="*/ 2921069 h 4073898"/>
              <a:gd name="connsiteX252" fmla="*/ 5488476 w 6697570"/>
              <a:gd name="connsiteY252" fmla="*/ 2933934 h 4073898"/>
              <a:gd name="connsiteX253" fmla="*/ 5501055 w 6697570"/>
              <a:gd name="connsiteY253" fmla="*/ 2936507 h 4073898"/>
              <a:gd name="connsiteX254" fmla="*/ 5617125 w 6697570"/>
              <a:gd name="connsiteY254" fmla="*/ 2839877 h 4073898"/>
              <a:gd name="connsiteX255" fmla="*/ 5617125 w 6697570"/>
              <a:gd name="connsiteY255" fmla="*/ 2827012 h 4073898"/>
              <a:gd name="connsiteX256" fmla="*/ 5604546 w 6697570"/>
              <a:gd name="connsiteY256" fmla="*/ 2824725 h 4073898"/>
              <a:gd name="connsiteX257" fmla="*/ 2848870 w 6697570"/>
              <a:gd name="connsiteY257" fmla="*/ 2806428 h 4073898"/>
              <a:gd name="connsiteX258" fmla="*/ 2848299 w 6697570"/>
              <a:gd name="connsiteY258" fmla="*/ 3076020 h 4073898"/>
              <a:gd name="connsiteX259" fmla="*/ 2929776 w 6697570"/>
              <a:gd name="connsiteY259" fmla="*/ 3274427 h 4073898"/>
              <a:gd name="connsiteX260" fmla="*/ 3127611 w 6697570"/>
              <a:gd name="connsiteY260" fmla="*/ 3357048 h 4073898"/>
              <a:gd name="connsiteX261" fmla="*/ 3128469 w 6697570"/>
              <a:gd name="connsiteY261" fmla="*/ 3373916 h 4073898"/>
              <a:gd name="connsiteX262" fmla="*/ 3128469 w 6697570"/>
              <a:gd name="connsiteY262" fmla="*/ 3357048 h 4073898"/>
              <a:gd name="connsiteX263" fmla="*/ 3408925 w 6697570"/>
              <a:gd name="connsiteY263" fmla="*/ 3077450 h 4073898"/>
              <a:gd name="connsiteX264" fmla="*/ 3409497 w 6697570"/>
              <a:gd name="connsiteY264" fmla="*/ 2808144 h 4073898"/>
              <a:gd name="connsiteX265" fmla="*/ 3129327 w 6697570"/>
              <a:gd name="connsiteY265" fmla="*/ 2807286 h 4073898"/>
              <a:gd name="connsiteX266" fmla="*/ 5581961 w 6697570"/>
              <a:gd name="connsiteY266" fmla="*/ 2797566 h 4073898"/>
              <a:gd name="connsiteX267" fmla="*/ 5466177 w 6697570"/>
              <a:gd name="connsiteY267" fmla="*/ 2894481 h 4073898"/>
              <a:gd name="connsiteX268" fmla="*/ 5466177 w 6697570"/>
              <a:gd name="connsiteY268" fmla="*/ 2907346 h 4073898"/>
              <a:gd name="connsiteX269" fmla="*/ 5478756 w 6697570"/>
              <a:gd name="connsiteY269" fmla="*/ 2909634 h 4073898"/>
              <a:gd name="connsiteX270" fmla="*/ 5594826 w 6697570"/>
              <a:gd name="connsiteY270" fmla="*/ 2812718 h 4073898"/>
              <a:gd name="connsiteX271" fmla="*/ 5594826 w 6697570"/>
              <a:gd name="connsiteY271" fmla="*/ 2799852 h 4073898"/>
              <a:gd name="connsiteX272" fmla="*/ 5581961 w 6697570"/>
              <a:gd name="connsiteY272" fmla="*/ 2797566 h 4073898"/>
              <a:gd name="connsiteX273" fmla="*/ 5559376 w 6697570"/>
              <a:gd name="connsiteY273" fmla="*/ 2770406 h 4073898"/>
              <a:gd name="connsiteX274" fmla="*/ 5443305 w 6697570"/>
              <a:gd name="connsiteY274" fmla="*/ 2867322 h 4073898"/>
              <a:gd name="connsiteX275" fmla="*/ 5443305 w 6697570"/>
              <a:gd name="connsiteY275" fmla="*/ 2880187 h 4073898"/>
              <a:gd name="connsiteX276" fmla="*/ 5455884 w 6697570"/>
              <a:gd name="connsiteY276" fmla="*/ 2882475 h 4073898"/>
              <a:gd name="connsiteX277" fmla="*/ 5571955 w 6697570"/>
              <a:gd name="connsiteY277" fmla="*/ 2785558 h 4073898"/>
              <a:gd name="connsiteX278" fmla="*/ 5571955 w 6697570"/>
              <a:gd name="connsiteY278" fmla="*/ 2772693 h 4073898"/>
              <a:gd name="connsiteX279" fmla="*/ 5559376 w 6697570"/>
              <a:gd name="connsiteY279" fmla="*/ 2770406 h 4073898"/>
              <a:gd name="connsiteX280" fmla="*/ 3606759 w 6697570"/>
              <a:gd name="connsiteY280" fmla="*/ 2766975 h 4073898"/>
              <a:gd name="connsiteX281" fmla="*/ 3606759 w 6697570"/>
              <a:gd name="connsiteY281" fmla="*/ 2838161 h 4073898"/>
              <a:gd name="connsiteX282" fmla="*/ 3735695 w 6697570"/>
              <a:gd name="connsiteY282" fmla="*/ 2967096 h 4073898"/>
              <a:gd name="connsiteX283" fmla="*/ 3842617 w 6697570"/>
              <a:gd name="connsiteY283" fmla="*/ 2967096 h 4073898"/>
              <a:gd name="connsiteX284" fmla="*/ 3842617 w 6697570"/>
              <a:gd name="connsiteY284" fmla="*/ 2907346 h 4073898"/>
              <a:gd name="connsiteX285" fmla="*/ 3702246 w 6697570"/>
              <a:gd name="connsiteY285" fmla="*/ 2766975 h 4073898"/>
              <a:gd name="connsiteX286" fmla="*/ 5536505 w 6697570"/>
              <a:gd name="connsiteY286" fmla="*/ 2742961 h 4073898"/>
              <a:gd name="connsiteX287" fmla="*/ 5420720 w 6697570"/>
              <a:gd name="connsiteY287" fmla="*/ 2839877 h 4073898"/>
              <a:gd name="connsiteX288" fmla="*/ 5420720 w 6697570"/>
              <a:gd name="connsiteY288" fmla="*/ 2852741 h 4073898"/>
              <a:gd name="connsiteX289" fmla="*/ 5433299 w 6697570"/>
              <a:gd name="connsiteY289" fmla="*/ 2855028 h 4073898"/>
              <a:gd name="connsiteX290" fmla="*/ 5549370 w 6697570"/>
              <a:gd name="connsiteY290" fmla="*/ 2758398 h 4073898"/>
              <a:gd name="connsiteX291" fmla="*/ 5549370 w 6697570"/>
              <a:gd name="connsiteY291" fmla="*/ 2745533 h 4073898"/>
              <a:gd name="connsiteX292" fmla="*/ 5536505 w 6697570"/>
              <a:gd name="connsiteY292" fmla="*/ 2742961 h 4073898"/>
              <a:gd name="connsiteX293" fmla="*/ 5304649 w 6697570"/>
              <a:gd name="connsiteY293" fmla="*/ 2733241 h 4073898"/>
              <a:gd name="connsiteX294" fmla="*/ 5172855 w 6697570"/>
              <a:gd name="connsiteY294" fmla="*/ 2775838 h 4073898"/>
              <a:gd name="connsiteX295" fmla="*/ 4994175 w 6697570"/>
              <a:gd name="connsiteY295" fmla="*/ 2821580 h 4073898"/>
              <a:gd name="connsiteX296" fmla="*/ 4945003 w 6697570"/>
              <a:gd name="connsiteY296" fmla="*/ 2862462 h 4073898"/>
              <a:gd name="connsiteX297" fmla="*/ 5325520 w 6697570"/>
              <a:gd name="connsiteY297" fmla="*/ 3318739 h 4073898"/>
              <a:gd name="connsiteX298" fmla="*/ 5376693 w 6697570"/>
              <a:gd name="connsiteY298" fmla="*/ 3275856 h 4073898"/>
              <a:gd name="connsiteX299" fmla="*/ 5451882 w 6697570"/>
              <a:gd name="connsiteY299" fmla="*/ 3110327 h 4073898"/>
              <a:gd name="connsiteX300" fmla="*/ 5517350 w 6697570"/>
              <a:gd name="connsiteY300" fmla="*/ 2988252 h 4073898"/>
              <a:gd name="connsiteX301" fmla="*/ 4501304 w 6697570"/>
              <a:gd name="connsiteY301" fmla="*/ 2731525 h 4073898"/>
              <a:gd name="connsiteX302" fmla="*/ 4360933 w 6697570"/>
              <a:gd name="connsiteY302" fmla="*/ 2871896 h 4073898"/>
              <a:gd name="connsiteX303" fmla="*/ 4360933 w 6697570"/>
              <a:gd name="connsiteY303" fmla="*/ 2967383 h 4073898"/>
              <a:gd name="connsiteX304" fmla="*/ 4432119 w 6697570"/>
              <a:gd name="connsiteY304" fmla="*/ 2967383 h 4073898"/>
              <a:gd name="connsiteX305" fmla="*/ 4561054 w 6697570"/>
              <a:gd name="connsiteY305" fmla="*/ 2838447 h 4073898"/>
              <a:gd name="connsiteX306" fmla="*/ 4561054 w 6697570"/>
              <a:gd name="connsiteY306" fmla="*/ 2731525 h 4073898"/>
              <a:gd name="connsiteX307" fmla="*/ 5513919 w 6697570"/>
              <a:gd name="connsiteY307" fmla="*/ 2715802 h 4073898"/>
              <a:gd name="connsiteX308" fmla="*/ 5397563 w 6697570"/>
              <a:gd name="connsiteY308" fmla="*/ 2812432 h 4073898"/>
              <a:gd name="connsiteX309" fmla="*/ 5397563 w 6697570"/>
              <a:gd name="connsiteY309" fmla="*/ 2825297 h 4073898"/>
              <a:gd name="connsiteX310" fmla="*/ 5410429 w 6697570"/>
              <a:gd name="connsiteY310" fmla="*/ 2827584 h 4073898"/>
              <a:gd name="connsiteX311" fmla="*/ 5526498 w 6697570"/>
              <a:gd name="connsiteY311" fmla="*/ 2730953 h 4073898"/>
              <a:gd name="connsiteX312" fmla="*/ 5526498 w 6697570"/>
              <a:gd name="connsiteY312" fmla="*/ 2718089 h 4073898"/>
              <a:gd name="connsiteX313" fmla="*/ 5513919 w 6697570"/>
              <a:gd name="connsiteY313" fmla="*/ 2715802 h 4073898"/>
              <a:gd name="connsiteX314" fmla="*/ 5491335 w 6697570"/>
              <a:gd name="connsiteY314" fmla="*/ 2688642 h 4073898"/>
              <a:gd name="connsiteX315" fmla="*/ 5375264 w 6697570"/>
              <a:gd name="connsiteY315" fmla="*/ 2785844 h 4073898"/>
              <a:gd name="connsiteX316" fmla="*/ 5375264 w 6697570"/>
              <a:gd name="connsiteY316" fmla="*/ 2798709 h 4073898"/>
              <a:gd name="connsiteX317" fmla="*/ 5387842 w 6697570"/>
              <a:gd name="connsiteY317" fmla="*/ 2800996 h 4073898"/>
              <a:gd name="connsiteX318" fmla="*/ 5503913 w 6697570"/>
              <a:gd name="connsiteY318" fmla="*/ 2704080 h 4073898"/>
              <a:gd name="connsiteX319" fmla="*/ 5503913 w 6697570"/>
              <a:gd name="connsiteY319" fmla="*/ 2691215 h 4073898"/>
              <a:gd name="connsiteX320" fmla="*/ 5491335 w 6697570"/>
              <a:gd name="connsiteY320" fmla="*/ 2688642 h 4073898"/>
              <a:gd name="connsiteX321" fmla="*/ 5468463 w 6697570"/>
              <a:gd name="connsiteY321" fmla="*/ 2661482 h 4073898"/>
              <a:gd name="connsiteX322" fmla="*/ 5352679 w 6697570"/>
              <a:gd name="connsiteY322" fmla="*/ 2758398 h 4073898"/>
              <a:gd name="connsiteX323" fmla="*/ 5352679 w 6697570"/>
              <a:gd name="connsiteY323" fmla="*/ 2771264 h 4073898"/>
              <a:gd name="connsiteX324" fmla="*/ 5365258 w 6697570"/>
              <a:gd name="connsiteY324" fmla="*/ 2773551 h 4073898"/>
              <a:gd name="connsiteX325" fmla="*/ 5481328 w 6697570"/>
              <a:gd name="connsiteY325" fmla="*/ 2676921 h 4073898"/>
              <a:gd name="connsiteX326" fmla="*/ 5481328 w 6697570"/>
              <a:gd name="connsiteY326" fmla="*/ 2664056 h 4073898"/>
              <a:gd name="connsiteX327" fmla="*/ 5468463 w 6697570"/>
              <a:gd name="connsiteY327" fmla="*/ 2661482 h 4073898"/>
              <a:gd name="connsiteX328" fmla="*/ 5445878 w 6697570"/>
              <a:gd name="connsiteY328" fmla="*/ 2634323 h 4073898"/>
              <a:gd name="connsiteX329" fmla="*/ 5329807 w 6697570"/>
              <a:gd name="connsiteY329" fmla="*/ 2731239 h 4073898"/>
              <a:gd name="connsiteX330" fmla="*/ 5329807 w 6697570"/>
              <a:gd name="connsiteY330" fmla="*/ 2744104 h 4073898"/>
              <a:gd name="connsiteX331" fmla="*/ 5342387 w 6697570"/>
              <a:gd name="connsiteY331" fmla="*/ 2746391 h 4073898"/>
              <a:gd name="connsiteX332" fmla="*/ 5458457 w 6697570"/>
              <a:gd name="connsiteY332" fmla="*/ 2649762 h 4073898"/>
              <a:gd name="connsiteX333" fmla="*/ 5458457 w 6697570"/>
              <a:gd name="connsiteY333" fmla="*/ 2636896 h 4073898"/>
              <a:gd name="connsiteX334" fmla="*/ 5445878 w 6697570"/>
              <a:gd name="connsiteY334" fmla="*/ 2634323 h 4073898"/>
              <a:gd name="connsiteX335" fmla="*/ 5423293 w 6697570"/>
              <a:gd name="connsiteY335" fmla="*/ 2606878 h 4073898"/>
              <a:gd name="connsiteX336" fmla="*/ 5306936 w 6697570"/>
              <a:gd name="connsiteY336" fmla="*/ 2703508 h 4073898"/>
              <a:gd name="connsiteX337" fmla="*/ 5306936 w 6697570"/>
              <a:gd name="connsiteY337" fmla="*/ 2716373 h 4073898"/>
              <a:gd name="connsiteX338" fmla="*/ 5319801 w 6697570"/>
              <a:gd name="connsiteY338" fmla="*/ 2718660 h 4073898"/>
              <a:gd name="connsiteX339" fmla="*/ 5435872 w 6697570"/>
              <a:gd name="connsiteY339" fmla="*/ 2622030 h 4073898"/>
              <a:gd name="connsiteX340" fmla="*/ 5435872 w 6697570"/>
              <a:gd name="connsiteY340" fmla="*/ 2609165 h 4073898"/>
              <a:gd name="connsiteX341" fmla="*/ 5423293 w 6697570"/>
              <a:gd name="connsiteY341" fmla="*/ 2606878 h 4073898"/>
              <a:gd name="connsiteX342" fmla="*/ 5431298 w 6697570"/>
              <a:gd name="connsiteY342" fmla="*/ 2586616 h 4073898"/>
              <a:gd name="connsiteX343" fmla="*/ 5444449 w 6697570"/>
              <a:gd name="connsiteY343" fmla="*/ 2593441 h 4073898"/>
              <a:gd name="connsiteX344" fmla="*/ 5680021 w 6697570"/>
              <a:gd name="connsiteY344" fmla="*/ 2875898 h 4073898"/>
              <a:gd name="connsiteX345" fmla="*/ 5677733 w 6697570"/>
              <a:gd name="connsiteY345" fmla="*/ 2903058 h 4073898"/>
              <a:gd name="connsiteX346" fmla="*/ 5541079 w 6697570"/>
              <a:gd name="connsiteY346" fmla="*/ 3016841 h 4073898"/>
              <a:gd name="connsiteX347" fmla="*/ 5531645 w 6697570"/>
              <a:gd name="connsiteY347" fmla="*/ 3005691 h 4073898"/>
              <a:gd name="connsiteX348" fmla="*/ 5474181 w 6697570"/>
              <a:gd name="connsiteY348" fmla="*/ 3109755 h 4073898"/>
              <a:gd name="connsiteX349" fmla="*/ 5391845 w 6697570"/>
              <a:gd name="connsiteY349" fmla="*/ 3292151 h 4073898"/>
              <a:gd name="connsiteX350" fmla="*/ 5059358 w 6697570"/>
              <a:gd name="connsiteY350" fmla="*/ 3570035 h 4073898"/>
              <a:gd name="connsiteX351" fmla="*/ 4926419 w 6697570"/>
              <a:gd name="connsiteY351" fmla="*/ 3558027 h 4073898"/>
              <a:gd name="connsiteX352" fmla="*/ 4637958 w 6697570"/>
              <a:gd name="connsiteY352" fmla="*/ 3211816 h 4073898"/>
              <a:gd name="connsiteX353" fmla="*/ 4649966 w 6697570"/>
              <a:gd name="connsiteY353" fmla="*/ 3078879 h 4073898"/>
              <a:gd name="connsiteX354" fmla="*/ 4980738 w 6697570"/>
              <a:gd name="connsiteY354" fmla="*/ 2803569 h 4073898"/>
              <a:gd name="connsiteX355" fmla="*/ 5177143 w 6697570"/>
              <a:gd name="connsiteY355" fmla="*/ 2753825 h 4073898"/>
              <a:gd name="connsiteX356" fmla="*/ 5290069 w 6697570"/>
              <a:gd name="connsiteY356" fmla="*/ 2716087 h 4073898"/>
              <a:gd name="connsiteX357" fmla="*/ 5280635 w 6697570"/>
              <a:gd name="connsiteY357" fmla="*/ 2704937 h 4073898"/>
              <a:gd name="connsiteX358" fmla="*/ 5417289 w 6697570"/>
              <a:gd name="connsiteY358" fmla="*/ 2591154 h 4073898"/>
              <a:gd name="connsiteX359" fmla="*/ 5431298 w 6697570"/>
              <a:gd name="connsiteY359" fmla="*/ 2586616 h 4073898"/>
              <a:gd name="connsiteX360" fmla="*/ 5976056 w 6697570"/>
              <a:gd name="connsiteY360" fmla="*/ 2538006 h 4073898"/>
              <a:gd name="connsiteX361" fmla="*/ 5907016 w 6697570"/>
              <a:gd name="connsiteY361" fmla="*/ 2583150 h 4073898"/>
              <a:gd name="connsiteX362" fmla="*/ 5872710 w 6697570"/>
              <a:gd name="connsiteY362" fmla="*/ 2639183 h 4073898"/>
              <a:gd name="connsiteX363" fmla="*/ 5914449 w 6697570"/>
              <a:gd name="connsiteY363" fmla="*/ 2664914 h 4073898"/>
              <a:gd name="connsiteX364" fmla="*/ 6036239 w 6697570"/>
              <a:gd name="connsiteY364" fmla="*/ 2635468 h 4073898"/>
              <a:gd name="connsiteX365" fmla="*/ 6074833 w 6697570"/>
              <a:gd name="connsiteY365" fmla="*/ 2572858 h 4073898"/>
              <a:gd name="connsiteX366" fmla="*/ 6039954 w 6697570"/>
              <a:gd name="connsiteY366" fmla="*/ 2551416 h 4073898"/>
              <a:gd name="connsiteX367" fmla="*/ 6003945 w 6697570"/>
              <a:gd name="connsiteY367" fmla="*/ 2538163 h 4073898"/>
              <a:gd name="connsiteX368" fmla="*/ 5976056 w 6697570"/>
              <a:gd name="connsiteY368" fmla="*/ 2538006 h 4073898"/>
              <a:gd name="connsiteX369" fmla="*/ 2566127 w 6697570"/>
              <a:gd name="connsiteY369" fmla="*/ 2494525 h 4073898"/>
              <a:gd name="connsiteX370" fmla="*/ 2543542 w 6697570"/>
              <a:gd name="connsiteY370" fmla="*/ 2517110 h 4073898"/>
              <a:gd name="connsiteX371" fmla="*/ 2566127 w 6697570"/>
              <a:gd name="connsiteY371" fmla="*/ 2539695 h 4073898"/>
              <a:gd name="connsiteX372" fmla="*/ 2659327 w 6697570"/>
              <a:gd name="connsiteY372" fmla="*/ 2539695 h 4073898"/>
              <a:gd name="connsiteX373" fmla="*/ 2659327 w 6697570"/>
              <a:gd name="connsiteY373" fmla="*/ 2494811 h 4073898"/>
              <a:gd name="connsiteX374" fmla="*/ 2659327 w 6697570"/>
              <a:gd name="connsiteY374" fmla="*/ 2494525 h 4073898"/>
              <a:gd name="connsiteX375" fmla="*/ 1865987 w 6697570"/>
              <a:gd name="connsiteY375" fmla="*/ 2474798 h 4073898"/>
              <a:gd name="connsiteX376" fmla="*/ 1814526 w 6697570"/>
              <a:gd name="connsiteY376" fmla="*/ 2527972 h 4073898"/>
              <a:gd name="connsiteX377" fmla="*/ 1817672 w 6697570"/>
              <a:gd name="connsiteY377" fmla="*/ 2773837 h 4073898"/>
              <a:gd name="connsiteX378" fmla="*/ 1902294 w 6697570"/>
              <a:gd name="connsiteY378" fmla="*/ 2856173 h 4073898"/>
              <a:gd name="connsiteX379" fmla="*/ 1963760 w 6697570"/>
              <a:gd name="connsiteY379" fmla="*/ 2792992 h 4073898"/>
              <a:gd name="connsiteX380" fmla="*/ 1960902 w 6697570"/>
              <a:gd name="connsiteY380" fmla="*/ 2567140 h 4073898"/>
              <a:gd name="connsiteX381" fmla="*/ 1423720 w 6697570"/>
              <a:gd name="connsiteY381" fmla="*/ 2414476 h 4073898"/>
              <a:gd name="connsiteX382" fmla="*/ 1507771 w 6697570"/>
              <a:gd name="connsiteY382" fmla="*/ 2495954 h 4073898"/>
              <a:gd name="connsiteX383" fmla="*/ 1392557 w 6697570"/>
              <a:gd name="connsiteY383" fmla="*/ 2613740 h 4073898"/>
              <a:gd name="connsiteX384" fmla="*/ 1514345 w 6697570"/>
              <a:gd name="connsiteY384" fmla="*/ 2732955 h 4073898"/>
              <a:gd name="connsiteX385" fmla="*/ 1427435 w 6697570"/>
              <a:gd name="connsiteY385" fmla="*/ 2823295 h 4073898"/>
              <a:gd name="connsiteX386" fmla="*/ 1305646 w 6697570"/>
              <a:gd name="connsiteY386" fmla="*/ 2703795 h 4073898"/>
              <a:gd name="connsiteX387" fmla="*/ 1191007 w 6697570"/>
              <a:gd name="connsiteY387" fmla="*/ 2821008 h 4073898"/>
              <a:gd name="connsiteX388" fmla="*/ 1107240 w 6697570"/>
              <a:gd name="connsiteY388" fmla="*/ 2739817 h 4073898"/>
              <a:gd name="connsiteX389" fmla="*/ 1221596 w 6697570"/>
              <a:gd name="connsiteY389" fmla="*/ 2622602 h 4073898"/>
              <a:gd name="connsiteX390" fmla="*/ 1102094 w 6697570"/>
              <a:gd name="connsiteY390" fmla="*/ 2506818 h 4073898"/>
              <a:gd name="connsiteX391" fmla="*/ 1189291 w 6697570"/>
              <a:gd name="connsiteY391" fmla="*/ 2416477 h 4073898"/>
              <a:gd name="connsiteX392" fmla="*/ 1308506 w 6697570"/>
              <a:gd name="connsiteY392" fmla="*/ 2532262 h 4073898"/>
              <a:gd name="connsiteX393" fmla="*/ 2566127 w 6697570"/>
              <a:gd name="connsiteY393" fmla="*/ 2387603 h 4073898"/>
              <a:gd name="connsiteX394" fmla="*/ 2543542 w 6697570"/>
              <a:gd name="connsiteY394" fmla="*/ 2410188 h 4073898"/>
              <a:gd name="connsiteX395" fmla="*/ 2566127 w 6697570"/>
              <a:gd name="connsiteY395" fmla="*/ 2432772 h 4073898"/>
              <a:gd name="connsiteX396" fmla="*/ 2659327 w 6697570"/>
              <a:gd name="connsiteY396" fmla="*/ 2432772 h 4073898"/>
              <a:gd name="connsiteX397" fmla="*/ 2659327 w 6697570"/>
              <a:gd name="connsiteY397" fmla="*/ 2387889 h 4073898"/>
              <a:gd name="connsiteX398" fmla="*/ 2659327 w 6697570"/>
              <a:gd name="connsiteY398" fmla="*/ 2387603 h 4073898"/>
              <a:gd name="connsiteX399" fmla="*/ 715001 w 6697570"/>
              <a:gd name="connsiteY399" fmla="*/ 2382742 h 4073898"/>
              <a:gd name="connsiteX400" fmla="*/ 653534 w 6697570"/>
              <a:gd name="connsiteY400" fmla="*/ 2445924 h 4073898"/>
              <a:gd name="connsiteX401" fmla="*/ 656680 w 6697570"/>
              <a:gd name="connsiteY401" fmla="*/ 2671775 h 4073898"/>
              <a:gd name="connsiteX402" fmla="*/ 751309 w 6697570"/>
              <a:gd name="connsiteY402" fmla="*/ 2764117 h 4073898"/>
              <a:gd name="connsiteX403" fmla="*/ 803054 w 6697570"/>
              <a:gd name="connsiteY403" fmla="*/ 2710942 h 4073898"/>
              <a:gd name="connsiteX404" fmla="*/ 799624 w 6697570"/>
              <a:gd name="connsiteY404" fmla="*/ 2465078 h 4073898"/>
              <a:gd name="connsiteX405" fmla="*/ 4129935 w 6697570"/>
              <a:gd name="connsiteY405" fmla="*/ 2379311 h 4073898"/>
              <a:gd name="connsiteX406" fmla="*/ 4129935 w 6697570"/>
              <a:gd name="connsiteY406" fmla="*/ 2514536 h 4073898"/>
              <a:gd name="connsiteX407" fmla="*/ 4270306 w 6697570"/>
              <a:gd name="connsiteY407" fmla="*/ 2514822 h 4073898"/>
              <a:gd name="connsiteX408" fmla="*/ 4270878 w 6697570"/>
              <a:gd name="connsiteY408" fmla="*/ 2618028 h 4073898"/>
              <a:gd name="connsiteX409" fmla="*/ 4130507 w 6697570"/>
              <a:gd name="connsiteY409" fmla="*/ 2617741 h 4073898"/>
              <a:gd name="connsiteX410" fmla="*/ 4130507 w 6697570"/>
              <a:gd name="connsiteY410" fmla="*/ 2752395 h 4073898"/>
              <a:gd name="connsiteX411" fmla="*/ 4034449 w 6697570"/>
              <a:gd name="connsiteY411" fmla="*/ 2752681 h 4073898"/>
              <a:gd name="connsiteX412" fmla="*/ 4034449 w 6697570"/>
              <a:gd name="connsiteY412" fmla="*/ 2618028 h 4073898"/>
              <a:gd name="connsiteX413" fmla="*/ 3897794 w 6697570"/>
              <a:gd name="connsiteY413" fmla="*/ 2618599 h 4073898"/>
              <a:gd name="connsiteX414" fmla="*/ 3897222 w 6697570"/>
              <a:gd name="connsiteY414" fmla="*/ 2515394 h 4073898"/>
              <a:gd name="connsiteX415" fmla="*/ 4033877 w 6697570"/>
              <a:gd name="connsiteY415" fmla="*/ 2515108 h 4073898"/>
              <a:gd name="connsiteX416" fmla="*/ 4033877 w 6697570"/>
              <a:gd name="connsiteY416" fmla="*/ 2379597 h 4073898"/>
              <a:gd name="connsiteX417" fmla="*/ 1424861 w 6697570"/>
              <a:gd name="connsiteY417" fmla="*/ 2366732 h 4073898"/>
              <a:gd name="connsiteX418" fmla="*/ 1306789 w 6697570"/>
              <a:gd name="connsiteY418" fmla="*/ 2487949 h 4073898"/>
              <a:gd name="connsiteX419" fmla="*/ 1185858 w 6697570"/>
              <a:gd name="connsiteY419" fmla="*/ 2370163 h 4073898"/>
              <a:gd name="connsiteX420" fmla="*/ 1055779 w 6697570"/>
              <a:gd name="connsiteY420" fmla="*/ 2503386 h 4073898"/>
              <a:gd name="connsiteX421" fmla="*/ 1176997 w 6697570"/>
              <a:gd name="connsiteY421" fmla="*/ 2621173 h 4073898"/>
              <a:gd name="connsiteX422" fmla="*/ 1059210 w 6697570"/>
              <a:gd name="connsiteY422" fmla="*/ 2742389 h 4073898"/>
              <a:gd name="connsiteX423" fmla="*/ 1192434 w 6697570"/>
              <a:gd name="connsiteY423" fmla="*/ 2871896 h 4073898"/>
              <a:gd name="connsiteX424" fmla="*/ 1310506 w 6697570"/>
              <a:gd name="connsiteY424" fmla="*/ 2750680 h 4073898"/>
              <a:gd name="connsiteX425" fmla="*/ 1431723 w 6697570"/>
              <a:gd name="connsiteY425" fmla="*/ 2868466 h 4073898"/>
              <a:gd name="connsiteX426" fmla="*/ 1561516 w 6697570"/>
              <a:gd name="connsiteY426" fmla="*/ 2735242 h 4073898"/>
              <a:gd name="connsiteX427" fmla="*/ 1440299 w 6697570"/>
              <a:gd name="connsiteY427" fmla="*/ 2617456 h 4073898"/>
              <a:gd name="connsiteX428" fmla="*/ 1558085 w 6697570"/>
              <a:gd name="connsiteY428" fmla="*/ 2496239 h 4073898"/>
              <a:gd name="connsiteX429" fmla="*/ 4009004 w 6697570"/>
              <a:gd name="connsiteY429" fmla="*/ 2357869 h 4073898"/>
              <a:gd name="connsiteX430" fmla="*/ 4009004 w 6697570"/>
              <a:gd name="connsiteY430" fmla="*/ 2494524 h 4073898"/>
              <a:gd name="connsiteX431" fmla="*/ 3872349 w 6697570"/>
              <a:gd name="connsiteY431" fmla="*/ 2494524 h 4073898"/>
              <a:gd name="connsiteX432" fmla="*/ 3872349 w 6697570"/>
              <a:gd name="connsiteY432" fmla="*/ 2644615 h 4073898"/>
              <a:gd name="connsiteX433" fmla="*/ 4009004 w 6697570"/>
              <a:gd name="connsiteY433" fmla="*/ 2644615 h 4073898"/>
              <a:gd name="connsiteX434" fmla="*/ 4009004 w 6697570"/>
              <a:gd name="connsiteY434" fmla="*/ 2781270 h 4073898"/>
              <a:gd name="connsiteX435" fmla="*/ 4159095 w 6697570"/>
              <a:gd name="connsiteY435" fmla="*/ 2781270 h 4073898"/>
              <a:gd name="connsiteX436" fmla="*/ 4159095 w 6697570"/>
              <a:gd name="connsiteY436" fmla="*/ 2644615 h 4073898"/>
              <a:gd name="connsiteX437" fmla="*/ 4295750 w 6697570"/>
              <a:gd name="connsiteY437" fmla="*/ 2644615 h 4073898"/>
              <a:gd name="connsiteX438" fmla="*/ 4295750 w 6697570"/>
              <a:gd name="connsiteY438" fmla="*/ 2494524 h 4073898"/>
              <a:gd name="connsiteX439" fmla="*/ 4159095 w 6697570"/>
              <a:gd name="connsiteY439" fmla="*/ 2494524 h 4073898"/>
              <a:gd name="connsiteX440" fmla="*/ 4159095 w 6697570"/>
              <a:gd name="connsiteY440" fmla="*/ 2357869 h 4073898"/>
              <a:gd name="connsiteX441" fmla="*/ 5596542 w 6697570"/>
              <a:gd name="connsiteY441" fmla="*/ 2307554 h 4073898"/>
              <a:gd name="connsiteX442" fmla="*/ 5570813 w 6697570"/>
              <a:gd name="connsiteY442" fmla="*/ 2349294 h 4073898"/>
              <a:gd name="connsiteX443" fmla="*/ 5600259 w 6697570"/>
              <a:gd name="connsiteY443" fmla="*/ 2471082 h 4073898"/>
              <a:gd name="connsiteX444" fmla="*/ 5662869 w 6697570"/>
              <a:gd name="connsiteY444" fmla="*/ 2509677 h 4073898"/>
              <a:gd name="connsiteX445" fmla="*/ 5684309 w 6697570"/>
              <a:gd name="connsiteY445" fmla="*/ 2474512 h 4073898"/>
              <a:gd name="connsiteX446" fmla="*/ 5652576 w 6697570"/>
              <a:gd name="connsiteY446" fmla="*/ 2341861 h 4073898"/>
              <a:gd name="connsiteX447" fmla="*/ 2566127 w 6697570"/>
              <a:gd name="connsiteY447" fmla="*/ 2280394 h 4073898"/>
              <a:gd name="connsiteX448" fmla="*/ 2543542 w 6697570"/>
              <a:gd name="connsiteY448" fmla="*/ 2302980 h 4073898"/>
              <a:gd name="connsiteX449" fmla="*/ 2566127 w 6697570"/>
              <a:gd name="connsiteY449" fmla="*/ 2325565 h 4073898"/>
              <a:gd name="connsiteX450" fmla="*/ 2659327 w 6697570"/>
              <a:gd name="connsiteY450" fmla="*/ 2325565 h 4073898"/>
              <a:gd name="connsiteX451" fmla="*/ 2659327 w 6697570"/>
              <a:gd name="connsiteY451" fmla="*/ 2280680 h 4073898"/>
              <a:gd name="connsiteX452" fmla="*/ 2659327 w 6697570"/>
              <a:gd name="connsiteY452" fmla="*/ 2280394 h 4073898"/>
              <a:gd name="connsiteX453" fmla="*/ 3123323 w 6697570"/>
              <a:gd name="connsiteY453" fmla="*/ 2240942 h 4073898"/>
              <a:gd name="connsiteX454" fmla="*/ 2863165 w 6697570"/>
              <a:gd name="connsiteY454" fmla="*/ 2500814 h 4073898"/>
              <a:gd name="connsiteX455" fmla="*/ 2862593 w 6697570"/>
              <a:gd name="connsiteY455" fmla="*/ 2752110 h 4073898"/>
              <a:gd name="connsiteX456" fmla="*/ 2903189 w 6697570"/>
              <a:gd name="connsiteY456" fmla="*/ 2752110 h 4073898"/>
              <a:gd name="connsiteX457" fmla="*/ 2903761 w 6697570"/>
              <a:gd name="connsiteY457" fmla="*/ 2541410 h 4073898"/>
              <a:gd name="connsiteX458" fmla="*/ 3163919 w 6697570"/>
              <a:gd name="connsiteY458" fmla="*/ 2281538 h 4073898"/>
              <a:gd name="connsiteX459" fmla="*/ 3325160 w 6697570"/>
              <a:gd name="connsiteY459" fmla="*/ 2339001 h 4073898"/>
              <a:gd name="connsiteX460" fmla="*/ 3123323 w 6697570"/>
              <a:gd name="connsiteY460" fmla="*/ 2240942 h 4073898"/>
              <a:gd name="connsiteX461" fmla="*/ 3130470 w 6697570"/>
              <a:gd name="connsiteY461" fmla="*/ 2189482 h 4073898"/>
              <a:gd name="connsiteX462" fmla="*/ 3444375 w 6697570"/>
              <a:gd name="connsiteY462" fmla="*/ 2504245 h 4073898"/>
              <a:gd name="connsiteX463" fmla="*/ 3443518 w 6697570"/>
              <a:gd name="connsiteY463" fmla="*/ 2773837 h 4073898"/>
              <a:gd name="connsiteX464" fmla="*/ 3442660 w 6697570"/>
              <a:gd name="connsiteY464" fmla="*/ 3077164 h 4073898"/>
              <a:gd name="connsiteX465" fmla="*/ 3128469 w 6697570"/>
              <a:gd name="connsiteY465" fmla="*/ 3390212 h 4073898"/>
              <a:gd name="connsiteX466" fmla="*/ 3127611 w 6697570"/>
              <a:gd name="connsiteY466" fmla="*/ 3390212 h 4073898"/>
              <a:gd name="connsiteX467" fmla="*/ 2905762 w 6697570"/>
              <a:gd name="connsiteY467" fmla="*/ 3297584 h 4073898"/>
              <a:gd name="connsiteX468" fmla="*/ 2814564 w 6697570"/>
              <a:gd name="connsiteY468" fmla="*/ 3075449 h 4073898"/>
              <a:gd name="connsiteX469" fmla="*/ 2815421 w 6697570"/>
              <a:gd name="connsiteY469" fmla="*/ 2805856 h 4073898"/>
              <a:gd name="connsiteX470" fmla="*/ 2815421 w 6697570"/>
              <a:gd name="connsiteY470" fmla="*/ 2772693 h 4073898"/>
              <a:gd name="connsiteX471" fmla="*/ 2815421 w 6697570"/>
              <a:gd name="connsiteY471" fmla="*/ 2772122 h 4073898"/>
              <a:gd name="connsiteX472" fmla="*/ 2816279 w 6697570"/>
              <a:gd name="connsiteY472" fmla="*/ 2502529 h 4073898"/>
              <a:gd name="connsiteX473" fmla="*/ 3130470 w 6697570"/>
              <a:gd name="connsiteY473" fmla="*/ 2189482 h 4073898"/>
              <a:gd name="connsiteX474" fmla="*/ 5964765 w 6697570"/>
              <a:gd name="connsiteY474" fmla="*/ 2175187 h 4073898"/>
              <a:gd name="connsiteX475" fmla="*/ 6015081 w 6697570"/>
              <a:gd name="connsiteY475" fmla="*/ 2206635 h 4073898"/>
              <a:gd name="connsiteX476" fmla="*/ 5970197 w 6697570"/>
              <a:gd name="connsiteY476" fmla="*/ 2277820 h 4073898"/>
              <a:gd name="connsiteX477" fmla="*/ 6043671 w 6697570"/>
              <a:gd name="connsiteY477" fmla="*/ 2324134 h 4073898"/>
              <a:gd name="connsiteX478" fmla="*/ 6009935 w 6697570"/>
              <a:gd name="connsiteY478" fmla="*/ 2378454 h 4073898"/>
              <a:gd name="connsiteX479" fmla="*/ 5936463 w 6697570"/>
              <a:gd name="connsiteY479" fmla="*/ 2331854 h 4073898"/>
              <a:gd name="connsiteX480" fmla="*/ 5891864 w 6697570"/>
              <a:gd name="connsiteY480" fmla="*/ 2402183 h 4073898"/>
              <a:gd name="connsiteX481" fmla="*/ 5841261 w 6697570"/>
              <a:gd name="connsiteY481" fmla="*/ 2370449 h 4073898"/>
              <a:gd name="connsiteX482" fmla="*/ 5886147 w 6697570"/>
              <a:gd name="connsiteY482" fmla="*/ 2300120 h 4073898"/>
              <a:gd name="connsiteX483" fmla="*/ 5814388 w 6697570"/>
              <a:gd name="connsiteY483" fmla="*/ 2254950 h 4073898"/>
              <a:gd name="connsiteX484" fmla="*/ 5848123 w 6697570"/>
              <a:gd name="connsiteY484" fmla="*/ 2200918 h 4073898"/>
              <a:gd name="connsiteX485" fmla="*/ 5919881 w 6697570"/>
              <a:gd name="connsiteY485" fmla="*/ 2246087 h 4073898"/>
              <a:gd name="connsiteX486" fmla="*/ 2566127 w 6697570"/>
              <a:gd name="connsiteY486" fmla="*/ 2173472 h 4073898"/>
              <a:gd name="connsiteX487" fmla="*/ 2543542 w 6697570"/>
              <a:gd name="connsiteY487" fmla="*/ 2196058 h 4073898"/>
              <a:gd name="connsiteX488" fmla="*/ 2566127 w 6697570"/>
              <a:gd name="connsiteY488" fmla="*/ 2218357 h 4073898"/>
              <a:gd name="connsiteX489" fmla="*/ 2659327 w 6697570"/>
              <a:gd name="connsiteY489" fmla="*/ 2218357 h 4073898"/>
              <a:gd name="connsiteX490" fmla="*/ 2659327 w 6697570"/>
              <a:gd name="connsiteY490" fmla="*/ 2173472 h 4073898"/>
              <a:gd name="connsiteX491" fmla="*/ 4325196 w 6697570"/>
              <a:gd name="connsiteY491" fmla="*/ 2172043 h 4073898"/>
              <a:gd name="connsiteX492" fmla="*/ 4325196 w 6697570"/>
              <a:gd name="connsiteY492" fmla="*/ 2231792 h 4073898"/>
              <a:gd name="connsiteX493" fmla="*/ 4465568 w 6697570"/>
              <a:gd name="connsiteY493" fmla="*/ 2372164 h 4073898"/>
              <a:gd name="connsiteX494" fmla="*/ 4561054 w 6697570"/>
              <a:gd name="connsiteY494" fmla="*/ 2372164 h 4073898"/>
              <a:gd name="connsiteX495" fmla="*/ 4561054 w 6697570"/>
              <a:gd name="connsiteY495" fmla="*/ 2300978 h 4073898"/>
              <a:gd name="connsiteX496" fmla="*/ 4432119 w 6697570"/>
              <a:gd name="connsiteY496" fmla="*/ 2172043 h 4073898"/>
              <a:gd name="connsiteX497" fmla="*/ 3735981 w 6697570"/>
              <a:gd name="connsiteY497" fmla="*/ 2171757 h 4073898"/>
              <a:gd name="connsiteX498" fmla="*/ 3607046 w 6697570"/>
              <a:gd name="connsiteY498" fmla="*/ 2300692 h 4073898"/>
              <a:gd name="connsiteX499" fmla="*/ 3607046 w 6697570"/>
              <a:gd name="connsiteY499" fmla="*/ 2407614 h 4073898"/>
              <a:gd name="connsiteX500" fmla="*/ 3666796 w 6697570"/>
              <a:gd name="connsiteY500" fmla="*/ 2407614 h 4073898"/>
              <a:gd name="connsiteX501" fmla="*/ 3807167 w 6697570"/>
              <a:gd name="connsiteY501" fmla="*/ 2267243 h 4073898"/>
              <a:gd name="connsiteX502" fmla="*/ 3807167 w 6697570"/>
              <a:gd name="connsiteY502" fmla="*/ 2171757 h 4073898"/>
              <a:gd name="connsiteX503" fmla="*/ 5961335 w 6697570"/>
              <a:gd name="connsiteY503" fmla="*/ 2137450 h 4073898"/>
              <a:gd name="connsiteX504" fmla="*/ 5912162 w 6697570"/>
              <a:gd name="connsiteY504" fmla="*/ 2217498 h 4073898"/>
              <a:gd name="connsiteX505" fmla="*/ 5832114 w 6697570"/>
              <a:gd name="connsiteY505" fmla="*/ 2168326 h 4073898"/>
              <a:gd name="connsiteX506" fmla="*/ 5778081 w 6697570"/>
              <a:gd name="connsiteY506" fmla="*/ 2256379 h 4073898"/>
              <a:gd name="connsiteX507" fmla="*/ 5858129 w 6697570"/>
              <a:gd name="connsiteY507" fmla="*/ 2305553 h 4073898"/>
              <a:gd name="connsiteX508" fmla="*/ 5808957 w 6697570"/>
              <a:gd name="connsiteY508" fmla="*/ 2385602 h 4073898"/>
              <a:gd name="connsiteX509" fmla="*/ 5897010 w 6697570"/>
              <a:gd name="connsiteY509" fmla="*/ 2439634 h 4073898"/>
              <a:gd name="connsiteX510" fmla="*/ 5946469 w 6697570"/>
              <a:gd name="connsiteY510" fmla="*/ 2359585 h 4073898"/>
              <a:gd name="connsiteX511" fmla="*/ 6026231 w 6697570"/>
              <a:gd name="connsiteY511" fmla="*/ 2408758 h 4073898"/>
              <a:gd name="connsiteX512" fmla="*/ 6080265 w 6697570"/>
              <a:gd name="connsiteY512" fmla="*/ 2320705 h 4073898"/>
              <a:gd name="connsiteX513" fmla="*/ 6000215 w 6697570"/>
              <a:gd name="connsiteY513" fmla="*/ 2271532 h 4073898"/>
              <a:gd name="connsiteX514" fmla="*/ 6049389 w 6697570"/>
              <a:gd name="connsiteY514" fmla="*/ 2191484 h 4073898"/>
              <a:gd name="connsiteX515" fmla="*/ 4000427 w 6697570"/>
              <a:gd name="connsiteY515" fmla="*/ 2085418 h 4073898"/>
              <a:gd name="connsiteX516" fmla="*/ 3906084 w 6697570"/>
              <a:gd name="connsiteY516" fmla="*/ 2149171 h 4073898"/>
              <a:gd name="connsiteX517" fmla="*/ 4267447 w 6697570"/>
              <a:gd name="connsiteY517" fmla="*/ 2149171 h 4073898"/>
              <a:gd name="connsiteX518" fmla="*/ 4173390 w 6697570"/>
              <a:gd name="connsiteY518" fmla="*/ 2085418 h 4073898"/>
              <a:gd name="connsiteX519" fmla="*/ 1549548 w 6697570"/>
              <a:gd name="connsiteY519" fmla="*/ 2083229 h 4073898"/>
              <a:gd name="connsiteX520" fmla="*/ 1514058 w 6697570"/>
              <a:gd name="connsiteY520" fmla="*/ 2093137 h 4073898"/>
              <a:gd name="connsiteX521" fmla="*/ 1834539 w 6697570"/>
              <a:gd name="connsiteY521" fmla="*/ 2405042 h 4073898"/>
              <a:gd name="connsiteX522" fmla="*/ 1805950 w 6697570"/>
              <a:gd name="connsiteY522" fmla="*/ 2267243 h 4073898"/>
              <a:gd name="connsiteX523" fmla="*/ 1652428 w 6697570"/>
              <a:gd name="connsiteY523" fmla="*/ 2117724 h 4073898"/>
              <a:gd name="connsiteX524" fmla="*/ 1549548 w 6697570"/>
              <a:gd name="connsiteY524" fmla="*/ 2083229 h 4073898"/>
              <a:gd name="connsiteX525" fmla="*/ 6195477 w 6697570"/>
              <a:gd name="connsiteY525" fmla="*/ 2067408 h 4073898"/>
              <a:gd name="connsiteX526" fmla="*/ 6174036 w 6697570"/>
              <a:gd name="connsiteY526" fmla="*/ 2102572 h 4073898"/>
              <a:gd name="connsiteX527" fmla="*/ 6205484 w 6697570"/>
              <a:gd name="connsiteY527" fmla="*/ 2235510 h 4073898"/>
              <a:gd name="connsiteX528" fmla="*/ 6261517 w 6697570"/>
              <a:gd name="connsiteY528" fmla="*/ 2269816 h 4073898"/>
              <a:gd name="connsiteX529" fmla="*/ 6287248 w 6697570"/>
              <a:gd name="connsiteY529" fmla="*/ 2228077 h 4073898"/>
              <a:gd name="connsiteX530" fmla="*/ 6258087 w 6697570"/>
              <a:gd name="connsiteY530" fmla="*/ 2106002 h 4073898"/>
              <a:gd name="connsiteX531" fmla="*/ 4000427 w 6697570"/>
              <a:gd name="connsiteY531" fmla="*/ 2038533 h 4073898"/>
              <a:gd name="connsiteX532" fmla="*/ 4173390 w 6697570"/>
              <a:gd name="connsiteY532" fmla="*/ 2038533 h 4073898"/>
              <a:gd name="connsiteX533" fmla="*/ 4316906 w 6697570"/>
              <a:gd name="connsiteY533" fmla="*/ 2149171 h 4073898"/>
              <a:gd name="connsiteX534" fmla="*/ 4432119 w 6697570"/>
              <a:gd name="connsiteY534" fmla="*/ 2149171 h 4073898"/>
              <a:gd name="connsiteX535" fmla="*/ 4583926 w 6697570"/>
              <a:gd name="connsiteY535" fmla="*/ 2300978 h 4073898"/>
              <a:gd name="connsiteX536" fmla="*/ 4583926 w 6697570"/>
              <a:gd name="connsiteY536" fmla="*/ 2838161 h 4073898"/>
              <a:gd name="connsiteX537" fmla="*/ 4432119 w 6697570"/>
              <a:gd name="connsiteY537" fmla="*/ 2989968 h 4073898"/>
              <a:gd name="connsiteX538" fmla="*/ 3735981 w 6697570"/>
              <a:gd name="connsiteY538" fmla="*/ 2989968 h 4073898"/>
              <a:gd name="connsiteX539" fmla="*/ 3584174 w 6697570"/>
              <a:gd name="connsiteY539" fmla="*/ 2838161 h 4073898"/>
              <a:gd name="connsiteX540" fmla="*/ 3584174 w 6697570"/>
              <a:gd name="connsiteY540" fmla="*/ 2300978 h 4073898"/>
              <a:gd name="connsiteX541" fmla="*/ 3735981 w 6697570"/>
              <a:gd name="connsiteY541" fmla="*/ 2149171 h 4073898"/>
              <a:gd name="connsiteX542" fmla="*/ 3856912 w 6697570"/>
              <a:gd name="connsiteY542" fmla="*/ 2149171 h 4073898"/>
              <a:gd name="connsiteX543" fmla="*/ 4000427 w 6697570"/>
              <a:gd name="connsiteY543" fmla="*/ 2038533 h 4073898"/>
              <a:gd name="connsiteX544" fmla="*/ 5748920 w 6697570"/>
              <a:gd name="connsiteY544" fmla="*/ 2029956 h 4073898"/>
              <a:gd name="connsiteX545" fmla="*/ 5677733 w 6697570"/>
              <a:gd name="connsiteY545" fmla="*/ 2061976 h 4073898"/>
              <a:gd name="connsiteX546" fmla="*/ 5615411 w 6697570"/>
              <a:gd name="connsiteY546" fmla="*/ 2163180 h 4073898"/>
              <a:gd name="connsiteX547" fmla="*/ 5618841 w 6697570"/>
              <a:gd name="connsiteY547" fmla="*/ 2241514 h 4073898"/>
              <a:gd name="connsiteX548" fmla="*/ 2807416 w 6697570"/>
              <a:gd name="connsiteY548" fmla="*/ 1947335 h 4073898"/>
              <a:gd name="connsiteX549" fmla="*/ 2807416 w 6697570"/>
              <a:gd name="connsiteY549" fmla="*/ 2010802 h 4073898"/>
              <a:gd name="connsiteX550" fmla="*/ 2897185 w 6697570"/>
              <a:gd name="connsiteY550" fmla="*/ 2100571 h 4073898"/>
              <a:gd name="connsiteX551" fmla="*/ 3459527 w 6697570"/>
              <a:gd name="connsiteY551" fmla="*/ 2100571 h 4073898"/>
              <a:gd name="connsiteX552" fmla="*/ 3549010 w 6697570"/>
              <a:gd name="connsiteY552" fmla="*/ 2010802 h 4073898"/>
              <a:gd name="connsiteX553" fmla="*/ 3549010 w 6697570"/>
              <a:gd name="connsiteY553" fmla="*/ 1947335 h 4073898"/>
              <a:gd name="connsiteX554" fmla="*/ 1229600 w 6697570"/>
              <a:gd name="connsiteY554" fmla="*/ 1920997 h 4073898"/>
              <a:gd name="connsiteX555" fmla="*/ 1116960 w 6697570"/>
              <a:gd name="connsiteY555" fmla="*/ 1969062 h 4073898"/>
              <a:gd name="connsiteX556" fmla="*/ 1024617 w 6697570"/>
              <a:gd name="connsiteY556" fmla="*/ 2063977 h 4073898"/>
              <a:gd name="connsiteX557" fmla="*/ 1077793 w 6697570"/>
              <a:gd name="connsiteY557" fmla="*/ 2115722 h 4073898"/>
              <a:gd name="connsiteX558" fmla="*/ 1323657 w 6697570"/>
              <a:gd name="connsiteY558" fmla="*/ 2112292 h 4073898"/>
              <a:gd name="connsiteX559" fmla="*/ 1406278 w 6697570"/>
              <a:gd name="connsiteY559" fmla="*/ 2027669 h 4073898"/>
              <a:gd name="connsiteX560" fmla="*/ 1343097 w 6697570"/>
              <a:gd name="connsiteY560" fmla="*/ 1966203 h 4073898"/>
              <a:gd name="connsiteX561" fmla="*/ 1229600 w 6697570"/>
              <a:gd name="connsiteY561" fmla="*/ 1920997 h 4073898"/>
              <a:gd name="connsiteX562" fmla="*/ 5884866 w 6697570"/>
              <a:gd name="connsiteY562" fmla="*/ 1900269 h 4073898"/>
              <a:gd name="connsiteX563" fmla="*/ 5821822 w 6697570"/>
              <a:gd name="connsiteY563" fmla="*/ 1941618 h 4073898"/>
              <a:gd name="connsiteX564" fmla="*/ 5783227 w 6697570"/>
              <a:gd name="connsiteY564" fmla="*/ 2004226 h 4073898"/>
              <a:gd name="connsiteX565" fmla="*/ 5818105 w 6697570"/>
              <a:gd name="connsiteY565" fmla="*/ 2025668 h 4073898"/>
              <a:gd name="connsiteX566" fmla="*/ 5951043 w 6697570"/>
              <a:gd name="connsiteY566" fmla="*/ 1993934 h 4073898"/>
              <a:gd name="connsiteX567" fmla="*/ 5985351 w 6697570"/>
              <a:gd name="connsiteY567" fmla="*/ 1938186 h 4073898"/>
              <a:gd name="connsiteX568" fmla="*/ 5943610 w 6697570"/>
              <a:gd name="connsiteY568" fmla="*/ 1912457 h 4073898"/>
              <a:gd name="connsiteX569" fmla="*/ 5910509 w 6697570"/>
              <a:gd name="connsiteY569" fmla="*/ 1900409 h 4073898"/>
              <a:gd name="connsiteX570" fmla="*/ 5884866 w 6697570"/>
              <a:gd name="connsiteY570" fmla="*/ 1900269 h 4073898"/>
              <a:gd name="connsiteX571" fmla="*/ 5174531 w 6697570"/>
              <a:gd name="connsiteY571" fmla="*/ 1893544 h 4073898"/>
              <a:gd name="connsiteX572" fmla="*/ 5068792 w 6697570"/>
              <a:gd name="connsiteY572" fmla="*/ 1905596 h 4073898"/>
              <a:gd name="connsiteX573" fmla="*/ 5075939 w 6697570"/>
              <a:gd name="connsiteY573" fmla="*/ 1923892 h 4073898"/>
              <a:gd name="connsiteX574" fmla="*/ 5398993 w 6697570"/>
              <a:gd name="connsiteY574" fmla="*/ 2097712 h 4073898"/>
              <a:gd name="connsiteX575" fmla="*/ 5381554 w 6697570"/>
              <a:gd name="connsiteY575" fmla="*/ 2332712 h 4073898"/>
              <a:gd name="connsiteX576" fmla="*/ 5413859 w 6697570"/>
              <a:gd name="connsiteY576" fmla="*/ 2073412 h 4073898"/>
              <a:gd name="connsiteX577" fmla="*/ 5174531 w 6697570"/>
              <a:gd name="connsiteY577" fmla="*/ 1893544 h 4073898"/>
              <a:gd name="connsiteX578" fmla="*/ 5005038 w 6697570"/>
              <a:gd name="connsiteY578" fmla="*/ 1893016 h 4073898"/>
              <a:gd name="connsiteX579" fmla="*/ 5234321 w 6697570"/>
              <a:gd name="connsiteY579" fmla="*/ 2499384 h 4073898"/>
              <a:gd name="connsiteX580" fmla="*/ 4833220 w 6697570"/>
              <a:gd name="connsiteY580" fmla="*/ 2304408 h 4073898"/>
              <a:gd name="connsiteX581" fmla="*/ 5005038 w 6697570"/>
              <a:gd name="connsiteY581" fmla="*/ 1893016 h 4073898"/>
              <a:gd name="connsiteX582" fmla="*/ 1228885 w 6697570"/>
              <a:gd name="connsiteY582" fmla="*/ 1892766 h 4073898"/>
              <a:gd name="connsiteX583" fmla="*/ 1362538 w 6697570"/>
              <a:gd name="connsiteY583" fmla="*/ 1945905 h 4073898"/>
              <a:gd name="connsiteX584" fmla="*/ 1470031 w 6697570"/>
              <a:gd name="connsiteY584" fmla="*/ 2050540 h 4073898"/>
              <a:gd name="connsiteX585" fmla="*/ 1692738 w 6697570"/>
              <a:gd name="connsiteY585" fmla="*/ 2076270 h 4073898"/>
              <a:gd name="connsiteX586" fmla="*/ 1846260 w 6697570"/>
              <a:gd name="connsiteY586" fmla="*/ 2225790 h 4073898"/>
              <a:gd name="connsiteX587" fmla="*/ 1877993 w 6697570"/>
              <a:gd name="connsiteY587" fmla="*/ 2447638 h 4073898"/>
              <a:gd name="connsiteX588" fmla="*/ 1980342 w 6697570"/>
              <a:gd name="connsiteY588" fmla="*/ 2547127 h 4073898"/>
              <a:gd name="connsiteX589" fmla="*/ 1984058 w 6697570"/>
              <a:gd name="connsiteY589" fmla="*/ 2812432 h 4073898"/>
              <a:gd name="connsiteX590" fmla="*/ 1969027 w 6697570"/>
              <a:gd name="connsiteY590" fmla="*/ 2827870 h 4073898"/>
              <a:gd name="connsiteX591" fmla="*/ 2263657 w 6697570"/>
              <a:gd name="connsiteY591" fmla="*/ 2827870 h 4073898"/>
              <a:gd name="connsiteX592" fmla="*/ 2279667 w 6697570"/>
              <a:gd name="connsiteY592" fmla="*/ 2843880 h 4073898"/>
              <a:gd name="connsiteX593" fmla="*/ 2279667 w 6697570"/>
              <a:gd name="connsiteY593" fmla="*/ 2992541 h 4073898"/>
              <a:gd name="connsiteX594" fmla="*/ 2267660 w 6697570"/>
              <a:gd name="connsiteY594" fmla="*/ 2992541 h 4073898"/>
              <a:gd name="connsiteX595" fmla="*/ 2303682 w 6697570"/>
              <a:gd name="connsiteY595" fmla="*/ 3085169 h 4073898"/>
              <a:gd name="connsiteX596" fmla="*/ 2376583 w 6697570"/>
              <a:gd name="connsiteY596" fmla="*/ 3235546 h 4073898"/>
              <a:gd name="connsiteX597" fmla="*/ 2377155 w 6697570"/>
              <a:gd name="connsiteY597" fmla="*/ 3597195 h 4073898"/>
              <a:gd name="connsiteX598" fmla="*/ 2298250 w 6697570"/>
              <a:gd name="connsiteY598" fmla="*/ 3676100 h 4073898"/>
              <a:gd name="connsiteX599" fmla="*/ 1921735 w 6697570"/>
              <a:gd name="connsiteY599" fmla="*/ 3676100 h 4073898"/>
              <a:gd name="connsiteX600" fmla="*/ 1842830 w 6697570"/>
              <a:gd name="connsiteY600" fmla="*/ 3597195 h 4073898"/>
              <a:gd name="connsiteX601" fmla="*/ 1843116 w 6697570"/>
              <a:gd name="connsiteY601" fmla="*/ 3237833 h 4073898"/>
              <a:gd name="connsiteX602" fmla="*/ 1916303 w 6697570"/>
              <a:gd name="connsiteY602" fmla="*/ 3085169 h 4073898"/>
              <a:gd name="connsiteX603" fmla="*/ 1952611 w 6697570"/>
              <a:gd name="connsiteY603" fmla="*/ 2992541 h 4073898"/>
              <a:gd name="connsiteX604" fmla="*/ 1940318 w 6697570"/>
              <a:gd name="connsiteY604" fmla="*/ 2992541 h 4073898"/>
              <a:gd name="connsiteX605" fmla="*/ 1940318 w 6697570"/>
              <a:gd name="connsiteY605" fmla="*/ 2857358 h 4073898"/>
              <a:gd name="connsiteX606" fmla="*/ 1520062 w 6697570"/>
              <a:gd name="connsiteY606" fmla="*/ 3289007 h 4073898"/>
              <a:gd name="connsiteX607" fmla="*/ 1254471 w 6697570"/>
              <a:gd name="connsiteY607" fmla="*/ 3292724 h 4073898"/>
              <a:gd name="connsiteX608" fmla="*/ 636954 w 6697570"/>
              <a:gd name="connsiteY608" fmla="*/ 2691787 h 4073898"/>
              <a:gd name="connsiteX609" fmla="*/ 633236 w 6697570"/>
              <a:gd name="connsiteY609" fmla="*/ 2426197 h 4073898"/>
              <a:gd name="connsiteX610" fmla="*/ 1096947 w 6697570"/>
              <a:gd name="connsiteY610" fmla="*/ 1949622 h 4073898"/>
              <a:gd name="connsiteX611" fmla="*/ 1228885 w 6697570"/>
              <a:gd name="connsiteY611" fmla="*/ 1892766 h 4073898"/>
              <a:gd name="connsiteX612" fmla="*/ 5882779 w 6697570"/>
              <a:gd name="connsiteY612" fmla="*/ 1884768 h 4073898"/>
              <a:gd name="connsiteX613" fmla="*/ 5912949 w 6697570"/>
              <a:gd name="connsiteY613" fmla="*/ 1884963 h 4073898"/>
              <a:gd name="connsiteX614" fmla="*/ 5951901 w 6697570"/>
              <a:gd name="connsiteY614" fmla="*/ 1899306 h 4073898"/>
              <a:gd name="connsiteX615" fmla="*/ 6266663 w 6697570"/>
              <a:gd name="connsiteY615" fmla="*/ 2092852 h 4073898"/>
              <a:gd name="connsiteX616" fmla="*/ 6300685 w 6697570"/>
              <a:gd name="connsiteY616" fmla="*/ 2236367 h 4073898"/>
              <a:gd name="connsiteX617" fmla="*/ 6049960 w 6697570"/>
              <a:gd name="connsiteY617" fmla="*/ 2644044 h 4073898"/>
              <a:gd name="connsiteX618" fmla="*/ 5906445 w 6697570"/>
              <a:gd name="connsiteY618" fmla="*/ 2678064 h 4073898"/>
              <a:gd name="connsiteX619" fmla="*/ 5591682 w 6697570"/>
              <a:gd name="connsiteY619" fmla="*/ 2484518 h 4073898"/>
              <a:gd name="connsiteX620" fmla="*/ 5557375 w 6697570"/>
              <a:gd name="connsiteY620" fmla="*/ 2341002 h 4073898"/>
              <a:gd name="connsiteX621" fmla="*/ 5601116 w 6697570"/>
              <a:gd name="connsiteY621" fmla="*/ 2270103 h 4073898"/>
              <a:gd name="connsiteX622" fmla="*/ 5587966 w 6697570"/>
              <a:gd name="connsiteY622" fmla="*/ 2146313 h 4073898"/>
              <a:gd name="connsiteX623" fmla="*/ 5650289 w 6697570"/>
              <a:gd name="connsiteY623" fmla="*/ 2044823 h 4073898"/>
              <a:gd name="connsiteX624" fmla="*/ 5766645 w 6697570"/>
              <a:gd name="connsiteY624" fmla="*/ 2000796 h 4073898"/>
              <a:gd name="connsiteX625" fmla="*/ 5808099 w 6697570"/>
              <a:gd name="connsiteY625" fmla="*/ 1933326 h 4073898"/>
              <a:gd name="connsiteX626" fmla="*/ 5882779 w 6697570"/>
              <a:gd name="connsiteY626" fmla="*/ 1884768 h 4073898"/>
              <a:gd name="connsiteX627" fmla="*/ 5162569 w 6697570"/>
              <a:gd name="connsiteY627" fmla="*/ 1865580 h 4073898"/>
              <a:gd name="connsiteX628" fmla="*/ 5440733 w 6697570"/>
              <a:gd name="connsiteY628" fmla="*/ 2074555 h 4073898"/>
              <a:gd name="connsiteX629" fmla="*/ 5268913 w 6697570"/>
              <a:gd name="connsiteY629" fmla="*/ 2485948 h 4073898"/>
              <a:gd name="connsiteX630" fmla="*/ 5039632 w 6697570"/>
              <a:gd name="connsiteY630" fmla="*/ 1879579 h 4073898"/>
              <a:gd name="connsiteX631" fmla="*/ 5162569 w 6697570"/>
              <a:gd name="connsiteY631" fmla="*/ 1865580 h 4073898"/>
              <a:gd name="connsiteX632" fmla="*/ 759601 w 6697570"/>
              <a:gd name="connsiteY632" fmla="*/ 1705474 h 4073898"/>
              <a:gd name="connsiteX633" fmla="*/ 721577 w 6697570"/>
              <a:gd name="connsiteY633" fmla="*/ 1712621 h 4073898"/>
              <a:gd name="connsiteX634" fmla="*/ 737873 w 6697570"/>
              <a:gd name="connsiteY634" fmla="*/ 1734348 h 4073898"/>
              <a:gd name="connsiteX635" fmla="*/ 819352 w 6697570"/>
              <a:gd name="connsiteY635" fmla="*/ 1944191 h 4073898"/>
              <a:gd name="connsiteX636" fmla="*/ 632667 w 6697570"/>
              <a:gd name="connsiteY636" fmla="*/ 2063120 h 4073898"/>
              <a:gd name="connsiteX637" fmla="*/ 383372 w 6697570"/>
              <a:gd name="connsiteY637" fmla="*/ 1873290 h 4073898"/>
              <a:gd name="connsiteX638" fmla="*/ 297320 w 6697570"/>
              <a:gd name="connsiteY638" fmla="*/ 1716052 h 4073898"/>
              <a:gd name="connsiteX639" fmla="*/ 276164 w 6697570"/>
              <a:gd name="connsiteY639" fmla="*/ 1744640 h 4073898"/>
              <a:gd name="connsiteX640" fmla="*/ 351067 w 6697570"/>
              <a:gd name="connsiteY640" fmla="*/ 1886155 h 4073898"/>
              <a:gd name="connsiteX641" fmla="*/ 639528 w 6697570"/>
              <a:gd name="connsiteY641" fmla="*/ 2097998 h 4073898"/>
              <a:gd name="connsiteX642" fmla="*/ 852801 w 6697570"/>
              <a:gd name="connsiteY642" fmla="*/ 1955340 h 4073898"/>
              <a:gd name="connsiteX643" fmla="*/ 763602 w 6697570"/>
              <a:gd name="connsiteY643" fmla="*/ 1710619 h 4073898"/>
              <a:gd name="connsiteX644" fmla="*/ 759601 w 6697570"/>
              <a:gd name="connsiteY644" fmla="*/ 1705474 h 4073898"/>
              <a:gd name="connsiteX645" fmla="*/ 1248183 w 6697570"/>
              <a:gd name="connsiteY645" fmla="*/ 1639719 h 4073898"/>
              <a:gd name="connsiteX646" fmla="*/ 1235031 w 6697570"/>
              <a:gd name="connsiteY646" fmla="*/ 1643150 h 4073898"/>
              <a:gd name="connsiteX647" fmla="*/ 1233317 w 6697570"/>
              <a:gd name="connsiteY647" fmla="*/ 1645151 h 4073898"/>
              <a:gd name="connsiteX648" fmla="*/ 1232744 w 6697570"/>
              <a:gd name="connsiteY648" fmla="*/ 1643722 h 4073898"/>
              <a:gd name="connsiteX649" fmla="*/ 1225597 w 6697570"/>
              <a:gd name="connsiteY649" fmla="*/ 1645723 h 4073898"/>
              <a:gd name="connsiteX650" fmla="*/ 1226169 w 6697570"/>
              <a:gd name="connsiteY650" fmla="*/ 1658017 h 4073898"/>
              <a:gd name="connsiteX651" fmla="*/ 1237034 w 6697570"/>
              <a:gd name="connsiteY651" fmla="*/ 1669166 h 4073898"/>
              <a:gd name="connsiteX652" fmla="*/ 1247611 w 6697570"/>
              <a:gd name="connsiteY652" fmla="*/ 1658588 h 4073898"/>
              <a:gd name="connsiteX653" fmla="*/ 3207945 w 6697570"/>
              <a:gd name="connsiteY653" fmla="*/ 1630571 h 4073898"/>
              <a:gd name="connsiteX654" fmla="*/ 3208231 w 6697570"/>
              <a:gd name="connsiteY654" fmla="*/ 1718053 h 4073898"/>
              <a:gd name="connsiteX655" fmla="*/ 3299144 w 6697570"/>
              <a:gd name="connsiteY655" fmla="*/ 1718053 h 4073898"/>
              <a:gd name="connsiteX656" fmla="*/ 3299716 w 6697570"/>
              <a:gd name="connsiteY656" fmla="*/ 1784664 h 4073898"/>
              <a:gd name="connsiteX657" fmla="*/ 3208517 w 6697570"/>
              <a:gd name="connsiteY657" fmla="*/ 1784664 h 4073898"/>
              <a:gd name="connsiteX658" fmla="*/ 3208803 w 6697570"/>
              <a:gd name="connsiteY658" fmla="*/ 1871574 h 4073898"/>
              <a:gd name="connsiteX659" fmla="*/ 3146194 w 6697570"/>
              <a:gd name="connsiteY659" fmla="*/ 1871860 h 4073898"/>
              <a:gd name="connsiteX660" fmla="*/ 3146194 w 6697570"/>
              <a:gd name="connsiteY660" fmla="*/ 1784950 h 4073898"/>
              <a:gd name="connsiteX661" fmla="*/ 3057282 w 6697570"/>
              <a:gd name="connsiteY661" fmla="*/ 1785521 h 4073898"/>
              <a:gd name="connsiteX662" fmla="*/ 3056711 w 6697570"/>
              <a:gd name="connsiteY662" fmla="*/ 1718910 h 4073898"/>
              <a:gd name="connsiteX663" fmla="*/ 3145621 w 6697570"/>
              <a:gd name="connsiteY663" fmla="*/ 1718339 h 4073898"/>
              <a:gd name="connsiteX664" fmla="*/ 3145336 w 6697570"/>
              <a:gd name="connsiteY664" fmla="*/ 1630857 h 4073898"/>
              <a:gd name="connsiteX665" fmla="*/ 2001497 w 6697570"/>
              <a:gd name="connsiteY665" fmla="*/ 1615705 h 4073898"/>
              <a:gd name="connsiteX666" fmla="*/ 2173030 w 6697570"/>
              <a:gd name="connsiteY666" fmla="*/ 1615705 h 4073898"/>
              <a:gd name="connsiteX667" fmla="*/ 1966619 w 6697570"/>
              <a:gd name="connsiteY667" fmla="*/ 1827548 h 4073898"/>
              <a:gd name="connsiteX668" fmla="*/ 3125895 w 6697570"/>
              <a:gd name="connsiteY668" fmla="*/ 1604270 h 4073898"/>
              <a:gd name="connsiteX669" fmla="*/ 3125895 w 6697570"/>
              <a:gd name="connsiteY669" fmla="*/ 1699185 h 4073898"/>
              <a:gd name="connsiteX670" fmla="*/ 3030981 w 6697570"/>
              <a:gd name="connsiteY670" fmla="*/ 1699185 h 4073898"/>
              <a:gd name="connsiteX671" fmla="*/ 3030981 w 6697570"/>
              <a:gd name="connsiteY671" fmla="*/ 1803534 h 4073898"/>
              <a:gd name="connsiteX672" fmla="*/ 3125895 w 6697570"/>
              <a:gd name="connsiteY672" fmla="*/ 1803534 h 4073898"/>
              <a:gd name="connsiteX673" fmla="*/ 3125895 w 6697570"/>
              <a:gd name="connsiteY673" fmla="*/ 1898448 h 4073898"/>
              <a:gd name="connsiteX674" fmla="*/ 3230530 w 6697570"/>
              <a:gd name="connsiteY674" fmla="*/ 1898448 h 4073898"/>
              <a:gd name="connsiteX675" fmla="*/ 3230530 w 6697570"/>
              <a:gd name="connsiteY675" fmla="*/ 1803534 h 4073898"/>
              <a:gd name="connsiteX676" fmla="*/ 3325445 w 6697570"/>
              <a:gd name="connsiteY676" fmla="*/ 1803534 h 4073898"/>
              <a:gd name="connsiteX677" fmla="*/ 3325445 w 6697570"/>
              <a:gd name="connsiteY677" fmla="*/ 1699185 h 4073898"/>
              <a:gd name="connsiteX678" fmla="*/ 3230530 w 6697570"/>
              <a:gd name="connsiteY678" fmla="*/ 1699185 h 4073898"/>
              <a:gd name="connsiteX679" fmla="*/ 3230530 w 6697570"/>
              <a:gd name="connsiteY679" fmla="*/ 1604270 h 4073898"/>
              <a:gd name="connsiteX680" fmla="*/ 1234460 w 6697570"/>
              <a:gd name="connsiteY680" fmla="*/ 1516215 h 4073898"/>
              <a:gd name="connsiteX681" fmla="*/ 1222168 w 6697570"/>
              <a:gd name="connsiteY681" fmla="*/ 1532797 h 4073898"/>
              <a:gd name="connsiteX682" fmla="*/ 1224454 w 6697570"/>
              <a:gd name="connsiteY682" fmla="*/ 1602554 h 4073898"/>
              <a:gd name="connsiteX683" fmla="*/ 1235604 w 6697570"/>
              <a:gd name="connsiteY683" fmla="*/ 1630285 h 4073898"/>
              <a:gd name="connsiteX684" fmla="*/ 1246467 w 6697570"/>
              <a:gd name="connsiteY684" fmla="*/ 1618278 h 4073898"/>
              <a:gd name="connsiteX685" fmla="*/ 1249326 w 6697570"/>
              <a:gd name="connsiteY685" fmla="*/ 1615133 h 4073898"/>
              <a:gd name="connsiteX686" fmla="*/ 1252185 w 6697570"/>
              <a:gd name="connsiteY686" fmla="*/ 1525936 h 4073898"/>
              <a:gd name="connsiteX687" fmla="*/ 1251327 w 6697570"/>
              <a:gd name="connsiteY687" fmla="*/ 1525650 h 4073898"/>
              <a:gd name="connsiteX688" fmla="*/ 1234460 w 6697570"/>
              <a:gd name="connsiteY688" fmla="*/ 1516215 h 4073898"/>
              <a:gd name="connsiteX689" fmla="*/ 4126504 w 6697570"/>
              <a:gd name="connsiteY689" fmla="*/ 1487626 h 4073898"/>
              <a:gd name="connsiteX690" fmla="*/ 4096200 w 6697570"/>
              <a:gd name="connsiteY690" fmla="*/ 1515644 h 4073898"/>
              <a:gd name="connsiteX691" fmla="*/ 4151091 w 6697570"/>
              <a:gd name="connsiteY691" fmla="*/ 1692609 h 4073898"/>
              <a:gd name="connsiteX692" fmla="*/ 4434120 w 6697570"/>
              <a:gd name="connsiteY692" fmla="*/ 1995936 h 4073898"/>
              <a:gd name="connsiteX693" fmla="*/ 4707429 w 6697570"/>
              <a:gd name="connsiteY693" fmla="*/ 1879294 h 4073898"/>
              <a:gd name="connsiteX694" fmla="*/ 4658542 w 6697570"/>
              <a:gd name="connsiteY694" fmla="*/ 1581112 h 4073898"/>
              <a:gd name="connsiteX695" fmla="*/ 4655112 w 6697570"/>
              <a:gd name="connsiteY695" fmla="*/ 1574537 h 4073898"/>
              <a:gd name="connsiteX696" fmla="*/ 4610227 w 6697570"/>
              <a:gd name="connsiteY696" fmla="*/ 1574537 h 4073898"/>
              <a:gd name="connsiteX697" fmla="*/ 4624235 w 6697570"/>
              <a:gd name="connsiteY697" fmla="*/ 1602840 h 4073898"/>
              <a:gd name="connsiteX698" fmla="*/ 4671979 w 6697570"/>
              <a:gd name="connsiteY698" fmla="*/ 1859282 h 4073898"/>
              <a:gd name="connsiteX699" fmla="*/ 4433834 w 6697570"/>
              <a:gd name="connsiteY699" fmla="*/ 1954768 h 4073898"/>
              <a:gd name="connsiteX700" fmla="*/ 4190829 w 6697570"/>
              <a:gd name="connsiteY700" fmla="*/ 1685176 h 4073898"/>
              <a:gd name="connsiteX701" fmla="*/ 4126504 w 6697570"/>
              <a:gd name="connsiteY701" fmla="*/ 1487626 h 4073898"/>
              <a:gd name="connsiteX702" fmla="*/ 1678158 w 6697570"/>
              <a:gd name="connsiteY702" fmla="*/ 1471617 h 4073898"/>
              <a:gd name="connsiteX703" fmla="*/ 1725615 w 6697570"/>
              <a:gd name="connsiteY703" fmla="*/ 1796671 h 4073898"/>
              <a:gd name="connsiteX704" fmla="*/ 1736765 w 6697570"/>
              <a:gd name="connsiteY704" fmla="*/ 1805248 h 4073898"/>
              <a:gd name="connsiteX705" fmla="*/ 1748200 w 6697570"/>
              <a:gd name="connsiteY705" fmla="*/ 1796958 h 4073898"/>
              <a:gd name="connsiteX706" fmla="*/ 1777075 w 6697570"/>
              <a:gd name="connsiteY706" fmla="*/ 1660589 h 4073898"/>
              <a:gd name="connsiteX707" fmla="*/ 1779362 w 6697570"/>
              <a:gd name="connsiteY707" fmla="*/ 1680887 h 4073898"/>
              <a:gd name="connsiteX708" fmla="*/ 1791370 w 6697570"/>
              <a:gd name="connsiteY708" fmla="*/ 1691465 h 4073898"/>
              <a:gd name="connsiteX709" fmla="*/ 1802519 w 6697570"/>
              <a:gd name="connsiteY709" fmla="*/ 1683745 h 4073898"/>
              <a:gd name="connsiteX710" fmla="*/ 1871990 w 6697570"/>
              <a:gd name="connsiteY710" fmla="*/ 1491629 h 4073898"/>
              <a:gd name="connsiteX711" fmla="*/ 1926881 w 6697570"/>
              <a:gd name="connsiteY711" fmla="*/ 1857566 h 4073898"/>
              <a:gd name="connsiteX712" fmla="*/ 1843401 w 6697570"/>
              <a:gd name="connsiteY712" fmla="*/ 1915030 h 4073898"/>
              <a:gd name="connsiteX713" fmla="*/ 1513487 w 6697570"/>
              <a:gd name="connsiteY713" fmla="*/ 1615418 h 4073898"/>
              <a:gd name="connsiteX714" fmla="*/ 1621553 w 6697570"/>
              <a:gd name="connsiteY714" fmla="*/ 1615418 h 4073898"/>
              <a:gd name="connsiteX715" fmla="*/ 1632988 w 6697570"/>
              <a:gd name="connsiteY715" fmla="*/ 1607414 h 4073898"/>
              <a:gd name="connsiteX716" fmla="*/ 6065685 w 6697570"/>
              <a:gd name="connsiteY716" fmla="*/ 1429878 h 4073898"/>
              <a:gd name="connsiteX717" fmla="*/ 6058537 w 6697570"/>
              <a:gd name="connsiteY717" fmla="*/ 1471903 h 4073898"/>
              <a:gd name="connsiteX718" fmla="*/ 6107710 w 6697570"/>
              <a:gd name="connsiteY718" fmla="*/ 1541089 h 4073898"/>
              <a:gd name="connsiteX719" fmla="*/ 6478793 w 6697570"/>
              <a:gd name="connsiteY719" fmla="*/ 1603983 h 4073898"/>
              <a:gd name="connsiteX720" fmla="*/ 6548263 w 6697570"/>
              <a:gd name="connsiteY720" fmla="*/ 1554810 h 4073898"/>
              <a:gd name="connsiteX721" fmla="*/ 6555411 w 6697570"/>
              <a:gd name="connsiteY721" fmla="*/ 1512785 h 4073898"/>
              <a:gd name="connsiteX722" fmla="*/ 1230744 w 6697570"/>
              <a:gd name="connsiteY722" fmla="*/ 1380704 h 4073898"/>
              <a:gd name="connsiteX723" fmla="*/ 1228458 w 6697570"/>
              <a:gd name="connsiteY723" fmla="*/ 1388710 h 4073898"/>
              <a:gd name="connsiteX724" fmla="*/ 1228170 w 6697570"/>
              <a:gd name="connsiteY724" fmla="*/ 1391283 h 4073898"/>
              <a:gd name="connsiteX725" fmla="*/ 1240464 w 6697570"/>
              <a:gd name="connsiteY725" fmla="*/ 1425303 h 4073898"/>
              <a:gd name="connsiteX726" fmla="*/ 1230744 w 6697570"/>
              <a:gd name="connsiteY726" fmla="*/ 1380704 h 4073898"/>
              <a:gd name="connsiteX727" fmla="*/ 1228743 w 6697570"/>
              <a:gd name="connsiteY727" fmla="*/ 1349543 h 4073898"/>
              <a:gd name="connsiteX728" fmla="*/ 1236462 w 6697570"/>
              <a:gd name="connsiteY728" fmla="*/ 1355261 h 4073898"/>
              <a:gd name="connsiteX729" fmla="*/ 1252471 w 6697570"/>
              <a:gd name="connsiteY729" fmla="*/ 1452177 h 4073898"/>
              <a:gd name="connsiteX730" fmla="*/ 1244753 w 6697570"/>
              <a:gd name="connsiteY730" fmla="*/ 1464184 h 4073898"/>
              <a:gd name="connsiteX731" fmla="*/ 1234746 w 6697570"/>
              <a:gd name="connsiteY731" fmla="*/ 1453892 h 4073898"/>
              <a:gd name="connsiteX732" fmla="*/ 1205585 w 6697570"/>
              <a:gd name="connsiteY732" fmla="*/ 1386994 h 4073898"/>
              <a:gd name="connsiteX733" fmla="*/ 1221881 w 6697570"/>
              <a:gd name="connsiteY733" fmla="*/ 1356118 h 4073898"/>
              <a:gd name="connsiteX734" fmla="*/ 2324265 w 6697570"/>
              <a:gd name="connsiteY734" fmla="*/ 1325529 h 4073898"/>
              <a:gd name="connsiteX735" fmla="*/ 2289673 w 6697570"/>
              <a:gd name="connsiteY735" fmla="*/ 1360121 h 4073898"/>
              <a:gd name="connsiteX736" fmla="*/ 2324265 w 6697570"/>
              <a:gd name="connsiteY736" fmla="*/ 1394713 h 4073898"/>
              <a:gd name="connsiteX737" fmla="*/ 2461492 w 6697570"/>
              <a:gd name="connsiteY737" fmla="*/ 1394713 h 4073898"/>
              <a:gd name="connsiteX738" fmla="*/ 2461492 w 6697570"/>
              <a:gd name="connsiteY738" fmla="*/ 1676027 h 4073898"/>
              <a:gd name="connsiteX739" fmla="*/ 2408888 w 6697570"/>
              <a:gd name="connsiteY739" fmla="*/ 1676027 h 4073898"/>
              <a:gd name="connsiteX740" fmla="*/ 2369150 w 6697570"/>
              <a:gd name="connsiteY740" fmla="*/ 1685747 h 4073898"/>
              <a:gd name="connsiteX741" fmla="*/ 2323408 w 6697570"/>
              <a:gd name="connsiteY741" fmla="*/ 1761222 h 4073898"/>
              <a:gd name="connsiteX742" fmla="*/ 2323408 w 6697570"/>
              <a:gd name="connsiteY742" fmla="*/ 2120297 h 4073898"/>
              <a:gd name="connsiteX743" fmla="*/ 2658754 w 6697570"/>
              <a:gd name="connsiteY743" fmla="*/ 2120297 h 4073898"/>
              <a:gd name="connsiteX744" fmla="*/ 2658754 w 6697570"/>
              <a:gd name="connsiteY744" fmla="*/ 2112864 h 4073898"/>
              <a:gd name="connsiteX745" fmla="*/ 2565555 w 6697570"/>
              <a:gd name="connsiteY745" fmla="*/ 2112864 h 4073898"/>
              <a:gd name="connsiteX746" fmla="*/ 2542971 w 6697570"/>
              <a:gd name="connsiteY746" fmla="*/ 2090565 h 4073898"/>
              <a:gd name="connsiteX747" fmla="*/ 2565555 w 6697570"/>
              <a:gd name="connsiteY747" fmla="*/ 2067980 h 4073898"/>
              <a:gd name="connsiteX748" fmla="*/ 2659041 w 6697570"/>
              <a:gd name="connsiteY748" fmla="*/ 2067980 h 4073898"/>
              <a:gd name="connsiteX749" fmla="*/ 2659041 w 6697570"/>
              <a:gd name="connsiteY749" fmla="*/ 2005656 h 4073898"/>
              <a:gd name="connsiteX750" fmla="*/ 2565841 w 6697570"/>
              <a:gd name="connsiteY750" fmla="*/ 2005656 h 4073898"/>
              <a:gd name="connsiteX751" fmla="*/ 2543256 w 6697570"/>
              <a:gd name="connsiteY751" fmla="*/ 1983071 h 4073898"/>
              <a:gd name="connsiteX752" fmla="*/ 2565841 w 6697570"/>
              <a:gd name="connsiteY752" fmla="*/ 1960485 h 4073898"/>
              <a:gd name="connsiteX753" fmla="*/ 2659327 w 6697570"/>
              <a:gd name="connsiteY753" fmla="*/ 1960485 h 4073898"/>
              <a:gd name="connsiteX754" fmla="*/ 2659327 w 6697570"/>
              <a:gd name="connsiteY754" fmla="*/ 1898448 h 4073898"/>
              <a:gd name="connsiteX755" fmla="*/ 2566127 w 6697570"/>
              <a:gd name="connsiteY755" fmla="*/ 1898448 h 4073898"/>
              <a:gd name="connsiteX756" fmla="*/ 2543542 w 6697570"/>
              <a:gd name="connsiteY756" fmla="*/ 1875863 h 4073898"/>
              <a:gd name="connsiteX757" fmla="*/ 2566127 w 6697570"/>
              <a:gd name="connsiteY757" fmla="*/ 1853278 h 4073898"/>
              <a:gd name="connsiteX758" fmla="*/ 2659613 w 6697570"/>
              <a:gd name="connsiteY758" fmla="*/ 1853278 h 4073898"/>
              <a:gd name="connsiteX759" fmla="*/ 2659613 w 6697570"/>
              <a:gd name="connsiteY759" fmla="*/ 1790954 h 4073898"/>
              <a:gd name="connsiteX760" fmla="*/ 2566127 w 6697570"/>
              <a:gd name="connsiteY760" fmla="*/ 1790954 h 4073898"/>
              <a:gd name="connsiteX761" fmla="*/ 2543542 w 6697570"/>
              <a:gd name="connsiteY761" fmla="*/ 1768369 h 4073898"/>
              <a:gd name="connsiteX762" fmla="*/ 2566127 w 6697570"/>
              <a:gd name="connsiteY762" fmla="*/ 1745784 h 4073898"/>
              <a:gd name="connsiteX763" fmla="*/ 2657897 w 6697570"/>
              <a:gd name="connsiteY763" fmla="*/ 1745784 h 4073898"/>
              <a:gd name="connsiteX764" fmla="*/ 2634454 w 6697570"/>
              <a:gd name="connsiteY764" fmla="*/ 1701472 h 4073898"/>
              <a:gd name="connsiteX765" fmla="*/ 2574132 w 6697570"/>
              <a:gd name="connsiteY765" fmla="*/ 1676313 h 4073898"/>
              <a:gd name="connsiteX766" fmla="*/ 2521814 w 6697570"/>
              <a:gd name="connsiteY766" fmla="*/ 1676313 h 4073898"/>
              <a:gd name="connsiteX767" fmla="*/ 2521814 w 6697570"/>
              <a:gd name="connsiteY767" fmla="*/ 1394713 h 4073898"/>
              <a:gd name="connsiteX768" fmla="*/ 2659041 w 6697570"/>
              <a:gd name="connsiteY768" fmla="*/ 1394713 h 4073898"/>
              <a:gd name="connsiteX769" fmla="*/ 2675050 w 6697570"/>
              <a:gd name="connsiteY769" fmla="*/ 1390710 h 4073898"/>
              <a:gd name="connsiteX770" fmla="*/ 2693633 w 6697570"/>
              <a:gd name="connsiteY770" fmla="*/ 1360121 h 4073898"/>
              <a:gd name="connsiteX771" fmla="*/ 2659041 w 6697570"/>
              <a:gd name="connsiteY771" fmla="*/ 1325529 h 4073898"/>
              <a:gd name="connsiteX772" fmla="*/ 3671656 w 6697570"/>
              <a:gd name="connsiteY772" fmla="*/ 1316381 h 4073898"/>
              <a:gd name="connsiteX773" fmla="*/ 3659649 w 6697570"/>
              <a:gd name="connsiteY773" fmla="*/ 1319526 h 4073898"/>
              <a:gd name="connsiteX774" fmla="*/ 3658220 w 6697570"/>
              <a:gd name="connsiteY774" fmla="*/ 1321241 h 4073898"/>
              <a:gd name="connsiteX775" fmla="*/ 3657648 w 6697570"/>
              <a:gd name="connsiteY775" fmla="*/ 1320097 h 4073898"/>
              <a:gd name="connsiteX776" fmla="*/ 3650787 w 6697570"/>
              <a:gd name="connsiteY776" fmla="*/ 1321813 h 4073898"/>
              <a:gd name="connsiteX777" fmla="*/ 3651073 w 6697570"/>
              <a:gd name="connsiteY777" fmla="*/ 1333249 h 4073898"/>
              <a:gd name="connsiteX778" fmla="*/ 3661079 w 6697570"/>
              <a:gd name="connsiteY778" fmla="*/ 1343540 h 4073898"/>
              <a:gd name="connsiteX779" fmla="*/ 3671085 w 6697570"/>
              <a:gd name="connsiteY779" fmla="*/ 1333820 h 4073898"/>
              <a:gd name="connsiteX780" fmla="*/ 5094906 w 6697570"/>
              <a:gd name="connsiteY780" fmla="*/ 1289930 h 4073898"/>
              <a:gd name="connsiteX781" fmla="*/ 5012472 w 6697570"/>
              <a:gd name="connsiteY781" fmla="*/ 1299226 h 4073898"/>
              <a:gd name="connsiteX782" fmla="*/ 5017904 w 6697570"/>
              <a:gd name="connsiteY782" fmla="*/ 1313521 h 4073898"/>
              <a:gd name="connsiteX783" fmla="*/ 5269485 w 6697570"/>
              <a:gd name="connsiteY783" fmla="*/ 1448745 h 4073898"/>
              <a:gd name="connsiteX784" fmla="*/ 5255763 w 6697570"/>
              <a:gd name="connsiteY784" fmla="*/ 1632000 h 4073898"/>
              <a:gd name="connsiteX785" fmla="*/ 5281207 w 6697570"/>
              <a:gd name="connsiteY785" fmla="*/ 1429878 h 4073898"/>
              <a:gd name="connsiteX786" fmla="*/ 5094906 w 6697570"/>
              <a:gd name="connsiteY786" fmla="*/ 1289930 h 4073898"/>
              <a:gd name="connsiteX787" fmla="*/ 4962442 w 6697570"/>
              <a:gd name="connsiteY787" fmla="*/ 1289221 h 4073898"/>
              <a:gd name="connsiteX788" fmla="*/ 5140835 w 6697570"/>
              <a:gd name="connsiteY788" fmla="*/ 1761507 h 4073898"/>
              <a:gd name="connsiteX789" fmla="*/ 4828646 w 6697570"/>
              <a:gd name="connsiteY789" fmla="*/ 1609702 h 4073898"/>
              <a:gd name="connsiteX790" fmla="*/ 4962442 w 6697570"/>
              <a:gd name="connsiteY790" fmla="*/ 1289221 h 4073898"/>
              <a:gd name="connsiteX791" fmla="*/ 2324838 w 6697570"/>
              <a:gd name="connsiteY791" fmla="*/ 1286934 h 4073898"/>
              <a:gd name="connsiteX792" fmla="*/ 2659613 w 6697570"/>
              <a:gd name="connsiteY792" fmla="*/ 1286934 h 4073898"/>
              <a:gd name="connsiteX793" fmla="*/ 2732228 w 6697570"/>
              <a:gd name="connsiteY793" fmla="*/ 1359549 h 4073898"/>
              <a:gd name="connsiteX794" fmla="*/ 2693062 w 6697570"/>
              <a:gd name="connsiteY794" fmla="*/ 1423874 h 4073898"/>
              <a:gd name="connsiteX795" fmla="*/ 2659327 w 6697570"/>
              <a:gd name="connsiteY795" fmla="*/ 1432165 h 4073898"/>
              <a:gd name="connsiteX796" fmla="*/ 2560124 w 6697570"/>
              <a:gd name="connsiteY796" fmla="*/ 1432165 h 4073898"/>
              <a:gd name="connsiteX797" fmla="*/ 2560124 w 6697570"/>
              <a:gd name="connsiteY797" fmla="*/ 1637432 h 4073898"/>
              <a:gd name="connsiteX798" fmla="*/ 2574418 w 6697570"/>
              <a:gd name="connsiteY798" fmla="*/ 1637432 h 4073898"/>
              <a:gd name="connsiteX799" fmla="*/ 2661614 w 6697570"/>
              <a:gd name="connsiteY799" fmla="*/ 1673454 h 4073898"/>
              <a:gd name="connsiteX800" fmla="*/ 2697922 w 6697570"/>
              <a:gd name="connsiteY800" fmla="*/ 1760650 h 4073898"/>
              <a:gd name="connsiteX801" fmla="*/ 2697635 w 6697570"/>
              <a:gd name="connsiteY801" fmla="*/ 2549129 h 4073898"/>
              <a:gd name="connsiteX802" fmla="*/ 2587569 w 6697570"/>
              <a:gd name="connsiteY802" fmla="*/ 2731239 h 4073898"/>
              <a:gd name="connsiteX803" fmla="*/ 2506948 w 6697570"/>
              <a:gd name="connsiteY803" fmla="*/ 2753825 h 4073898"/>
              <a:gd name="connsiteX804" fmla="*/ 2506948 w 6697570"/>
              <a:gd name="connsiteY804" fmla="*/ 3062584 h 4073898"/>
              <a:gd name="connsiteX805" fmla="*/ 2475501 w 6697570"/>
              <a:gd name="connsiteY805" fmla="*/ 3119761 h 4073898"/>
              <a:gd name="connsiteX806" fmla="*/ 2475501 w 6697570"/>
              <a:gd name="connsiteY806" fmla="*/ 2754111 h 4073898"/>
              <a:gd name="connsiteX807" fmla="*/ 2288530 w 6697570"/>
              <a:gd name="connsiteY807" fmla="*/ 2568284 h 4073898"/>
              <a:gd name="connsiteX808" fmla="*/ 2287672 w 6697570"/>
              <a:gd name="connsiteY808" fmla="*/ 2568284 h 4073898"/>
              <a:gd name="connsiteX809" fmla="*/ 2286243 w 6697570"/>
              <a:gd name="connsiteY809" fmla="*/ 2549415 h 4073898"/>
              <a:gd name="connsiteX810" fmla="*/ 2286243 w 6697570"/>
              <a:gd name="connsiteY810" fmla="*/ 1760935 h 4073898"/>
              <a:gd name="connsiteX811" fmla="*/ 2352283 w 6697570"/>
              <a:gd name="connsiteY811" fmla="*/ 1651441 h 4073898"/>
              <a:gd name="connsiteX812" fmla="*/ 2409746 w 6697570"/>
              <a:gd name="connsiteY812" fmla="*/ 1637432 h 4073898"/>
              <a:gd name="connsiteX813" fmla="*/ 2424041 w 6697570"/>
              <a:gd name="connsiteY813" fmla="*/ 1637432 h 4073898"/>
              <a:gd name="connsiteX814" fmla="*/ 2424041 w 6697570"/>
              <a:gd name="connsiteY814" fmla="*/ 1432165 h 4073898"/>
              <a:gd name="connsiteX815" fmla="*/ 2324838 w 6697570"/>
              <a:gd name="connsiteY815" fmla="*/ 1432165 h 4073898"/>
              <a:gd name="connsiteX816" fmla="*/ 2252222 w 6697570"/>
              <a:gd name="connsiteY816" fmla="*/ 1359549 h 4073898"/>
              <a:gd name="connsiteX817" fmla="*/ 2291103 w 6697570"/>
              <a:gd name="connsiteY817" fmla="*/ 1295224 h 4073898"/>
              <a:gd name="connsiteX818" fmla="*/ 2324838 w 6697570"/>
              <a:gd name="connsiteY818" fmla="*/ 1286934 h 4073898"/>
              <a:gd name="connsiteX819" fmla="*/ 5085218 w 6697570"/>
              <a:gd name="connsiteY819" fmla="*/ 1268033 h 4073898"/>
              <a:gd name="connsiteX820" fmla="*/ 5301791 w 6697570"/>
              <a:gd name="connsiteY820" fmla="*/ 1430735 h 4073898"/>
              <a:gd name="connsiteX821" fmla="*/ 5168281 w 6697570"/>
              <a:gd name="connsiteY821" fmla="*/ 1751215 h 4073898"/>
              <a:gd name="connsiteX822" fmla="*/ 4989601 w 6697570"/>
              <a:gd name="connsiteY822" fmla="*/ 1278928 h 4073898"/>
              <a:gd name="connsiteX823" fmla="*/ 5085218 w 6697570"/>
              <a:gd name="connsiteY823" fmla="*/ 1268033 h 4073898"/>
              <a:gd name="connsiteX824" fmla="*/ 6325269 w 6697570"/>
              <a:gd name="connsiteY824" fmla="*/ 1258630 h 4073898"/>
              <a:gd name="connsiteX825" fmla="*/ 6365867 w 6697570"/>
              <a:gd name="connsiteY825" fmla="*/ 1265206 h 4073898"/>
              <a:gd name="connsiteX826" fmla="*/ 6356431 w 6697570"/>
              <a:gd name="connsiteY826" fmla="*/ 1322669 h 4073898"/>
              <a:gd name="connsiteX827" fmla="*/ 6415611 w 6697570"/>
              <a:gd name="connsiteY827" fmla="*/ 1332389 h 4073898"/>
              <a:gd name="connsiteX828" fmla="*/ 6408749 w 6697570"/>
              <a:gd name="connsiteY828" fmla="*/ 1376130 h 4073898"/>
              <a:gd name="connsiteX829" fmla="*/ 6349571 w 6697570"/>
              <a:gd name="connsiteY829" fmla="*/ 1366123 h 4073898"/>
              <a:gd name="connsiteX830" fmla="*/ 6339851 w 6697570"/>
              <a:gd name="connsiteY830" fmla="*/ 1423016 h 4073898"/>
              <a:gd name="connsiteX831" fmla="*/ 6299254 w 6697570"/>
              <a:gd name="connsiteY831" fmla="*/ 1416440 h 4073898"/>
              <a:gd name="connsiteX832" fmla="*/ 6308689 w 6697570"/>
              <a:gd name="connsiteY832" fmla="*/ 1359549 h 4073898"/>
              <a:gd name="connsiteX833" fmla="*/ 6250939 w 6697570"/>
              <a:gd name="connsiteY833" fmla="*/ 1350114 h 4073898"/>
              <a:gd name="connsiteX834" fmla="*/ 6257801 w 6697570"/>
              <a:gd name="connsiteY834" fmla="*/ 1306374 h 4073898"/>
              <a:gd name="connsiteX835" fmla="*/ 6315836 w 6697570"/>
              <a:gd name="connsiteY835" fmla="*/ 1315808 h 4073898"/>
              <a:gd name="connsiteX836" fmla="*/ 6314121 w 6697570"/>
              <a:gd name="connsiteY836" fmla="*/ 1239190 h 4073898"/>
              <a:gd name="connsiteX837" fmla="*/ 6303543 w 6697570"/>
              <a:gd name="connsiteY837" fmla="*/ 1301800 h 4073898"/>
              <a:gd name="connsiteX838" fmla="*/ 6240934 w 6697570"/>
              <a:gd name="connsiteY838" fmla="*/ 1291221 h 4073898"/>
              <a:gd name="connsiteX839" fmla="*/ 6229212 w 6697570"/>
              <a:gd name="connsiteY839" fmla="*/ 1360121 h 4073898"/>
              <a:gd name="connsiteX840" fmla="*/ 6291822 w 6697570"/>
              <a:gd name="connsiteY840" fmla="*/ 1370698 h 4073898"/>
              <a:gd name="connsiteX841" fmla="*/ 6281243 w 6697570"/>
              <a:gd name="connsiteY841" fmla="*/ 1433308 h 4073898"/>
              <a:gd name="connsiteX842" fmla="*/ 6350143 w 6697570"/>
              <a:gd name="connsiteY842" fmla="*/ 1445030 h 4073898"/>
              <a:gd name="connsiteX843" fmla="*/ 6360721 w 6697570"/>
              <a:gd name="connsiteY843" fmla="*/ 1382420 h 4073898"/>
              <a:gd name="connsiteX844" fmla="*/ 6423330 w 6697570"/>
              <a:gd name="connsiteY844" fmla="*/ 1392997 h 4073898"/>
              <a:gd name="connsiteX845" fmla="*/ 6435052 w 6697570"/>
              <a:gd name="connsiteY845" fmla="*/ 1324099 h 4073898"/>
              <a:gd name="connsiteX846" fmla="*/ 6372442 w 6697570"/>
              <a:gd name="connsiteY846" fmla="*/ 1313521 h 4073898"/>
              <a:gd name="connsiteX847" fmla="*/ 6383021 w 6697570"/>
              <a:gd name="connsiteY847" fmla="*/ 1250912 h 4073898"/>
              <a:gd name="connsiteX848" fmla="*/ 1623087 w 6697570"/>
              <a:gd name="connsiteY848" fmla="*/ 1223728 h 4073898"/>
              <a:gd name="connsiteX849" fmla="*/ 1843116 w 6697570"/>
              <a:gd name="connsiteY849" fmla="*/ 1390139 h 4073898"/>
              <a:gd name="connsiteX850" fmla="*/ 2187039 w 6697570"/>
              <a:gd name="connsiteY850" fmla="*/ 1593691 h 4073898"/>
              <a:gd name="connsiteX851" fmla="*/ 1991492 w 6697570"/>
              <a:gd name="connsiteY851" fmla="*/ 1593691 h 4073898"/>
              <a:gd name="connsiteX852" fmla="*/ 1979770 w 6697570"/>
              <a:gd name="connsiteY852" fmla="*/ 1602268 h 4073898"/>
              <a:gd name="connsiteX853" fmla="*/ 1944321 w 6697570"/>
              <a:gd name="connsiteY853" fmla="*/ 1816969 h 4073898"/>
              <a:gd name="connsiteX854" fmla="*/ 1887714 w 6697570"/>
              <a:gd name="connsiteY854" fmla="*/ 1442171 h 4073898"/>
              <a:gd name="connsiteX855" fmla="*/ 1877137 w 6697570"/>
              <a:gd name="connsiteY855" fmla="*/ 1433593 h 4073898"/>
              <a:gd name="connsiteX856" fmla="*/ 1865129 w 6697570"/>
              <a:gd name="connsiteY856" fmla="*/ 1441312 h 4073898"/>
              <a:gd name="connsiteX857" fmla="*/ 1797088 w 6697570"/>
              <a:gd name="connsiteY857" fmla="*/ 1629141 h 4073898"/>
              <a:gd name="connsiteX858" fmla="*/ 1792514 w 6697570"/>
              <a:gd name="connsiteY858" fmla="*/ 1585686 h 4073898"/>
              <a:gd name="connsiteX859" fmla="*/ 1779649 w 6697570"/>
              <a:gd name="connsiteY859" fmla="*/ 1575108 h 4073898"/>
              <a:gd name="connsiteX860" fmla="*/ 1769357 w 6697570"/>
              <a:gd name="connsiteY860" fmla="*/ 1583399 h 4073898"/>
              <a:gd name="connsiteX861" fmla="*/ 1738767 w 6697570"/>
              <a:gd name="connsiteY861" fmla="*/ 1727773 h 4073898"/>
              <a:gd name="connsiteX862" fmla="*/ 1693882 w 6697570"/>
              <a:gd name="connsiteY862" fmla="*/ 1419013 h 4073898"/>
              <a:gd name="connsiteX863" fmla="*/ 1683304 w 6697570"/>
              <a:gd name="connsiteY863" fmla="*/ 1410437 h 4073898"/>
              <a:gd name="connsiteX864" fmla="*/ 1671011 w 6697570"/>
              <a:gd name="connsiteY864" fmla="*/ 1418156 h 4073898"/>
              <a:gd name="connsiteX865" fmla="*/ 1612692 w 6697570"/>
              <a:gd name="connsiteY865" fmla="*/ 1593691 h 4073898"/>
              <a:gd name="connsiteX866" fmla="*/ 1499193 w 6697570"/>
              <a:gd name="connsiteY866" fmla="*/ 1593691 h 4073898"/>
              <a:gd name="connsiteX867" fmla="*/ 1623087 w 6697570"/>
              <a:gd name="connsiteY867" fmla="*/ 1223728 h 4073898"/>
              <a:gd name="connsiteX868" fmla="*/ 3658792 w 6697570"/>
              <a:gd name="connsiteY868" fmla="*/ 1200882 h 4073898"/>
              <a:gd name="connsiteX869" fmla="*/ 3647070 w 6697570"/>
              <a:gd name="connsiteY869" fmla="*/ 1216034 h 4073898"/>
              <a:gd name="connsiteX870" fmla="*/ 3649071 w 6697570"/>
              <a:gd name="connsiteY870" fmla="*/ 1281216 h 4073898"/>
              <a:gd name="connsiteX871" fmla="*/ 3659649 w 6697570"/>
              <a:gd name="connsiteY871" fmla="*/ 1307232 h 4073898"/>
              <a:gd name="connsiteX872" fmla="*/ 3669941 w 6697570"/>
              <a:gd name="connsiteY872" fmla="*/ 1296082 h 4073898"/>
              <a:gd name="connsiteX873" fmla="*/ 3672515 w 6697570"/>
              <a:gd name="connsiteY873" fmla="*/ 1292938 h 4073898"/>
              <a:gd name="connsiteX874" fmla="*/ 3675087 w 6697570"/>
              <a:gd name="connsiteY874" fmla="*/ 1209745 h 4073898"/>
              <a:gd name="connsiteX875" fmla="*/ 3674515 w 6697570"/>
              <a:gd name="connsiteY875" fmla="*/ 1209459 h 4073898"/>
              <a:gd name="connsiteX876" fmla="*/ 3658792 w 6697570"/>
              <a:gd name="connsiteY876" fmla="*/ 1200882 h 4073898"/>
              <a:gd name="connsiteX877" fmla="*/ 1235890 w 6697570"/>
              <a:gd name="connsiteY877" fmla="*/ 1151423 h 4073898"/>
              <a:gd name="connsiteX878" fmla="*/ 1221596 w 6697570"/>
              <a:gd name="connsiteY878" fmla="*/ 1193163 h 4073898"/>
              <a:gd name="connsiteX879" fmla="*/ 1267624 w 6697570"/>
              <a:gd name="connsiteY879" fmla="*/ 1242907 h 4073898"/>
              <a:gd name="connsiteX880" fmla="*/ 1285634 w 6697570"/>
              <a:gd name="connsiteY880" fmla="*/ 1207743 h 4073898"/>
              <a:gd name="connsiteX881" fmla="*/ 1251043 w 6697570"/>
              <a:gd name="connsiteY881" fmla="*/ 1159999 h 4073898"/>
              <a:gd name="connsiteX882" fmla="*/ 1239892 w 6697570"/>
              <a:gd name="connsiteY882" fmla="*/ 1153710 h 4073898"/>
              <a:gd name="connsiteX883" fmla="*/ 402527 w 6697570"/>
              <a:gd name="connsiteY883" fmla="*/ 1145419 h 4073898"/>
              <a:gd name="connsiteX884" fmla="*/ 384515 w 6697570"/>
              <a:gd name="connsiteY884" fmla="*/ 1152852 h 4073898"/>
              <a:gd name="connsiteX885" fmla="*/ 368506 w 6697570"/>
              <a:gd name="connsiteY885" fmla="*/ 1152852 h 4073898"/>
              <a:gd name="connsiteX886" fmla="*/ 464849 w 6697570"/>
              <a:gd name="connsiteY886" fmla="*/ 1350115 h 4073898"/>
              <a:gd name="connsiteX887" fmla="*/ 503159 w 6697570"/>
              <a:gd name="connsiteY887" fmla="*/ 1342968 h 4073898"/>
              <a:gd name="connsiteX888" fmla="*/ 402527 w 6697570"/>
              <a:gd name="connsiteY888" fmla="*/ 1145419 h 4073898"/>
              <a:gd name="connsiteX889" fmla="*/ 1231316 w 6697570"/>
              <a:gd name="connsiteY889" fmla="*/ 1122834 h 4073898"/>
              <a:gd name="connsiteX890" fmla="*/ 1248469 w 6697570"/>
              <a:gd name="connsiteY890" fmla="*/ 1131982 h 4073898"/>
              <a:gd name="connsiteX891" fmla="*/ 1262764 w 6697570"/>
              <a:gd name="connsiteY891" fmla="*/ 1140559 h 4073898"/>
              <a:gd name="connsiteX892" fmla="*/ 1308506 w 6697570"/>
              <a:gd name="connsiteY892" fmla="*/ 1207171 h 4073898"/>
              <a:gd name="connsiteX893" fmla="*/ 1274485 w 6697570"/>
              <a:gd name="connsiteY893" fmla="*/ 1266921 h 4073898"/>
              <a:gd name="connsiteX894" fmla="*/ 1273341 w 6697570"/>
              <a:gd name="connsiteY894" fmla="*/ 1267779 h 4073898"/>
              <a:gd name="connsiteX895" fmla="*/ 1271054 w 6697570"/>
              <a:gd name="connsiteY895" fmla="*/ 1268065 h 4073898"/>
              <a:gd name="connsiteX896" fmla="*/ 1263907 w 6697570"/>
              <a:gd name="connsiteY896" fmla="*/ 1266921 h 4073898"/>
              <a:gd name="connsiteX897" fmla="*/ 1199010 w 6697570"/>
              <a:gd name="connsiteY897" fmla="*/ 1197737 h 4073898"/>
              <a:gd name="connsiteX898" fmla="*/ 1225312 w 6697570"/>
              <a:gd name="connsiteY898" fmla="*/ 1129124 h 4073898"/>
              <a:gd name="connsiteX899" fmla="*/ 2970944 w 6697570"/>
              <a:gd name="connsiteY899" fmla="*/ 1107397 h 4073898"/>
              <a:gd name="connsiteX900" fmla="*/ 2906334 w 6697570"/>
              <a:gd name="connsiteY900" fmla="*/ 1267779 h 4073898"/>
              <a:gd name="connsiteX901" fmla="*/ 2807702 w 6697570"/>
              <a:gd name="connsiteY901" fmla="*/ 1475619 h 4073898"/>
              <a:gd name="connsiteX902" fmla="*/ 2807702 w 6697570"/>
              <a:gd name="connsiteY902" fmla="*/ 1554811 h 4073898"/>
              <a:gd name="connsiteX903" fmla="*/ 3548725 w 6697570"/>
              <a:gd name="connsiteY903" fmla="*/ 1554811 h 4073898"/>
              <a:gd name="connsiteX904" fmla="*/ 3548438 w 6697570"/>
              <a:gd name="connsiteY904" fmla="*/ 1471903 h 4073898"/>
              <a:gd name="connsiteX905" fmla="*/ 3450093 w 6697570"/>
              <a:gd name="connsiteY905" fmla="*/ 1267779 h 4073898"/>
              <a:gd name="connsiteX906" fmla="*/ 3385482 w 6697570"/>
              <a:gd name="connsiteY906" fmla="*/ 1107397 h 4073898"/>
              <a:gd name="connsiteX907" fmla="*/ 3655074 w 6697570"/>
              <a:gd name="connsiteY907" fmla="*/ 1074519 h 4073898"/>
              <a:gd name="connsiteX908" fmla="*/ 3652787 w 6697570"/>
              <a:gd name="connsiteY908" fmla="*/ 1081952 h 4073898"/>
              <a:gd name="connsiteX909" fmla="*/ 3652501 w 6697570"/>
              <a:gd name="connsiteY909" fmla="*/ 1084239 h 4073898"/>
              <a:gd name="connsiteX910" fmla="*/ 3664223 w 6697570"/>
              <a:gd name="connsiteY910" fmla="*/ 1115972 h 4073898"/>
              <a:gd name="connsiteX911" fmla="*/ 3655074 w 6697570"/>
              <a:gd name="connsiteY911" fmla="*/ 1074519 h 4073898"/>
              <a:gd name="connsiteX912" fmla="*/ 896256 w 6697570"/>
              <a:gd name="connsiteY912" fmla="*/ 1045930 h 4073898"/>
              <a:gd name="connsiteX913" fmla="*/ 875385 w 6697570"/>
              <a:gd name="connsiteY913" fmla="*/ 1272640 h 4073898"/>
              <a:gd name="connsiteX914" fmla="*/ 913981 w 6697570"/>
              <a:gd name="connsiteY914" fmla="*/ 1265493 h 4073898"/>
              <a:gd name="connsiteX915" fmla="*/ 931705 w 6697570"/>
              <a:gd name="connsiteY915" fmla="*/ 1048789 h 4073898"/>
              <a:gd name="connsiteX916" fmla="*/ 927703 w 6697570"/>
              <a:gd name="connsiteY916" fmla="*/ 1049933 h 4073898"/>
              <a:gd name="connsiteX917" fmla="*/ 896256 w 6697570"/>
              <a:gd name="connsiteY917" fmla="*/ 1045930 h 4073898"/>
              <a:gd name="connsiteX918" fmla="*/ 3653360 w 6697570"/>
              <a:gd name="connsiteY918" fmla="*/ 1045358 h 4073898"/>
              <a:gd name="connsiteX919" fmla="*/ 3660507 w 6697570"/>
              <a:gd name="connsiteY919" fmla="*/ 1050790 h 4073898"/>
              <a:gd name="connsiteX920" fmla="*/ 3675659 w 6697570"/>
              <a:gd name="connsiteY920" fmla="*/ 1141131 h 4073898"/>
              <a:gd name="connsiteX921" fmla="*/ 3668511 w 6697570"/>
              <a:gd name="connsiteY921" fmla="*/ 1152280 h 4073898"/>
              <a:gd name="connsiteX922" fmla="*/ 3659077 w 6697570"/>
              <a:gd name="connsiteY922" fmla="*/ 1142560 h 4073898"/>
              <a:gd name="connsiteX923" fmla="*/ 3631918 w 6697570"/>
              <a:gd name="connsiteY923" fmla="*/ 1080236 h 4073898"/>
              <a:gd name="connsiteX924" fmla="*/ 3647070 w 6697570"/>
              <a:gd name="connsiteY924" fmla="*/ 1051361 h 4073898"/>
              <a:gd name="connsiteX925" fmla="*/ 1232173 w 6697570"/>
              <a:gd name="connsiteY925" fmla="*/ 912420 h 4073898"/>
              <a:gd name="connsiteX926" fmla="*/ 1203870 w 6697570"/>
              <a:gd name="connsiteY926" fmla="*/ 965881 h 4073898"/>
              <a:gd name="connsiteX927" fmla="*/ 1222453 w 6697570"/>
              <a:gd name="connsiteY927" fmla="*/ 1003618 h 4073898"/>
              <a:gd name="connsiteX928" fmla="*/ 1282489 w 6697570"/>
              <a:gd name="connsiteY928" fmla="*/ 953016 h 4073898"/>
              <a:gd name="connsiteX929" fmla="*/ 1236177 w 6697570"/>
              <a:gd name="connsiteY929" fmla="*/ 914135 h 4073898"/>
              <a:gd name="connsiteX930" fmla="*/ 1232173 w 6697570"/>
              <a:gd name="connsiteY930" fmla="*/ 912420 h 4073898"/>
              <a:gd name="connsiteX931" fmla="*/ 6267807 w 6697570"/>
              <a:gd name="connsiteY931" fmla="*/ 894124 h 4073898"/>
              <a:gd name="connsiteX932" fmla="*/ 6207199 w 6697570"/>
              <a:gd name="connsiteY932" fmla="*/ 992754 h 4073898"/>
              <a:gd name="connsiteX933" fmla="*/ 6118573 w 6697570"/>
              <a:gd name="connsiteY933" fmla="*/ 1118831 h 4073898"/>
              <a:gd name="connsiteX934" fmla="*/ 6109711 w 6697570"/>
              <a:gd name="connsiteY934" fmla="*/ 1171149 h 4073898"/>
              <a:gd name="connsiteX935" fmla="*/ 6598865 w 6697570"/>
              <a:gd name="connsiteY935" fmla="*/ 1254056 h 4073898"/>
              <a:gd name="connsiteX936" fmla="*/ 6608014 w 6697570"/>
              <a:gd name="connsiteY936" fmla="*/ 1199166 h 4073898"/>
              <a:gd name="connsiteX937" fmla="*/ 6565989 w 6697570"/>
              <a:gd name="connsiteY937" fmla="*/ 1053362 h 4073898"/>
              <a:gd name="connsiteX938" fmla="*/ 6541403 w 6697570"/>
              <a:gd name="connsiteY938" fmla="*/ 940437 h 4073898"/>
              <a:gd name="connsiteX939" fmla="*/ 1230173 w 6697570"/>
              <a:gd name="connsiteY939" fmla="*/ 886976 h 4073898"/>
              <a:gd name="connsiteX940" fmla="*/ 1235604 w 6697570"/>
              <a:gd name="connsiteY940" fmla="*/ 889263 h 4073898"/>
              <a:gd name="connsiteX941" fmla="*/ 1244466 w 6697570"/>
              <a:gd name="connsiteY941" fmla="*/ 892693 h 4073898"/>
              <a:gd name="connsiteX942" fmla="*/ 1305074 w 6697570"/>
              <a:gd name="connsiteY942" fmla="*/ 953588 h 4073898"/>
              <a:gd name="connsiteX943" fmla="*/ 1222738 w 6697570"/>
              <a:gd name="connsiteY943" fmla="*/ 1027347 h 4073898"/>
              <a:gd name="connsiteX944" fmla="*/ 1216736 w 6697570"/>
              <a:gd name="connsiteY944" fmla="*/ 1029348 h 4073898"/>
              <a:gd name="connsiteX945" fmla="*/ 1211875 w 6697570"/>
              <a:gd name="connsiteY945" fmla="*/ 1025060 h 4073898"/>
              <a:gd name="connsiteX946" fmla="*/ 1181000 w 6697570"/>
              <a:gd name="connsiteY946" fmla="*/ 965881 h 4073898"/>
              <a:gd name="connsiteX947" fmla="*/ 1225026 w 6697570"/>
              <a:gd name="connsiteY947" fmla="*/ 890120 h 4073898"/>
              <a:gd name="connsiteX948" fmla="*/ 3399491 w 6697570"/>
              <a:gd name="connsiteY948" fmla="*/ 882688 h 4073898"/>
              <a:gd name="connsiteX949" fmla="*/ 3386912 w 6697570"/>
              <a:gd name="connsiteY949" fmla="*/ 892980 h 4073898"/>
              <a:gd name="connsiteX950" fmla="*/ 3386912 w 6697570"/>
              <a:gd name="connsiteY950" fmla="*/ 1081380 h 4073898"/>
              <a:gd name="connsiteX951" fmla="*/ 3399491 w 6697570"/>
              <a:gd name="connsiteY951" fmla="*/ 1091672 h 4073898"/>
              <a:gd name="connsiteX952" fmla="*/ 3412069 w 6697570"/>
              <a:gd name="connsiteY952" fmla="*/ 1081380 h 4073898"/>
              <a:gd name="connsiteX953" fmla="*/ 3412069 w 6697570"/>
              <a:gd name="connsiteY953" fmla="*/ 892980 h 4073898"/>
              <a:gd name="connsiteX954" fmla="*/ 3399491 w 6697570"/>
              <a:gd name="connsiteY954" fmla="*/ 882688 h 4073898"/>
              <a:gd name="connsiteX955" fmla="*/ 3354892 w 6697570"/>
              <a:gd name="connsiteY955" fmla="*/ 882688 h 4073898"/>
              <a:gd name="connsiteX956" fmla="*/ 3342599 w 6697570"/>
              <a:gd name="connsiteY956" fmla="*/ 892980 h 4073898"/>
              <a:gd name="connsiteX957" fmla="*/ 3342599 w 6697570"/>
              <a:gd name="connsiteY957" fmla="*/ 1081380 h 4073898"/>
              <a:gd name="connsiteX958" fmla="*/ 3354892 w 6697570"/>
              <a:gd name="connsiteY958" fmla="*/ 1091672 h 4073898"/>
              <a:gd name="connsiteX959" fmla="*/ 3367471 w 6697570"/>
              <a:gd name="connsiteY959" fmla="*/ 1081380 h 4073898"/>
              <a:gd name="connsiteX960" fmla="*/ 3367471 w 6697570"/>
              <a:gd name="connsiteY960" fmla="*/ 892980 h 4073898"/>
              <a:gd name="connsiteX961" fmla="*/ 3354892 w 6697570"/>
              <a:gd name="connsiteY961" fmla="*/ 882688 h 4073898"/>
              <a:gd name="connsiteX962" fmla="*/ 3310865 w 6697570"/>
              <a:gd name="connsiteY962" fmla="*/ 882688 h 4073898"/>
              <a:gd name="connsiteX963" fmla="*/ 3298286 w 6697570"/>
              <a:gd name="connsiteY963" fmla="*/ 892980 h 4073898"/>
              <a:gd name="connsiteX964" fmla="*/ 3298286 w 6697570"/>
              <a:gd name="connsiteY964" fmla="*/ 1081380 h 4073898"/>
              <a:gd name="connsiteX965" fmla="*/ 3310865 w 6697570"/>
              <a:gd name="connsiteY965" fmla="*/ 1091672 h 4073898"/>
              <a:gd name="connsiteX966" fmla="*/ 3323445 w 6697570"/>
              <a:gd name="connsiteY966" fmla="*/ 1081380 h 4073898"/>
              <a:gd name="connsiteX967" fmla="*/ 3323445 w 6697570"/>
              <a:gd name="connsiteY967" fmla="*/ 892980 h 4073898"/>
              <a:gd name="connsiteX968" fmla="*/ 3310865 w 6697570"/>
              <a:gd name="connsiteY968" fmla="*/ 882688 h 4073898"/>
              <a:gd name="connsiteX969" fmla="*/ 3266552 w 6697570"/>
              <a:gd name="connsiteY969" fmla="*/ 882688 h 4073898"/>
              <a:gd name="connsiteX970" fmla="*/ 3254259 w 6697570"/>
              <a:gd name="connsiteY970" fmla="*/ 892980 h 4073898"/>
              <a:gd name="connsiteX971" fmla="*/ 3254259 w 6697570"/>
              <a:gd name="connsiteY971" fmla="*/ 1081380 h 4073898"/>
              <a:gd name="connsiteX972" fmla="*/ 3266552 w 6697570"/>
              <a:gd name="connsiteY972" fmla="*/ 1091672 h 4073898"/>
              <a:gd name="connsiteX973" fmla="*/ 3279131 w 6697570"/>
              <a:gd name="connsiteY973" fmla="*/ 1081380 h 4073898"/>
              <a:gd name="connsiteX974" fmla="*/ 3279131 w 6697570"/>
              <a:gd name="connsiteY974" fmla="*/ 892980 h 4073898"/>
              <a:gd name="connsiteX975" fmla="*/ 3266552 w 6697570"/>
              <a:gd name="connsiteY975" fmla="*/ 882688 h 4073898"/>
              <a:gd name="connsiteX976" fmla="*/ 3222240 w 6697570"/>
              <a:gd name="connsiteY976" fmla="*/ 882688 h 4073898"/>
              <a:gd name="connsiteX977" fmla="*/ 3209947 w 6697570"/>
              <a:gd name="connsiteY977" fmla="*/ 892980 h 4073898"/>
              <a:gd name="connsiteX978" fmla="*/ 3209947 w 6697570"/>
              <a:gd name="connsiteY978" fmla="*/ 1081380 h 4073898"/>
              <a:gd name="connsiteX979" fmla="*/ 3222240 w 6697570"/>
              <a:gd name="connsiteY979" fmla="*/ 1091672 h 4073898"/>
              <a:gd name="connsiteX980" fmla="*/ 3234819 w 6697570"/>
              <a:gd name="connsiteY980" fmla="*/ 1081380 h 4073898"/>
              <a:gd name="connsiteX981" fmla="*/ 3234819 w 6697570"/>
              <a:gd name="connsiteY981" fmla="*/ 892980 h 4073898"/>
              <a:gd name="connsiteX982" fmla="*/ 3222240 w 6697570"/>
              <a:gd name="connsiteY982" fmla="*/ 882688 h 4073898"/>
              <a:gd name="connsiteX983" fmla="*/ 3178499 w 6697570"/>
              <a:gd name="connsiteY983" fmla="*/ 882688 h 4073898"/>
              <a:gd name="connsiteX984" fmla="*/ 3165920 w 6697570"/>
              <a:gd name="connsiteY984" fmla="*/ 892980 h 4073898"/>
              <a:gd name="connsiteX985" fmla="*/ 3165920 w 6697570"/>
              <a:gd name="connsiteY985" fmla="*/ 1081380 h 4073898"/>
              <a:gd name="connsiteX986" fmla="*/ 3178499 w 6697570"/>
              <a:gd name="connsiteY986" fmla="*/ 1091672 h 4073898"/>
              <a:gd name="connsiteX987" fmla="*/ 3191078 w 6697570"/>
              <a:gd name="connsiteY987" fmla="*/ 1081380 h 4073898"/>
              <a:gd name="connsiteX988" fmla="*/ 3191078 w 6697570"/>
              <a:gd name="connsiteY988" fmla="*/ 892980 h 4073898"/>
              <a:gd name="connsiteX989" fmla="*/ 3178499 w 6697570"/>
              <a:gd name="connsiteY989" fmla="*/ 882688 h 4073898"/>
              <a:gd name="connsiteX990" fmla="*/ 3133900 w 6697570"/>
              <a:gd name="connsiteY990" fmla="*/ 882688 h 4073898"/>
              <a:gd name="connsiteX991" fmla="*/ 3121607 w 6697570"/>
              <a:gd name="connsiteY991" fmla="*/ 892980 h 4073898"/>
              <a:gd name="connsiteX992" fmla="*/ 3121607 w 6697570"/>
              <a:gd name="connsiteY992" fmla="*/ 1081380 h 4073898"/>
              <a:gd name="connsiteX993" fmla="*/ 3133900 w 6697570"/>
              <a:gd name="connsiteY993" fmla="*/ 1091672 h 4073898"/>
              <a:gd name="connsiteX994" fmla="*/ 3146480 w 6697570"/>
              <a:gd name="connsiteY994" fmla="*/ 1081380 h 4073898"/>
              <a:gd name="connsiteX995" fmla="*/ 3146480 w 6697570"/>
              <a:gd name="connsiteY995" fmla="*/ 892980 h 4073898"/>
              <a:gd name="connsiteX996" fmla="*/ 3133900 w 6697570"/>
              <a:gd name="connsiteY996" fmla="*/ 882688 h 4073898"/>
              <a:gd name="connsiteX997" fmla="*/ 3089873 w 6697570"/>
              <a:gd name="connsiteY997" fmla="*/ 882688 h 4073898"/>
              <a:gd name="connsiteX998" fmla="*/ 3077580 w 6697570"/>
              <a:gd name="connsiteY998" fmla="*/ 892980 h 4073898"/>
              <a:gd name="connsiteX999" fmla="*/ 3077580 w 6697570"/>
              <a:gd name="connsiteY999" fmla="*/ 1081380 h 4073898"/>
              <a:gd name="connsiteX1000" fmla="*/ 3089873 w 6697570"/>
              <a:gd name="connsiteY1000" fmla="*/ 1091672 h 4073898"/>
              <a:gd name="connsiteX1001" fmla="*/ 3102452 w 6697570"/>
              <a:gd name="connsiteY1001" fmla="*/ 1081380 h 4073898"/>
              <a:gd name="connsiteX1002" fmla="*/ 3102452 w 6697570"/>
              <a:gd name="connsiteY1002" fmla="*/ 892980 h 4073898"/>
              <a:gd name="connsiteX1003" fmla="*/ 3089873 w 6697570"/>
              <a:gd name="connsiteY1003" fmla="*/ 882688 h 4073898"/>
              <a:gd name="connsiteX1004" fmla="*/ 3045847 w 6697570"/>
              <a:gd name="connsiteY1004" fmla="*/ 882688 h 4073898"/>
              <a:gd name="connsiteX1005" fmla="*/ 3033268 w 6697570"/>
              <a:gd name="connsiteY1005" fmla="*/ 892980 h 4073898"/>
              <a:gd name="connsiteX1006" fmla="*/ 3033268 w 6697570"/>
              <a:gd name="connsiteY1006" fmla="*/ 1081380 h 4073898"/>
              <a:gd name="connsiteX1007" fmla="*/ 3045847 w 6697570"/>
              <a:gd name="connsiteY1007" fmla="*/ 1091672 h 4073898"/>
              <a:gd name="connsiteX1008" fmla="*/ 3058426 w 6697570"/>
              <a:gd name="connsiteY1008" fmla="*/ 1081380 h 4073898"/>
              <a:gd name="connsiteX1009" fmla="*/ 3058426 w 6697570"/>
              <a:gd name="connsiteY1009" fmla="*/ 892980 h 4073898"/>
              <a:gd name="connsiteX1010" fmla="*/ 3045847 w 6697570"/>
              <a:gd name="connsiteY1010" fmla="*/ 882688 h 4073898"/>
              <a:gd name="connsiteX1011" fmla="*/ 3001534 w 6697570"/>
              <a:gd name="connsiteY1011" fmla="*/ 882688 h 4073898"/>
              <a:gd name="connsiteX1012" fmla="*/ 2988956 w 6697570"/>
              <a:gd name="connsiteY1012" fmla="*/ 892980 h 4073898"/>
              <a:gd name="connsiteX1013" fmla="*/ 2988956 w 6697570"/>
              <a:gd name="connsiteY1013" fmla="*/ 1081380 h 4073898"/>
              <a:gd name="connsiteX1014" fmla="*/ 3001534 w 6697570"/>
              <a:gd name="connsiteY1014" fmla="*/ 1091672 h 4073898"/>
              <a:gd name="connsiteX1015" fmla="*/ 3014113 w 6697570"/>
              <a:gd name="connsiteY1015" fmla="*/ 1081380 h 4073898"/>
              <a:gd name="connsiteX1016" fmla="*/ 3014113 w 6697570"/>
              <a:gd name="connsiteY1016" fmla="*/ 892980 h 4073898"/>
              <a:gd name="connsiteX1017" fmla="*/ 3001534 w 6697570"/>
              <a:gd name="connsiteY1017" fmla="*/ 882688 h 4073898"/>
              <a:gd name="connsiteX1018" fmla="*/ 2957508 w 6697570"/>
              <a:gd name="connsiteY1018" fmla="*/ 882688 h 4073898"/>
              <a:gd name="connsiteX1019" fmla="*/ 2944928 w 6697570"/>
              <a:gd name="connsiteY1019" fmla="*/ 892980 h 4073898"/>
              <a:gd name="connsiteX1020" fmla="*/ 2944928 w 6697570"/>
              <a:gd name="connsiteY1020" fmla="*/ 1081380 h 4073898"/>
              <a:gd name="connsiteX1021" fmla="*/ 2957508 w 6697570"/>
              <a:gd name="connsiteY1021" fmla="*/ 1091672 h 4073898"/>
              <a:gd name="connsiteX1022" fmla="*/ 2969801 w 6697570"/>
              <a:gd name="connsiteY1022" fmla="*/ 1081380 h 4073898"/>
              <a:gd name="connsiteX1023" fmla="*/ 2969801 w 6697570"/>
              <a:gd name="connsiteY1023" fmla="*/ 892980 h 4073898"/>
              <a:gd name="connsiteX1024" fmla="*/ 2957508 w 6697570"/>
              <a:gd name="connsiteY1024" fmla="*/ 882688 h 4073898"/>
              <a:gd name="connsiteX1025" fmla="*/ 2948931 w 6697570"/>
              <a:gd name="connsiteY1025" fmla="*/ 861532 h 4073898"/>
              <a:gd name="connsiteX1026" fmla="*/ 3407781 w 6697570"/>
              <a:gd name="connsiteY1026" fmla="*/ 861532 h 4073898"/>
              <a:gd name="connsiteX1027" fmla="*/ 3431796 w 6697570"/>
              <a:gd name="connsiteY1027" fmla="*/ 885547 h 4073898"/>
              <a:gd name="connsiteX1028" fmla="*/ 3431796 w 6697570"/>
              <a:gd name="connsiteY1028" fmla="*/ 1107397 h 4073898"/>
              <a:gd name="connsiteX1029" fmla="*/ 3413499 w 6697570"/>
              <a:gd name="connsiteY1029" fmla="*/ 1107397 h 4073898"/>
              <a:gd name="connsiteX1030" fmla="*/ 3467532 w 6697570"/>
              <a:gd name="connsiteY1030" fmla="*/ 1245766 h 4073898"/>
              <a:gd name="connsiteX1031" fmla="*/ 3576455 w 6697570"/>
              <a:gd name="connsiteY1031" fmla="*/ 1470474 h 4073898"/>
              <a:gd name="connsiteX1032" fmla="*/ 3577313 w 6697570"/>
              <a:gd name="connsiteY1032" fmla="*/ 2010516 h 4073898"/>
              <a:gd name="connsiteX1033" fmla="*/ 3459527 w 6697570"/>
              <a:gd name="connsiteY1033" fmla="*/ 2128302 h 4073898"/>
              <a:gd name="connsiteX1034" fmla="*/ 2896899 w 6697570"/>
              <a:gd name="connsiteY1034" fmla="*/ 2128302 h 4073898"/>
              <a:gd name="connsiteX1035" fmla="*/ 2779113 w 6697570"/>
              <a:gd name="connsiteY1035" fmla="*/ 2010516 h 4073898"/>
              <a:gd name="connsiteX1036" fmla="*/ 2779685 w 6697570"/>
              <a:gd name="connsiteY1036" fmla="*/ 1473905 h 4073898"/>
              <a:gd name="connsiteX1037" fmla="*/ 2888894 w 6697570"/>
              <a:gd name="connsiteY1037" fmla="*/ 1245766 h 4073898"/>
              <a:gd name="connsiteX1038" fmla="*/ 2942927 w 6697570"/>
              <a:gd name="connsiteY1038" fmla="*/ 1107397 h 4073898"/>
              <a:gd name="connsiteX1039" fmla="*/ 2924916 w 6697570"/>
              <a:gd name="connsiteY1039" fmla="*/ 1107397 h 4073898"/>
              <a:gd name="connsiteX1040" fmla="*/ 2924916 w 6697570"/>
              <a:gd name="connsiteY1040" fmla="*/ 885547 h 4073898"/>
              <a:gd name="connsiteX1041" fmla="*/ 2948931 w 6697570"/>
              <a:gd name="connsiteY1041" fmla="*/ 861532 h 4073898"/>
              <a:gd name="connsiteX1042" fmla="*/ 4368652 w 6697570"/>
              <a:gd name="connsiteY1042" fmla="*/ 860675 h 4073898"/>
              <a:gd name="connsiteX1043" fmla="*/ 4346638 w 6697570"/>
              <a:gd name="connsiteY1043" fmla="*/ 865249 h 4073898"/>
              <a:gd name="connsiteX1044" fmla="*/ 4328055 w 6697570"/>
              <a:gd name="connsiteY1044" fmla="*/ 861818 h 4073898"/>
              <a:gd name="connsiteX1045" fmla="*/ 4395239 w 6697570"/>
              <a:gd name="connsiteY1045" fmla="*/ 1107109 h 4073898"/>
              <a:gd name="connsiteX1046" fmla="*/ 4440696 w 6697570"/>
              <a:gd name="connsiteY1046" fmla="*/ 1107109 h 4073898"/>
              <a:gd name="connsiteX1047" fmla="*/ 4368652 w 6697570"/>
              <a:gd name="connsiteY1047" fmla="*/ 860675 h 4073898"/>
              <a:gd name="connsiteX1048" fmla="*/ 3659935 w 6697570"/>
              <a:gd name="connsiteY1048" fmla="*/ 860389 h 4073898"/>
              <a:gd name="connsiteX1049" fmla="*/ 3646499 w 6697570"/>
              <a:gd name="connsiteY1049" fmla="*/ 899555 h 4073898"/>
              <a:gd name="connsiteX1050" fmla="*/ 3689668 w 6697570"/>
              <a:gd name="connsiteY1050" fmla="*/ 945869 h 4073898"/>
              <a:gd name="connsiteX1051" fmla="*/ 3706535 w 6697570"/>
              <a:gd name="connsiteY1051" fmla="*/ 912992 h 4073898"/>
              <a:gd name="connsiteX1052" fmla="*/ 3674229 w 6697570"/>
              <a:gd name="connsiteY1052" fmla="*/ 868107 h 4073898"/>
              <a:gd name="connsiteX1053" fmla="*/ 3663937 w 6697570"/>
              <a:gd name="connsiteY1053" fmla="*/ 862390 h 4073898"/>
              <a:gd name="connsiteX1054" fmla="*/ 4952150 w 6697570"/>
              <a:gd name="connsiteY1054" fmla="*/ 853813 h 4073898"/>
              <a:gd name="connsiteX1055" fmla="*/ 4879534 w 6697570"/>
              <a:gd name="connsiteY1055" fmla="*/ 1107397 h 4073898"/>
              <a:gd name="connsiteX1056" fmla="*/ 4925276 w 6697570"/>
              <a:gd name="connsiteY1056" fmla="*/ 1107397 h 4073898"/>
              <a:gd name="connsiteX1057" fmla="*/ 4991888 w 6697570"/>
              <a:gd name="connsiteY1057" fmla="*/ 864678 h 4073898"/>
              <a:gd name="connsiteX1058" fmla="*/ 4987027 w 6697570"/>
              <a:gd name="connsiteY1058" fmla="*/ 865249 h 4073898"/>
              <a:gd name="connsiteX1059" fmla="*/ 4952150 w 6697570"/>
              <a:gd name="connsiteY1059" fmla="*/ 853813 h 4073898"/>
              <a:gd name="connsiteX1060" fmla="*/ 3655647 w 6697570"/>
              <a:gd name="connsiteY1060" fmla="*/ 833801 h 4073898"/>
              <a:gd name="connsiteX1061" fmla="*/ 3671656 w 6697570"/>
              <a:gd name="connsiteY1061" fmla="*/ 842377 h 4073898"/>
              <a:gd name="connsiteX1062" fmla="*/ 3684808 w 6697570"/>
              <a:gd name="connsiteY1062" fmla="*/ 849524 h 4073898"/>
              <a:gd name="connsiteX1063" fmla="*/ 3727404 w 6697570"/>
              <a:gd name="connsiteY1063" fmla="*/ 911848 h 4073898"/>
              <a:gd name="connsiteX1064" fmla="*/ 3695957 w 6697570"/>
              <a:gd name="connsiteY1064" fmla="*/ 967596 h 4073898"/>
              <a:gd name="connsiteX1065" fmla="*/ 3694814 w 6697570"/>
              <a:gd name="connsiteY1065" fmla="*/ 968454 h 4073898"/>
              <a:gd name="connsiteX1066" fmla="*/ 3692813 w 6697570"/>
              <a:gd name="connsiteY1066" fmla="*/ 968740 h 4073898"/>
              <a:gd name="connsiteX1067" fmla="*/ 3685951 w 6697570"/>
              <a:gd name="connsiteY1067" fmla="*/ 967882 h 4073898"/>
              <a:gd name="connsiteX1068" fmla="*/ 3625343 w 6697570"/>
              <a:gd name="connsiteY1068" fmla="*/ 903558 h 4073898"/>
              <a:gd name="connsiteX1069" fmla="*/ 3649929 w 6697570"/>
              <a:gd name="connsiteY1069" fmla="*/ 839518 h 4073898"/>
              <a:gd name="connsiteX1070" fmla="*/ 6575137 w 6697570"/>
              <a:gd name="connsiteY1070" fmla="*/ 793776 h 4073898"/>
              <a:gd name="connsiteX1071" fmla="*/ 6565989 w 6697570"/>
              <a:gd name="connsiteY1071" fmla="*/ 799209 h 4073898"/>
              <a:gd name="connsiteX1072" fmla="*/ 6544547 w 6697570"/>
              <a:gd name="connsiteY1072" fmla="*/ 923570 h 4073898"/>
              <a:gd name="connsiteX1073" fmla="*/ 6551694 w 6697570"/>
              <a:gd name="connsiteY1073" fmla="*/ 931574 h 4073898"/>
              <a:gd name="connsiteX1074" fmla="*/ 6561129 w 6697570"/>
              <a:gd name="connsiteY1074" fmla="*/ 926143 h 4073898"/>
              <a:gd name="connsiteX1075" fmla="*/ 6582283 w 6697570"/>
              <a:gd name="connsiteY1075" fmla="*/ 801782 h 4073898"/>
              <a:gd name="connsiteX1076" fmla="*/ 6575137 w 6697570"/>
              <a:gd name="connsiteY1076" fmla="*/ 793776 h 4073898"/>
              <a:gd name="connsiteX1077" fmla="*/ 6546263 w 6697570"/>
              <a:gd name="connsiteY1077" fmla="*/ 788630 h 4073898"/>
              <a:gd name="connsiteX1078" fmla="*/ 6536828 w 6697570"/>
              <a:gd name="connsiteY1078" fmla="*/ 794062 h 4073898"/>
              <a:gd name="connsiteX1079" fmla="*/ 6515386 w 6697570"/>
              <a:gd name="connsiteY1079" fmla="*/ 918424 h 4073898"/>
              <a:gd name="connsiteX1080" fmla="*/ 6522534 w 6697570"/>
              <a:gd name="connsiteY1080" fmla="*/ 926429 h 4073898"/>
              <a:gd name="connsiteX1081" fmla="*/ 6531968 w 6697570"/>
              <a:gd name="connsiteY1081" fmla="*/ 920997 h 4073898"/>
              <a:gd name="connsiteX1082" fmla="*/ 6553123 w 6697570"/>
              <a:gd name="connsiteY1082" fmla="*/ 796636 h 4073898"/>
              <a:gd name="connsiteX1083" fmla="*/ 6546263 w 6697570"/>
              <a:gd name="connsiteY1083" fmla="*/ 788630 h 4073898"/>
              <a:gd name="connsiteX1084" fmla="*/ 6517101 w 6697570"/>
              <a:gd name="connsiteY1084" fmla="*/ 783770 h 4073898"/>
              <a:gd name="connsiteX1085" fmla="*/ 6507667 w 6697570"/>
              <a:gd name="connsiteY1085" fmla="*/ 789203 h 4073898"/>
              <a:gd name="connsiteX1086" fmla="*/ 6486512 w 6697570"/>
              <a:gd name="connsiteY1086" fmla="*/ 913564 h 4073898"/>
              <a:gd name="connsiteX1087" fmla="*/ 6493659 w 6697570"/>
              <a:gd name="connsiteY1087" fmla="*/ 921569 h 4073898"/>
              <a:gd name="connsiteX1088" fmla="*/ 6503093 w 6697570"/>
              <a:gd name="connsiteY1088" fmla="*/ 916137 h 4073898"/>
              <a:gd name="connsiteX1089" fmla="*/ 6524249 w 6697570"/>
              <a:gd name="connsiteY1089" fmla="*/ 791776 h 4073898"/>
              <a:gd name="connsiteX1090" fmla="*/ 6517101 w 6697570"/>
              <a:gd name="connsiteY1090" fmla="*/ 783770 h 4073898"/>
              <a:gd name="connsiteX1091" fmla="*/ 6487941 w 6697570"/>
              <a:gd name="connsiteY1091" fmla="*/ 778910 h 4073898"/>
              <a:gd name="connsiteX1092" fmla="*/ 6478507 w 6697570"/>
              <a:gd name="connsiteY1092" fmla="*/ 784342 h 4073898"/>
              <a:gd name="connsiteX1093" fmla="*/ 6457351 w 6697570"/>
              <a:gd name="connsiteY1093" fmla="*/ 908704 h 4073898"/>
              <a:gd name="connsiteX1094" fmla="*/ 6464498 w 6697570"/>
              <a:gd name="connsiteY1094" fmla="*/ 916708 h 4073898"/>
              <a:gd name="connsiteX1095" fmla="*/ 6473933 w 6697570"/>
              <a:gd name="connsiteY1095" fmla="*/ 911277 h 4073898"/>
              <a:gd name="connsiteX1096" fmla="*/ 6495087 w 6697570"/>
              <a:gd name="connsiteY1096" fmla="*/ 786915 h 4073898"/>
              <a:gd name="connsiteX1097" fmla="*/ 6487941 w 6697570"/>
              <a:gd name="connsiteY1097" fmla="*/ 778910 h 4073898"/>
              <a:gd name="connsiteX1098" fmla="*/ 6458495 w 6697570"/>
              <a:gd name="connsiteY1098" fmla="*/ 773764 h 4073898"/>
              <a:gd name="connsiteX1099" fmla="*/ 6449061 w 6697570"/>
              <a:gd name="connsiteY1099" fmla="*/ 779196 h 4073898"/>
              <a:gd name="connsiteX1100" fmla="*/ 6427905 w 6697570"/>
              <a:gd name="connsiteY1100" fmla="*/ 903558 h 4073898"/>
              <a:gd name="connsiteX1101" fmla="*/ 6435052 w 6697570"/>
              <a:gd name="connsiteY1101" fmla="*/ 911563 h 4073898"/>
              <a:gd name="connsiteX1102" fmla="*/ 6444486 w 6697570"/>
              <a:gd name="connsiteY1102" fmla="*/ 906131 h 4073898"/>
              <a:gd name="connsiteX1103" fmla="*/ 6465641 w 6697570"/>
              <a:gd name="connsiteY1103" fmla="*/ 781769 h 4073898"/>
              <a:gd name="connsiteX1104" fmla="*/ 6458495 w 6697570"/>
              <a:gd name="connsiteY1104" fmla="*/ 773764 h 4073898"/>
              <a:gd name="connsiteX1105" fmla="*/ 6429619 w 6697570"/>
              <a:gd name="connsiteY1105" fmla="*/ 768904 h 4073898"/>
              <a:gd name="connsiteX1106" fmla="*/ 6420185 w 6697570"/>
              <a:gd name="connsiteY1106" fmla="*/ 774336 h 4073898"/>
              <a:gd name="connsiteX1107" fmla="*/ 6399030 w 6697570"/>
              <a:gd name="connsiteY1107" fmla="*/ 898698 h 4073898"/>
              <a:gd name="connsiteX1108" fmla="*/ 6406177 w 6697570"/>
              <a:gd name="connsiteY1108" fmla="*/ 906703 h 4073898"/>
              <a:gd name="connsiteX1109" fmla="*/ 6415611 w 6697570"/>
              <a:gd name="connsiteY1109" fmla="*/ 901271 h 4073898"/>
              <a:gd name="connsiteX1110" fmla="*/ 6436481 w 6697570"/>
              <a:gd name="connsiteY1110" fmla="*/ 776909 h 4073898"/>
              <a:gd name="connsiteX1111" fmla="*/ 6429619 w 6697570"/>
              <a:gd name="connsiteY1111" fmla="*/ 768904 h 4073898"/>
              <a:gd name="connsiteX1112" fmla="*/ 6400173 w 6697570"/>
              <a:gd name="connsiteY1112" fmla="*/ 764044 h 4073898"/>
              <a:gd name="connsiteX1113" fmla="*/ 6390739 w 6697570"/>
              <a:gd name="connsiteY1113" fmla="*/ 769476 h 4073898"/>
              <a:gd name="connsiteX1114" fmla="*/ 6369583 w 6697570"/>
              <a:gd name="connsiteY1114" fmla="*/ 893838 h 4073898"/>
              <a:gd name="connsiteX1115" fmla="*/ 6376731 w 6697570"/>
              <a:gd name="connsiteY1115" fmla="*/ 901842 h 4073898"/>
              <a:gd name="connsiteX1116" fmla="*/ 6386165 w 6697570"/>
              <a:gd name="connsiteY1116" fmla="*/ 896410 h 4073898"/>
              <a:gd name="connsiteX1117" fmla="*/ 6407321 w 6697570"/>
              <a:gd name="connsiteY1117" fmla="*/ 772049 h 4073898"/>
              <a:gd name="connsiteX1118" fmla="*/ 6400173 w 6697570"/>
              <a:gd name="connsiteY1118" fmla="*/ 764044 h 4073898"/>
              <a:gd name="connsiteX1119" fmla="*/ 1582099 w 6697570"/>
              <a:gd name="connsiteY1119" fmla="*/ 761757 h 4073898"/>
              <a:gd name="connsiteX1120" fmla="*/ 1520063 w 6697570"/>
              <a:gd name="connsiteY1120" fmla="*/ 786343 h 4073898"/>
              <a:gd name="connsiteX1121" fmla="*/ 1478894 w 6697570"/>
              <a:gd name="connsiteY1121" fmla="*/ 778053 h 4073898"/>
              <a:gd name="connsiteX1122" fmla="*/ 1467744 w 6697570"/>
              <a:gd name="connsiteY1122" fmla="*/ 794920 h 4073898"/>
              <a:gd name="connsiteX1123" fmla="*/ 1465457 w 6697570"/>
              <a:gd name="connsiteY1123" fmla="*/ 797494 h 4073898"/>
              <a:gd name="connsiteX1124" fmla="*/ 1463171 w 6697570"/>
              <a:gd name="connsiteY1124" fmla="*/ 800352 h 4073898"/>
              <a:gd name="connsiteX1125" fmla="*/ 1441443 w 6697570"/>
              <a:gd name="connsiteY1125" fmla="*/ 818649 h 4073898"/>
              <a:gd name="connsiteX1126" fmla="*/ 1432866 w 6697570"/>
              <a:gd name="connsiteY1126" fmla="*/ 823508 h 4073898"/>
              <a:gd name="connsiteX1127" fmla="*/ 1676443 w 6697570"/>
              <a:gd name="connsiteY1127" fmla="*/ 927286 h 4073898"/>
              <a:gd name="connsiteX1128" fmla="*/ 1807952 w 6697570"/>
              <a:gd name="connsiteY1128" fmla="*/ 894410 h 4073898"/>
              <a:gd name="connsiteX1129" fmla="*/ 1801662 w 6697570"/>
              <a:gd name="connsiteY1129" fmla="*/ 892980 h 4073898"/>
              <a:gd name="connsiteX1130" fmla="*/ 1799946 w 6697570"/>
              <a:gd name="connsiteY1130" fmla="*/ 892408 h 4073898"/>
              <a:gd name="connsiteX1131" fmla="*/ 1783079 w 6697570"/>
              <a:gd name="connsiteY1131" fmla="*/ 887548 h 4073898"/>
              <a:gd name="connsiteX1132" fmla="*/ 1782222 w 6697570"/>
              <a:gd name="connsiteY1132" fmla="*/ 883260 h 4073898"/>
              <a:gd name="connsiteX1133" fmla="*/ 1781078 w 6697570"/>
              <a:gd name="connsiteY1133" fmla="*/ 887262 h 4073898"/>
              <a:gd name="connsiteX1134" fmla="*/ 1683304 w 6697570"/>
              <a:gd name="connsiteY1134" fmla="*/ 839804 h 4073898"/>
              <a:gd name="connsiteX1135" fmla="*/ 1582099 w 6697570"/>
              <a:gd name="connsiteY1135" fmla="*/ 761757 h 4073898"/>
              <a:gd name="connsiteX1136" fmla="*/ 897112 w 6697570"/>
              <a:gd name="connsiteY1136" fmla="*/ 761186 h 4073898"/>
              <a:gd name="connsiteX1137" fmla="*/ 795907 w 6697570"/>
              <a:gd name="connsiteY1137" fmla="*/ 839233 h 4073898"/>
              <a:gd name="connsiteX1138" fmla="*/ 698991 w 6697570"/>
              <a:gd name="connsiteY1138" fmla="*/ 886405 h 4073898"/>
              <a:gd name="connsiteX1139" fmla="*/ 697275 w 6697570"/>
              <a:gd name="connsiteY1139" fmla="*/ 886976 h 4073898"/>
              <a:gd name="connsiteX1140" fmla="*/ 679265 w 6697570"/>
              <a:gd name="connsiteY1140" fmla="*/ 892122 h 4073898"/>
              <a:gd name="connsiteX1141" fmla="*/ 677263 w 6697570"/>
              <a:gd name="connsiteY1141" fmla="*/ 892694 h 4073898"/>
              <a:gd name="connsiteX1142" fmla="*/ 671260 w 6697570"/>
              <a:gd name="connsiteY1142" fmla="*/ 893838 h 4073898"/>
              <a:gd name="connsiteX1143" fmla="*/ 802769 w 6697570"/>
              <a:gd name="connsiteY1143" fmla="*/ 926715 h 4073898"/>
              <a:gd name="connsiteX1144" fmla="*/ 1046346 w 6697570"/>
              <a:gd name="connsiteY1144" fmla="*/ 822937 h 4073898"/>
              <a:gd name="connsiteX1145" fmla="*/ 1037483 w 6697570"/>
              <a:gd name="connsiteY1145" fmla="*/ 817791 h 4073898"/>
              <a:gd name="connsiteX1146" fmla="*/ 1015755 w 6697570"/>
              <a:gd name="connsiteY1146" fmla="*/ 799494 h 4073898"/>
              <a:gd name="connsiteX1147" fmla="*/ 1013468 w 6697570"/>
              <a:gd name="connsiteY1147" fmla="*/ 796922 h 4073898"/>
              <a:gd name="connsiteX1148" fmla="*/ 1016041 w 6697570"/>
              <a:gd name="connsiteY1148" fmla="*/ 793491 h 4073898"/>
              <a:gd name="connsiteX1149" fmla="*/ 1012897 w 6697570"/>
              <a:gd name="connsiteY1149" fmla="*/ 796064 h 4073898"/>
              <a:gd name="connsiteX1150" fmla="*/ 1011467 w 6697570"/>
              <a:gd name="connsiteY1150" fmla="*/ 794349 h 4073898"/>
              <a:gd name="connsiteX1151" fmla="*/ 1000317 w 6697570"/>
              <a:gd name="connsiteY1151" fmla="*/ 777481 h 4073898"/>
              <a:gd name="connsiteX1152" fmla="*/ 959149 w 6697570"/>
              <a:gd name="connsiteY1152" fmla="*/ 785772 h 4073898"/>
              <a:gd name="connsiteX1153" fmla="*/ 897112 w 6697570"/>
              <a:gd name="connsiteY1153" fmla="*/ 761186 h 4073898"/>
              <a:gd name="connsiteX1154" fmla="*/ 6371013 w 6697570"/>
              <a:gd name="connsiteY1154" fmla="*/ 758898 h 4073898"/>
              <a:gd name="connsiteX1155" fmla="*/ 6361579 w 6697570"/>
              <a:gd name="connsiteY1155" fmla="*/ 764330 h 4073898"/>
              <a:gd name="connsiteX1156" fmla="*/ 6340423 w 6697570"/>
              <a:gd name="connsiteY1156" fmla="*/ 888692 h 4073898"/>
              <a:gd name="connsiteX1157" fmla="*/ 6347570 w 6697570"/>
              <a:gd name="connsiteY1157" fmla="*/ 896696 h 4073898"/>
              <a:gd name="connsiteX1158" fmla="*/ 6357005 w 6697570"/>
              <a:gd name="connsiteY1158" fmla="*/ 891265 h 4073898"/>
              <a:gd name="connsiteX1159" fmla="*/ 6378161 w 6697570"/>
              <a:gd name="connsiteY1159" fmla="*/ 766903 h 4073898"/>
              <a:gd name="connsiteX1160" fmla="*/ 6371013 w 6697570"/>
              <a:gd name="connsiteY1160" fmla="*/ 758898 h 4073898"/>
              <a:gd name="connsiteX1161" fmla="*/ 2213912 w 6697570"/>
              <a:gd name="connsiteY1161" fmla="*/ 756325 h 4073898"/>
              <a:gd name="connsiteX1162" fmla="*/ 2213341 w 6697570"/>
              <a:gd name="connsiteY1162" fmla="*/ 958734 h 4073898"/>
              <a:gd name="connsiteX1163" fmla="*/ 2274521 w 6697570"/>
              <a:gd name="connsiteY1163" fmla="*/ 1107682 h 4073898"/>
              <a:gd name="connsiteX1164" fmla="*/ 2422896 w 6697570"/>
              <a:gd name="connsiteY1164" fmla="*/ 1169719 h 4073898"/>
              <a:gd name="connsiteX1165" fmla="*/ 2423468 w 6697570"/>
              <a:gd name="connsiteY1165" fmla="*/ 1182299 h 4073898"/>
              <a:gd name="connsiteX1166" fmla="*/ 2423468 w 6697570"/>
              <a:gd name="connsiteY1166" fmla="*/ 1169719 h 4073898"/>
              <a:gd name="connsiteX1167" fmla="*/ 2633882 w 6697570"/>
              <a:gd name="connsiteY1167" fmla="*/ 960163 h 4073898"/>
              <a:gd name="connsiteX1168" fmla="*/ 2634453 w 6697570"/>
              <a:gd name="connsiteY1168" fmla="*/ 757468 h 4073898"/>
              <a:gd name="connsiteX1169" fmla="*/ 2424040 w 6697570"/>
              <a:gd name="connsiteY1169" fmla="*/ 756897 h 4073898"/>
              <a:gd name="connsiteX1170" fmla="*/ 6341853 w 6697570"/>
              <a:gd name="connsiteY1170" fmla="*/ 754038 h 4073898"/>
              <a:gd name="connsiteX1171" fmla="*/ 6332419 w 6697570"/>
              <a:gd name="connsiteY1171" fmla="*/ 759470 h 4073898"/>
              <a:gd name="connsiteX1172" fmla="*/ 6311262 w 6697570"/>
              <a:gd name="connsiteY1172" fmla="*/ 883831 h 4073898"/>
              <a:gd name="connsiteX1173" fmla="*/ 6318409 w 6697570"/>
              <a:gd name="connsiteY1173" fmla="*/ 891836 h 4073898"/>
              <a:gd name="connsiteX1174" fmla="*/ 6327843 w 6697570"/>
              <a:gd name="connsiteY1174" fmla="*/ 886405 h 4073898"/>
              <a:gd name="connsiteX1175" fmla="*/ 6348999 w 6697570"/>
              <a:gd name="connsiteY1175" fmla="*/ 762043 h 4073898"/>
              <a:gd name="connsiteX1176" fmla="*/ 6341853 w 6697570"/>
              <a:gd name="connsiteY1176" fmla="*/ 754038 h 4073898"/>
              <a:gd name="connsiteX1177" fmla="*/ 6312691 w 6697570"/>
              <a:gd name="connsiteY1177" fmla="*/ 749178 h 4073898"/>
              <a:gd name="connsiteX1178" fmla="*/ 6303257 w 6697570"/>
              <a:gd name="connsiteY1178" fmla="*/ 754610 h 4073898"/>
              <a:gd name="connsiteX1179" fmla="*/ 6282102 w 6697570"/>
              <a:gd name="connsiteY1179" fmla="*/ 878971 h 4073898"/>
              <a:gd name="connsiteX1180" fmla="*/ 6289249 w 6697570"/>
              <a:gd name="connsiteY1180" fmla="*/ 886976 h 4073898"/>
              <a:gd name="connsiteX1181" fmla="*/ 6298683 w 6697570"/>
              <a:gd name="connsiteY1181" fmla="*/ 881545 h 4073898"/>
              <a:gd name="connsiteX1182" fmla="*/ 6319839 w 6697570"/>
              <a:gd name="connsiteY1182" fmla="*/ 757183 h 4073898"/>
              <a:gd name="connsiteX1183" fmla="*/ 6312691 w 6697570"/>
              <a:gd name="connsiteY1183" fmla="*/ 749178 h 4073898"/>
              <a:gd name="connsiteX1184" fmla="*/ 5715184 w 6697570"/>
              <a:gd name="connsiteY1184" fmla="*/ 748606 h 4073898"/>
              <a:gd name="connsiteX1185" fmla="*/ 5670301 w 6697570"/>
              <a:gd name="connsiteY1185" fmla="*/ 793490 h 4073898"/>
              <a:gd name="connsiteX1186" fmla="*/ 5670301 w 6697570"/>
              <a:gd name="connsiteY1186" fmla="*/ 823223 h 4073898"/>
              <a:gd name="connsiteX1187" fmla="*/ 5619126 w 6697570"/>
              <a:gd name="connsiteY1187" fmla="*/ 823223 h 4073898"/>
              <a:gd name="connsiteX1188" fmla="*/ 5602259 w 6697570"/>
              <a:gd name="connsiteY1188" fmla="*/ 840090 h 4073898"/>
              <a:gd name="connsiteX1189" fmla="*/ 5619126 w 6697570"/>
              <a:gd name="connsiteY1189" fmla="*/ 856957 h 4073898"/>
              <a:gd name="connsiteX1190" fmla="*/ 5670301 w 6697570"/>
              <a:gd name="connsiteY1190" fmla="*/ 856957 h 4073898"/>
              <a:gd name="connsiteX1191" fmla="*/ 5670301 w 6697570"/>
              <a:gd name="connsiteY1191" fmla="*/ 900413 h 4073898"/>
              <a:gd name="connsiteX1192" fmla="*/ 5619126 w 6697570"/>
              <a:gd name="connsiteY1192" fmla="*/ 900413 h 4073898"/>
              <a:gd name="connsiteX1193" fmla="*/ 5602259 w 6697570"/>
              <a:gd name="connsiteY1193" fmla="*/ 917280 h 4073898"/>
              <a:gd name="connsiteX1194" fmla="*/ 5619126 w 6697570"/>
              <a:gd name="connsiteY1194" fmla="*/ 934147 h 4073898"/>
              <a:gd name="connsiteX1195" fmla="*/ 5670301 w 6697570"/>
              <a:gd name="connsiteY1195" fmla="*/ 934147 h 4073898"/>
              <a:gd name="connsiteX1196" fmla="*/ 5670301 w 6697570"/>
              <a:gd name="connsiteY1196" fmla="*/ 977602 h 4073898"/>
              <a:gd name="connsiteX1197" fmla="*/ 5619126 w 6697570"/>
              <a:gd name="connsiteY1197" fmla="*/ 977602 h 4073898"/>
              <a:gd name="connsiteX1198" fmla="*/ 5602259 w 6697570"/>
              <a:gd name="connsiteY1198" fmla="*/ 994470 h 4073898"/>
              <a:gd name="connsiteX1199" fmla="*/ 5619126 w 6697570"/>
              <a:gd name="connsiteY1199" fmla="*/ 1011337 h 4073898"/>
              <a:gd name="connsiteX1200" fmla="*/ 5670301 w 6697570"/>
              <a:gd name="connsiteY1200" fmla="*/ 1011337 h 4073898"/>
              <a:gd name="connsiteX1201" fmla="*/ 5670301 w 6697570"/>
              <a:gd name="connsiteY1201" fmla="*/ 1054792 h 4073898"/>
              <a:gd name="connsiteX1202" fmla="*/ 5619126 w 6697570"/>
              <a:gd name="connsiteY1202" fmla="*/ 1054792 h 4073898"/>
              <a:gd name="connsiteX1203" fmla="*/ 5602259 w 6697570"/>
              <a:gd name="connsiteY1203" fmla="*/ 1071660 h 4073898"/>
              <a:gd name="connsiteX1204" fmla="*/ 5619126 w 6697570"/>
              <a:gd name="connsiteY1204" fmla="*/ 1088527 h 4073898"/>
              <a:gd name="connsiteX1205" fmla="*/ 5670301 w 6697570"/>
              <a:gd name="connsiteY1205" fmla="*/ 1088527 h 4073898"/>
              <a:gd name="connsiteX1206" fmla="*/ 5670301 w 6697570"/>
              <a:gd name="connsiteY1206" fmla="*/ 1131982 h 4073898"/>
              <a:gd name="connsiteX1207" fmla="*/ 5619126 w 6697570"/>
              <a:gd name="connsiteY1207" fmla="*/ 1131982 h 4073898"/>
              <a:gd name="connsiteX1208" fmla="*/ 5602259 w 6697570"/>
              <a:gd name="connsiteY1208" fmla="*/ 1148850 h 4073898"/>
              <a:gd name="connsiteX1209" fmla="*/ 5619126 w 6697570"/>
              <a:gd name="connsiteY1209" fmla="*/ 1165717 h 4073898"/>
              <a:gd name="connsiteX1210" fmla="*/ 5670301 w 6697570"/>
              <a:gd name="connsiteY1210" fmla="*/ 1165717 h 4073898"/>
              <a:gd name="connsiteX1211" fmla="*/ 5670301 w 6697570"/>
              <a:gd name="connsiteY1211" fmla="*/ 1209172 h 4073898"/>
              <a:gd name="connsiteX1212" fmla="*/ 5619126 w 6697570"/>
              <a:gd name="connsiteY1212" fmla="*/ 1209172 h 4073898"/>
              <a:gd name="connsiteX1213" fmla="*/ 5602259 w 6697570"/>
              <a:gd name="connsiteY1213" fmla="*/ 1226040 h 4073898"/>
              <a:gd name="connsiteX1214" fmla="*/ 5619126 w 6697570"/>
              <a:gd name="connsiteY1214" fmla="*/ 1242907 h 4073898"/>
              <a:gd name="connsiteX1215" fmla="*/ 5670301 w 6697570"/>
              <a:gd name="connsiteY1215" fmla="*/ 1242907 h 4073898"/>
              <a:gd name="connsiteX1216" fmla="*/ 5670301 w 6697570"/>
              <a:gd name="connsiteY1216" fmla="*/ 1286361 h 4073898"/>
              <a:gd name="connsiteX1217" fmla="*/ 5619126 w 6697570"/>
              <a:gd name="connsiteY1217" fmla="*/ 1286361 h 4073898"/>
              <a:gd name="connsiteX1218" fmla="*/ 5602259 w 6697570"/>
              <a:gd name="connsiteY1218" fmla="*/ 1303229 h 4073898"/>
              <a:gd name="connsiteX1219" fmla="*/ 5619126 w 6697570"/>
              <a:gd name="connsiteY1219" fmla="*/ 1320096 h 4073898"/>
              <a:gd name="connsiteX1220" fmla="*/ 5670301 w 6697570"/>
              <a:gd name="connsiteY1220" fmla="*/ 1320096 h 4073898"/>
              <a:gd name="connsiteX1221" fmla="*/ 5670301 w 6697570"/>
              <a:gd name="connsiteY1221" fmla="*/ 1349543 h 4073898"/>
              <a:gd name="connsiteX1222" fmla="*/ 5563664 w 6697570"/>
              <a:gd name="connsiteY1222" fmla="*/ 1494202 h 4073898"/>
              <a:gd name="connsiteX1223" fmla="*/ 5715184 w 6697570"/>
              <a:gd name="connsiteY1223" fmla="*/ 1645723 h 4073898"/>
              <a:gd name="connsiteX1224" fmla="*/ 5866705 w 6697570"/>
              <a:gd name="connsiteY1224" fmla="*/ 1494202 h 4073898"/>
              <a:gd name="connsiteX1225" fmla="*/ 5760069 w 6697570"/>
              <a:gd name="connsiteY1225" fmla="*/ 1349543 h 4073898"/>
              <a:gd name="connsiteX1226" fmla="*/ 5760069 w 6697570"/>
              <a:gd name="connsiteY1226" fmla="*/ 1320096 h 4073898"/>
              <a:gd name="connsiteX1227" fmla="*/ 5811529 w 6697570"/>
              <a:gd name="connsiteY1227" fmla="*/ 1320096 h 4073898"/>
              <a:gd name="connsiteX1228" fmla="*/ 5828396 w 6697570"/>
              <a:gd name="connsiteY1228" fmla="*/ 1303229 h 4073898"/>
              <a:gd name="connsiteX1229" fmla="*/ 5811529 w 6697570"/>
              <a:gd name="connsiteY1229" fmla="*/ 1286361 h 4073898"/>
              <a:gd name="connsiteX1230" fmla="*/ 5760069 w 6697570"/>
              <a:gd name="connsiteY1230" fmla="*/ 1286361 h 4073898"/>
              <a:gd name="connsiteX1231" fmla="*/ 5760069 w 6697570"/>
              <a:gd name="connsiteY1231" fmla="*/ 1242907 h 4073898"/>
              <a:gd name="connsiteX1232" fmla="*/ 5811529 w 6697570"/>
              <a:gd name="connsiteY1232" fmla="*/ 1242907 h 4073898"/>
              <a:gd name="connsiteX1233" fmla="*/ 5828396 w 6697570"/>
              <a:gd name="connsiteY1233" fmla="*/ 1226040 h 4073898"/>
              <a:gd name="connsiteX1234" fmla="*/ 5811529 w 6697570"/>
              <a:gd name="connsiteY1234" fmla="*/ 1209172 h 4073898"/>
              <a:gd name="connsiteX1235" fmla="*/ 5760069 w 6697570"/>
              <a:gd name="connsiteY1235" fmla="*/ 1209172 h 4073898"/>
              <a:gd name="connsiteX1236" fmla="*/ 5760069 w 6697570"/>
              <a:gd name="connsiteY1236" fmla="*/ 1165717 h 4073898"/>
              <a:gd name="connsiteX1237" fmla="*/ 5811529 w 6697570"/>
              <a:gd name="connsiteY1237" fmla="*/ 1165717 h 4073898"/>
              <a:gd name="connsiteX1238" fmla="*/ 5828396 w 6697570"/>
              <a:gd name="connsiteY1238" fmla="*/ 1148850 h 4073898"/>
              <a:gd name="connsiteX1239" fmla="*/ 5811529 w 6697570"/>
              <a:gd name="connsiteY1239" fmla="*/ 1131982 h 4073898"/>
              <a:gd name="connsiteX1240" fmla="*/ 5760069 w 6697570"/>
              <a:gd name="connsiteY1240" fmla="*/ 1131982 h 4073898"/>
              <a:gd name="connsiteX1241" fmla="*/ 5760069 w 6697570"/>
              <a:gd name="connsiteY1241" fmla="*/ 1088527 h 4073898"/>
              <a:gd name="connsiteX1242" fmla="*/ 5811529 w 6697570"/>
              <a:gd name="connsiteY1242" fmla="*/ 1088527 h 4073898"/>
              <a:gd name="connsiteX1243" fmla="*/ 5828396 w 6697570"/>
              <a:gd name="connsiteY1243" fmla="*/ 1071660 h 4073898"/>
              <a:gd name="connsiteX1244" fmla="*/ 5811529 w 6697570"/>
              <a:gd name="connsiteY1244" fmla="*/ 1054792 h 4073898"/>
              <a:gd name="connsiteX1245" fmla="*/ 5760069 w 6697570"/>
              <a:gd name="connsiteY1245" fmla="*/ 1054792 h 4073898"/>
              <a:gd name="connsiteX1246" fmla="*/ 5760069 w 6697570"/>
              <a:gd name="connsiteY1246" fmla="*/ 1011337 h 4073898"/>
              <a:gd name="connsiteX1247" fmla="*/ 5811529 w 6697570"/>
              <a:gd name="connsiteY1247" fmla="*/ 1011337 h 4073898"/>
              <a:gd name="connsiteX1248" fmla="*/ 5828396 w 6697570"/>
              <a:gd name="connsiteY1248" fmla="*/ 994470 h 4073898"/>
              <a:gd name="connsiteX1249" fmla="*/ 5811529 w 6697570"/>
              <a:gd name="connsiteY1249" fmla="*/ 977602 h 4073898"/>
              <a:gd name="connsiteX1250" fmla="*/ 5760069 w 6697570"/>
              <a:gd name="connsiteY1250" fmla="*/ 977602 h 4073898"/>
              <a:gd name="connsiteX1251" fmla="*/ 5760069 w 6697570"/>
              <a:gd name="connsiteY1251" fmla="*/ 934147 h 4073898"/>
              <a:gd name="connsiteX1252" fmla="*/ 5811529 w 6697570"/>
              <a:gd name="connsiteY1252" fmla="*/ 934147 h 4073898"/>
              <a:gd name="connsiteX1253" fmla="*/ 5828396 w 6697570"/>
              <a:gd name="connsiteY1253" fmla="*/ 917280 h 4073898"/>
              <a:gd name="connsiteX1254" fmla="*/ 5811529 w 6697570"/>
              <a:gd name="connsiteY1254" fmla="*/ 900413 h 4073898"/>
              <a:gd name="connsiteX1255" fmla="*/ 5760069 w 6697570"/>
              <a:gd name="connsiteY1255" fmla="*/ 900413 h 4073898"/>
              <a:gd name="connsiteX1256" fmla="*/ 5760069 w 6697570"/>
              <a:gd name="connsiteY1256" fmla="*/ 856957 h 4073898"/>
              <a:gd name="connsiteX1257" fmla="*/ 5811529 w 6697570"/>
              <a:gd name="connsiteY1257" fmla="*/ 856957 h 4073898"/>
              <a:gd name="connsiteX1258" fmla="*/ 5828396 w 6697570"/>
              <a:gd name="connsiteY1258" fmla="*/ 840090 h 4073898"/>
              <a:gd name="connsiteX1259" fmla="*/ 5811529 w 6697570"/>
              <a:gd name="connsiteY1259" fmla="*/ 823223 h 4073898"/>
              <a:gd name="connsiteX1260" fmla="*/ 5760069 w 6697570"/>
              <a:gd name="connsiteY1260" fmla="*/ 823223 h 4073898"/>
              <a:gd name="connsiteX1261" fmla="*/ 5760069 w 6697570"/>
              <a:gd name="connsiteY1261" fmla="*/ 793490 h 4073898"/>
              <a:gd name="connsiteX1262" fmla="*/ 5715184 w 6697570"/>
              <a:gd name="connsiteY1262" fmla="*/ 748606 h 4073898"/>
              <a:gd name="connsiteX1263" fmla="*/ 6283531 w 6697570"/>
              <a:gd name="connsiteY1263" fmla="*/ 744318 h 4073898"/>
              <a:gd name="connsiteX1264" fmla="*/ 6274097 w 6697570"/>
              <a:gd name="connsiteY1264" fmla="*/ 749750 h 4073898"/>
              <a:gd name="connsiteX1265" fmla="*/ 6252941 w 6697570"/>
              <a:gd name="connsiteY1265" fmla="*/ 874111 h 4073898"/>
              <a:gd name="connsiteX1266" fmla="*/ 6260089 w 6697570"/>
              <a:gd name="connsiteY1266" fmla="*/ 882116 h 4073898"/>
              <a:gd name="connsiteX1267" fmla="*/ 6269523 w 6697570"/>
              <a:gd name="connsiteY1267" fmla="*/ 876685 h 4073898"/>
              <a:gd name="connsiteX1268" fmla="*/ 6290679 w 6697570"/>
              <a:gd name="connsiteY1268" fmla="*/ 752323 h 4073898"/>
              <a:gd name="connsiteX1269" fmla="*/ 6283531 w 6697570"/>
              <a:gd name="connsiteY1269" fmla="*/ 744318 h 4073898"/>
              <a:gd name="connsiteX1270" fmla="*/ 4550477 w 6697570"/>
              <a:gd name="connsiteY1270" fmla="*/ 736028 h 4073898"/>
              <a:gd name="connsiteX1271" fmla="*/ 4550191 w 6697570"/>
              <a:gd name="connsiteY1271" fmla="*/ 854384 h 4073898"/>
              <a:gd name="connsiteX1272" fmla="*/ 4586213 w 6697570"/>
              <a:gd name="connsiteY1272" fmla="*/ 941580 h 4073898"/>
              <a:gd name="connsiteX1273" fmla="*/ 4673122 w 6697570"/>
              <a:gd name="connsiteY1273" fmla="*/ 977888 h 4073898"/>
              <a:gd name="connsiteX1274" fmla="*/ 4673409 w 6697570"/>
              <a:gd name="connsiteY1274" fmla="*/ 985321 h 4073898"/>
              <a:gd name="connsiteX1275" fmla="*/ 4673409 w 6697570"/>
              <a:gd name="connsiteY1275" fmla="*/ 977888 h 4073898"/>
              <a:gd name="connsiteX1276" fmla="*/ 4796626 w 6697570"/>
              <a:gd name="connsiteY1276" fmla="*/ 855242 h 4073898"/>
              <a:gd name="connsiteX1277" fmla="*/ 4796626 w 6697570"/>
              <a:gd name="connsiteY1277" fmla="*/ 736601 h 4073898"/>
              <a:gd name="connsiteX1278" fmla="*/ 4673695 w 6697570"/>
              <a:gd name="connsiteY1278" fmla="*/ 736315 h 4073898"/>
              <a:gd name="connsiteX1279" fmla="*/ 1165276 w 6697570"/>
              <a:gd name="connsiteY1279" fmla="*/ 732312 h 4073898"/>
              <a:gd name="connsiteX1280" fmla="*/ 1150981 w 6697570"/>
              <a:gd name="connsiteY1280" fmla="*/ 733742 h 4073898"/>
              <a:gd name="connsiteX1281" fmla="*/ 1166133 w 6697570"/>
              <a:gd name="connsiteY1281" fmla="*/ 753180 h 4073898"/>
              <a:gd name="connsiteX1282" fmla="*/ 6280386 w 6697570"/>
              <a:gd name="connsiteY1282" fmla="*/ 729452 h 4073898"/>
              <a:gd name="connsiteX1283" fmla="*/ 6583142 w 6697570"/>
              <a:gd name="connsiteY1283" fmla="*/ 780912 h 4073898"/>
              <a:gd name="connsiteX1284" fmla="*/ 6596293 w 6697570"/>
              <a:gd name="connsiteY1284" fmla="*/ 799494 h 4073898"/>
              <a:gd name="connsiteX1285" fmla="*/ 6571421 w 6697570"/>
              <a:gd name="connsiteY1285" fmla="*/ 945869 h 4073898"/>
              <a:gd name="connsiteX1286" fmla="*/ 6559413 w 6697570"/>
              <a:gd name="connsiteY1286" fmla="*/ 943868 h 4073898"/>
              <a:gd name="connsiteX1287" fmla="*/ 6579711 w 6697570"/>
              <a:gd name="connsiteY1287" fmla="*/ 1041069 h 4073898"/>
              <a:gd name="connsiteX1288" fmla="*/ 6626311 w 6697570"/>
              <a:gd name="connsiteY1288" fmla="*/ 1201453 h 4073898"/>
              <a:gd name="connsiteX1289" fmla="*/ 6566560 w 6697570"/>
              <a:gd name="connsiteY1289" fmla="*/ 1557956 h 4073898"/>
              <a:gd name="connsiteX1290" fmla="*/ 6475647 w 6697570"/>
              <a:gd name="connsiteY1290" fmla="*/ 1622566 h 4073898"/>
              <a:gd name="connsiteX1291" fmla="*/ 6104565 w 6697570"/>
              <a:gd name="connsiteY1291" fmla="*/ 1559670 h 4073898"/>
              <a:gd name="connsiteX1292" fmla="*/ 6039954 w 6697570"/>
              <a:gd name="connsiteY1292" fmla="*/ 1468759 h 4073898"/>
              <a:gd name="connsiteX1293" fmla="*/ 6100277 w 6697570"/>
              <a:gd name="connsiteY1293" fmla="*/ 1114543 h 4073898"/>
              <a:gd name="connsiteX1294" fmla="*/ 6197765 w 6697570"/>
              <a:gd name="connsiteY1294" fmla="*/ 976174 h 4073898"/>
              <a:gd name="connsiteX1295" fmla="*/ 6248939 w 6697570"/>
              <a:gd name="connsiteY1295" fmla="*/ 890978 h 4073898"/>
              <a:gd name="connsiteX1296" fmla="*/ 6236931 w 6697570"/>
              <a:gd name="connsiteY1296" fmla="*/ 888977 h 4073898"/>
              <a:gd name="connsiteX1297" fmla="*/ 6261803 w 6697570"/>
              <a:gd name="connsiteY1297" fmla="*/ 742602 h 4073898"/>
              <a:gd name="connsiteX1298" fmla="*/ 6280386 w 6697570"/>
              <a:gd name="connsiteY1298" fmla="*/ 729452 h 4073898"/>
              <a:gd name="connsiteX1299" fmla="*/ 1301072 w 6697570"/>
              <a:gd name="connsiteY1299" fmla="*/ 720590 h 4073898"/>
              <a:gd name="connsiteX1300" fmla="*/ 1300500 w 6697570"/>
              <a:gd name="connsiteY1300" fmla="*/ 794920 h 4073898"/>
              <a:gd name="connsiteX1301" fmla="*/ 1354247 w 6697570"/>
              <a:gd name="connsiteY1301" fmla="*/ 732883 h 4073898"/>
              <a:gd name="connsiteX1302" fmla="*/ 1311650 w 6697570"/>
              <a:gd name="connsiteY1302" fmla="*/ 726879 h 4073898"/>
              <a:gd name="connsiteX1303" fmla="*/ 1301072 w 6697570"/>
              <a:gd name="connsiteY1303" fmla="*/ 720590 h 4073898"/>
              <a:gd name="connsiteX1304" fmla="*/ 4987314 w 6697570"/>
              <a:gd name="connsiteY1304" fmla="*/ 712300 h 4073898"/>
              <a:gd name="connsiteX1305" fmla="*/ 5047636 w 6697570"/>
              <a:gd name="connsiteY1305" fmla="*/ 803783 h 4073898"/>
              <a:gd name="connsiteX1306" fmla="*/ 5021905 w 6697570"/>
              <a:gd name="connsiteY1306" fmla="*/ 854385 h 4073898"/>
              <a:gd name="connsiteX1307" fmla="*/ 4693992 w 6697570"/>
              <a:gd name="connsiteY1307" fmla="*/ 1325242 h 4073898"/>
              <a:gd name="connsiteX1308" fmla="*/ 4683415 w 6697570"/>
              <a:gd name="connsiteY1308" fmla="*/ 1566246 h 4073898"/>
              <a:gd name="connsiteX1309" fmla="*/ 4732873 w 6697570"/>
              <a:gd name="connsiteY1309" fmla="*/ 1893874 h 4073898"/>
              <a:gd name="connsiteX1310" fmla="*/ 4434406 w 6697570"/>
              <a:gd name="connsiteY1310" fmla="*/ 2025382 h 4073898"/>
              <a:gd name="connsiteX1311" fmla="*/ 4123360 w 6697570"/>
              <a:gd name="connsiteY1311" fmla="*/ 1698326 h 4073898"/>
              <a:gd name="connsiteX1312" fmla="*/ 4070470 w 6697570"/>
              <a:gd name="connsiteY1312" fmla="*/ 1528509 h 4073898"/>
              <a:gd name="connsiteX1313" fmla="*/ 4031304 w 6697570"/>
              <a:gd name="connsiteY1313" fmla="*/ 1535084 h 4073898"/>
              <a:gd name="connsiteX1314" fmla="*/ 3910373 w 6697570"/>
              <a:gd name="connsiteY1314" fmla="*/ 1412152 h 4073898"/>
              <a:gd name="connsiteX1315" fmla="*/ 4031304 w 6697570"/>
              <a:gd name="connsiteY1315" fmla="*/ 1289221 h 4073898"/>
              <a:gd name="connsiteX1316" fmla="*/ 4152520 w 6697570"/>
              <a:gd name="connsiteY1316" fmla="*/ 1412152 h 4073898"/>
              <a:gd name="connsiteX1317" fmla="*/ 4142514 w 6697570"/>
              <a:gd name="connsiteY1317" fmla="*/ 1461039 h 4073898"/>
              <a:gd name="connsiteX1318" fmla="*/ 4219418 w 6697570"/>
              <a:gd name="connsiteY1318" fmla="*/ 1679744 h 4073898"/>
              <a:gd name="connsiteX1319" fmla="*/ 4434406 w 6697570"/>
              <a:gd name="connsiteY1319" fmla="*/ 1925893 h 4073898"/>
              <a:gd name="connsiteX1320" fmla="*/ 4647393 w 6697570"/>
              <a:gd name="connsiteY1320" fmla="*/ 1845559 h 4073898"/>
              <a:gd name="connsiteX1321" fmla="*/ 4600220 w 6697570"/>
              <a:gd name="connsiteY1321" fmla="*/ 1618564 h 4073898"/>
              <a:gd name="connsiteX1322" fmla="*/ 4592216 w 6697570"/>
              <a:gd name="connsiteY1322" fmla="*/ 1318382 h 4073898"/>
              <a:gd name="connsiteX1323" fmla="*/ 4298609 w 6697570"/>
              <a:gd name="connsiteY1323" fmla="*/ 840662 h 4073898"/>
              <a:gd name="connsiteX1324" fmla="*/ 4286316 w 6697570"/>
              <a:gd name="connsiteY1324" fmla="*/ 804069 h 4073898"/>
              <a:gd name="connsiteX1325" fmla="*/ 4346638 w 6697570"/>
              <a:gd name="connsiteY1325" fmla="*/ 712587 h 4073898"/>
              <a:gd name="connsiteX1326" fmla="*/ 4406961 w 6697570"/>
              <a:gd name="connsiteY1326" fmla="*/ 804069 h 4073898"/>
              <a:gd name="connsiteX1327" fmla="*/ 4396096 w 6697570"/>
              <a:gd name="connsiteY1327" fmla="*/ 838947 h 4073898"/>
              <a:gd name="connsiteX1328" fmla="*/ 4660257 w 6697570"/>
              <a:gd name="connsiteY1328" fmla="*/ 1228040 h 4073898"/>
              <a:gd name="connsiteX1329" fmla="*/ 4924989 w 6697570"/>
              <a:gd name="connsiteY1329" fmla="*/ 813503 h 4073898"/>
              <a:gd name="connsiteX1330" fmla="*/ 4924989 w 6697570"/>
              <a:gd name="connsiteY1330" fmla="*/ 798923 h 4073898"/>
              <a:gd name="connsiteX1331" fmla="*/ 4926991 w 6697570"/>
              <a:gd name="connsiteY1331" fmla="*/ 798923 h 4073898"/>
              <a:gd name="connsiteX1332" fmla="*/ 4987314 w 6697570"/>
              <a:gd name="connsiteY1332" fmla="*/ 712300 h 4073898"/>
              <a:gd name="connsiteX1333" fmla="*/ 1627556 w 6697570"/>
              <a:gd name="connsiteY1333" fmla="*/ 679709 h 4073898"/>
              <a:gd name="connsiteX1334" fmla="*/ 1597824 w 6697570"/>
              <a:gd name="connsiteY1334" fmla="*/ 744319 h 4073898"/>
              <a:gd name="connsiteX1335" fmla="*/ 1658718 w 6697570"/>
              <a:gd name="connsiteY1335" fmla="*/ 794635 h 4073898"/>
              <a:gd name="connsiteX1336" fmla="*/ 1841114 w 6697570"/>
              <a:gd name="connsiteY1336" fmla="*/ 875826 h 4073898"/>
              <a:gd name="connsiteX1337" fmla="*/ 1861126 w 6697570"/>
              <a:gd name="connsiteY1337" fmla="*/ 876971 h 4073898"/>
              <a:gd name="connsiteX1338" fmla="*/ 1975768 w 6697570"/>
              <a:gd name="connsiteY1338" fmla="*/ 821794 h 4073898"/>
              <a:gd name="connsiteX1339" fmla="*/ 1873420 w 6697570"/>
              <a:gd name="connsiteY1339" fmla="*/ 796636 h 4073898"/>
              <a:gd name="connsiteX1340" fmla="*/ 1721613 w 6697570"/>
              <a:gd name="connsiteY1340" fmla="*/ 690859 h 4073898"/>
              <a:gd name="connsiteX1341" fmla="*/ 1715896 w 6697570"/>
              <a:gd name="connsiteY1341" fmla="*/ 689715 h 4073898"/>
              <a:gd name="connsiteX1342" fmla="*/ 1683876 w 6697570"/>
              <a:gd name="connsiteY1342" fmla="*/ 694575 h 4073898"/>
              <a:gd name="connsiteX1343" fmla="*/ 1627556 w 6697570"/>
              <a:gd name="connsiteY1343" fmla="*/ 679709 h 4073898"/>
              <a:gd name="connsiteX1344" fmla="*/ 851370 w 6697570"/>
              <a:gd name="connsiteY1344" fmla="*/ 679709 h 4073898"/>
              <a:gd name="connsiteX1345" fmla="*/ 795050 w 6697570"/>
              <a:gd name="connsiteY1345" fmla="*/ 694575 h 4073898"/>
              <a:gd name="connsiteX1346" fmla="*/ 763031 w 6697570"/>
              <a:gd name="connsiteY1346" fmla="*/ 689715 h 4073898"/>
              <a:gd name="connsiteX1347" fmla="*/ 757312 w 6697570"/>
              <a:gd name="connsiteY1347" fmla="*/ 690859 h 4073898"/>
              <a:gd name="connsiteX1348" fmla="*/ 605506 w 6697570"/>
              <a:gd name="connsiteY1348" fmla="*/ 796922 h 4073898"/>
              <a:gd name="connsiteX1349" fmla="*/ 502872 w 6697570"/>
              <a:gd name="connsiteY1349" fmla="*/ 821508 h 4073898"/>
              <a:gd name="connsiteX1350" fmla="*/ 617799 w 6697570"/>
              <a:gd name="connsiteY1350" fmla="*/ 876685 h 4073898"/>
              <a:gd name="connsiteX1351" fmla="*/ 637811 w 6697570"/>
              <a:gd name="connsiteY1351" fmla="*/ 875541 h 4073898"/>
              <a:gd name="connsiteX1352" fmla="*/ 820208 w 6697570"/>
              <a:gd name="connsiteY1352" fmla="*/ 794349 h 4073898"/>
              <a:gd name="connsiteX1353" fmla="*/ 881102 w 6697570"/>
              <a:gd name="connsiteY1353" fmla="*/ 744033 h 4073898"/>
              <a:gd name="connsiteX1354" fmla="*/ 851370 w 6697570"/>
              <a:gd name="connsiteY1354" fmla="*/ 679709 h 4073898"/>
              <a:gd name="connsiteX1355" fmla="*/ 1337379 w 6697570"/>
              <a:gd name="connsiteY1355" fmla="*/ 664272 h 4073898"/>
              <a:gd name="connsiteX1356" fmla="*/ 1354533 w 6697570"/>
              <a:gd name="connsiteY1356" fmla="*/ 669989 h 4073898"/>
              <a:gd name="connsiteX1357" fmla="*/ 1355391 w 6697570"/>
              <a:gd name="connsiteY1357" fmla="*/ 670561 h 4073898"/>
              <a:gd name="connsiteX1358" fmla="*/ 1354533 w 6697570"/>
              <a:gd name="connsiteY1358" fmla="*/ 671132 h 4073898"/>
              <a:gd name="connsiteX1359" fmla="*/ 1341096 w 6697570"/>
              <a:gd name="connsiteY1359" fmla="*/ 675707 h 4073898"/>
              <a:gd name="connsiteX1360" fmla="*/ 1325087 w 6697570"/>
              <a:gd name="connsiteY1360" fmla="*/ 668846 h 4073898"/>
              <a:gd name="connsiteX1361" fmla="*/ 1324514 w 6697570"/>
              <a:gd name="connsiteY1361" fmla="*/ 668274 h 4073898"/>
              <a:gd name="connsiteX1362" fmla="*/ 1325087 w 6697570"/>
              <a:gd name="connsiteY1362" fmla="*/ 667702 h 4073898"/>
              <a:gd name="connsiteX1363" fmla="*/ 1337379 w 6697570"/>
              <a:gd name="connsiteY1363" fmla="*/ 664272 h 4073898"/>
              <a:gd name="connsiteX1364" fmla="*/ 1160701 w 6697570"/>
              <a:gd name="connsiteY1364" fmla="*/ 664272 h 4073898"/>
              <a:gd name="connsiteX1365" fmla="*/ 1177855 w 6697570"/>
              <a:gd name="connsiteY1365" fmla="*/ 669704 h 4073898"/>
              <a:gd name="connsiteX1366" fmla="*/ 1178713 w 6697570"/>
              <a:gd name="connsiteY1366" fmla="*/ 670275 h 4073898"/>
              <a:gd name="connsiteX1367" fmla="*/ 1178140 w 6697570"/>
              <a:gd name="connsiteY1367" fmla="*/ 670847 h 4073898"/>
              <a:gd name="connsiteX1368" fmla="*/ 1164704 w 6697570"/>
              <a:gd name="connsiteY1368" fmla="*/ 675421 h 4073898"/>
              <a:gd name="connsiteX1369" fmla="*/ 1148123 w 6697570"/>
              <a:gd name="connsiteY1369" fmla="*/ 668846 h 4073898"/>
              <a:gd name="connsiteX1370" fmla="*/ 1147550 w 6697570"/>
              <a:gd name="connsiteY1370" fmla="*/ 668274 h 4073898"/>
              <a:gd name="connsiteX1371" fmla="*/ 1148408 w 6697570"/>
              <a:gd name="connsiteY1371" fmla="*/ 667702 h 4073898"/>
              <a:gd name="connsiteX1372" fmla="*/ 1160701 w 6697570"/>
              <a:gd name="connsiteY1372" fmla="*/ 664272 h 4073898"/>
              <a:gd name="connsiteX1373" fmla="*/ 1161273 w 6697570"/>
              <a:gd name="connsiteY1373" fmla="*/ 658553 h 4073898"/>
              <a:gd name="connsiteX1374" fmla="*/ 1137544 w 6697570"/>
              <a:gd name="connsiteY1374" fmla="*/ 663700 h 4073898"/>
              <a:gd name="connsiteX1375" fmla="*/ 1082939 w 6697570"/>
              <a:gd name="connsiteY1375" fmla="*/ 719446 h 4073898"/>
              <a:gd name="connsiteX1376" fmla="*/ 1092374 w 6697570"/>
              <a:gd name="connsiteY1376" fmla="*/ 775194 h 4073898"/>
              <a:gd name="connsiteX1377" fmla="*/ 1174709 w 6697570"/>
              <a:gd name="connsiteY1377" fmla="*/ 858387 h 4073898"/>
              <a:gd name="connsiteX1378" fmla="*/ 1187289 w 6697570"/>
              <a:gd name="connsiteY1378" fmla="*/ 867250 h 4073898"/>
              <a:gd name="connsiteX1379" fmla="*/ 1175281 w 6697570"/>
              <a:gd name="connsiteY1379" fmla="*/ 876685 h 4073898"/>
              <a:gd name="connsiteX1380" fmla="*/ 1113529 w 6697570"/>
              <a:gd name="connsiteY1380" fmla="*/ 981034 h 4073898"/>
              <a:gd name="connsiteX1381" fmla="*/ 1171850 w 6697570"/>
              <a:gd name="connsiteY1381" fmla="*/ 1086526 h 4073898"/>
              <a:gd name="connsiteX1382" fmla="*/ 1196723 w 6697570"/>
              <a:gd name="connsiteY1382" fmla="*/ 1106824 h 4073898"/>
              <a:gd name="connsiteX1383" fmla="*/ 1168706 w 6697570"/>
              <a:gd name="connsiteY1383" fmla="*/ 1106824 h 4073898"/>
              <a:gd name="connsiteX1384" fmla="*/ 1137544 w 6697570"/>
              <a:gd name="connsiteY1384" fmla="*/ 1166289 h 4073898"/>
              <a:gd name="connsiteX1385" fmla="*/ 1195579 w 6697570"/>
              <a:gd name="connsiteY1385" fmla="*/ 1309233 h 4073898"/>
              <a:gd name="connsiteX1386" fmla="*/ 1199582 w 6697570"/>
              <a:gd name="connsiteY1386" fmla="*/ 1314093 h 4073898"/>
              <a:gd name="connsiteX1387" fmla="*/ 1197296 w 6697570"/>
              <a:gd name="connsiteY1387" fmla="*/ 1316094 h 4073898"/>
              <a:gd name="connsiteX1388" fmla="*/ 1200439 w 6697570"/>
              <a:gd name="connsiteY1388" fmla="*/ 1321240 h 4073898"/>
              <a:gd name="connsiteX1389" fmla="*/ 1196437 w 6697570"/>
              <a:gd name="connsiteY1389" fmla="*/ 1324671 h 4073898"/>
              <a:gd name="connsiteX1390" fmla="*/ 1149551 w 6697570"/>
              <a:gd name="connsiteY1390" fmla="*/ 1392712 h 4073898"/>
              <a:gd name="connsiteX1391" fmla="*/ 1203584 w 6697570"/>
              <a:gd name="connsiteY1391" fmla="*/ 1468472 h 4073898"/>
              <a:gd name="connsiteX1392" fmla="*/ 1217021 w 6697570"/>
              <a:gd name="connsiteY1392" fmla="*/ 1476763 h 4073898"/>
              <a:gd name="connsiteX1393" fmla="*/ 1210445 w 6697570"/>
              <a:gd name="connsiteY1393" fmla="*/ 1482195 h 4073898"/>
              <a:gd name="connsiteX1394" fmla="*/ 1172136 w 6697570"/>
              <a:gd name="connsiteY1394" fmla="*/ 1545376 h 4073898"/>
              <a:gd name="connsiteX1395" fmla="*/ 1191576 w 6697570"/>
              <a:gd name="connsiteY1395" fmla="*/ 1588545 h 4073898"/>
              <a:gd name="connsiteX1396" fmla="*/ 1223310 w 6697570"/>
              <a:gd name="connsiteY1396" fmla="*/ 1496204 h 4073898"/>
              <a:gd name="connsiteX1397" fmla="*/ 1236747 w 6697570"/>
              <a:gd name="connsiteY1397" fmla="*/ 1485912 h 4073898"/>
              <a:gd name="connsiteX1398" fmla="*/ 1240464 w 6697570"/>
              <a:gd name="connsiteY1398" fmla="*/ 1487913 h 4073898"/>
              <a:gd name="connsiteX1399" fmla="*/ 1251900 w 6697570"/>
              <a:gd name="connsiteY1399" fmla="*/ 1496775 h 4073898"/>
              <a:gd name="connsiteX1400" fmla="*/ 1262477 w 6697570"/>
              <a:gd name="connsiteY1400" fmla="*/ 1505066 h 4073898"/>
              <a:gd name="connsiteX1401" fmla="*/ 1297070 w 6697570"/>
              <a:gd name="connsiteY1401" fmla="*/ 1548235 h 4073898"/>
              <a:gd name="connsiteX1402" fmla="*/ 1286778 w 6697570"/>
              <a:gd name="connsiteY1402" fmla="*/ 1599981 h 4073898"/>
              <a:gd name="connsiteX1403" fmla="*/ 1311364 w 6697570"/>
              <a:gd name="connsiteY1403" fmla="*/ 1568819 h 4073898"/>
              <a:gd name="connsiteX1404" fmla="*/ 1291924 w 6697570"/>
              <a:gd name="connsiteY1404" fmla="*/ 1505638 h 4073898"/>
              <a:gd name="connsiteX1405" fmla="*/ 1284776 w 6697570"/>
              <a:gd name="connsiteY1405" fmla="*/ 1497347 h 4073898"/>
              <a:gd name="connsiteX1406" fmla="*/ 1292495 w 6697570"/>
              <a:gd name="connsiteY1406" fmla="*/ 1489914 h 4073898"/>
              <a:gd name="connsiteX1407" fmla="*/ 1343383 w 6697570"/>
              <a:gd name="connsiteY1407" fmla="*/ 1384136 h 4073898"/>
              <a:gd name="connsiteX1408" fmla="*/ 1313937 w 6697570"/>
              <a:gd name="connsiteY1408" fmla="*/ 1323528 h 4073898"/>
              <a:gd name="connsiteX1409" fmla="*/ 1302501 w 6697570"/>
              <a:gd name="connsiteY1409" fmla="*/ 1313235 h 4073898"/>
              <a:gd name="connsiteX1410" fmla="*/ 1315938 w 6697570"/>
              <a:gd name="connsiteY1410" fmla="*/ 1305516 h 4073898"/>
              <a:gd name="connsiteX1411" fmla="*/ 1388554 w 6697570"/>
              <a:gd name="connsiteY1411" fmla="*/ 1202597 h 4073898"/>
              <a:gd name="connsiteX1412" fmla="*/ 1292781 w 6697570"/>
              <a:gd name="connsiteY1412" fmla="*/ 1083381 h 4073898"/>
              <a:gd name="connsiteX1413" fmla="*/ 1276772 w 6697570"/>
              <a:gd name="connsiteY1413" fmla="*/ 1073661 h 4073898"/>
              <a:gd name="connsiteX1414" fmla="*/ 1292781 w 6697570"/>
              <a:gd name="connsiteY1414" fmla="*/ 1063941 h 4073898"/>
              <a:gd name="connsiteX1415" fmla="*/ 1391698 w 6697570"/>
              <a:gd name="connsiteY1415" fmla="*/ 944154 h 4073898"/>
              <a:gd name="connsiteX1416" fmla="*/ 1346528 w 6697570"/>
              <a:gd name="connsiteY1416" fmla="*/ 871825 h 4073898"/>
              <a:gd name="connsiteX1417" fmla="*/ 1329375 w 6697570"/>
              <a:gd name="connsiteY1417" fmla="*/ 859531 h 4073898"/>
              <a:gd name="connsiteX1418" fmla="*/ 1349101 w 6697570"/>
              <a:gd name="connsiteY1418" fmla="*/ 851812 h 4073898"/>
              <a:gd name="connsiteX1419" fmla="*/ 1352818 w 6697570"/>
              <a:gd name="connsiteY1419" fmla="*/ 850096 h 4073898"/>
              <a:gd name="connsiteX1420" fmla="*/ 1432009 w 6697570"/>
              <a:gd name="connsiteY1420" fmla="*/ 752895 h 4073898"/>
              <a:gd name="connsiteX1421" fmla="*/ 1424576 w 6697570"/>
              <a:gd name="connsiteY1421" fmla="*/ 694004 h 4073898"/>
              <a:gd name="connsiteX1422" fmla="*/ 1352818 w 6697570"/>
              <a:gd name="connsiteY1422" fmla="*/ 660840 h 4073898"/>
              <a:gd name="connsiteX1423" fmla="*/ 1309077 w 6697570"/>
              <a:gd name="connsiteY1423" fmla="*/ 667416 h 4073898"/>
              <a:gd name="connsiteX1424" fmla="*/ 1303645 w 6697570"/>
              <a:gd name="connsiteY1424" fmla="*/ 677708 h 4073898"/>
              <a:gd name="connsiteX1425" fmla="*/ 1321656 w 6697570"/>
              <a:gd name="connsiteY1425" fmla="*/ 705440 h 4073898"/>
              <a:gd name="connsiteX1426" fmla="*/ 1345099 w 6697570"/>
              <a:gd name="connsiteY1426" fmla="*/ 709728 h 4073898"/>
              <a:gd name="connsiteX1427" fmla="*/ 1364539 w 6697570"/>
              <a:gd name="connsiteY1427" fmla="*/ 707441 h 4073898"/>
              <a:gd name="connsiteX1428" fmla="*/ 1379119 w 6697570"/>
              <a:gd name="connsiteY1428" fmla="*/ 703438 h 4073898"/>
              <a:gd name="connsiteX1429" fmla="*/ 1379119 w 6697570"/>
              <a:gd name="connsiteY1429" fmla="*/ 718589 h 4073898"/>
              <a:gd name="connsiteX1430" fmla="*/ 1297355 w 6697570"/>
              <a:gd name="connsiteY1430" fmla="*/ 819221 h 4073898"/>
              <a:gd name="connsiteX1431" fmla="*/ 1267051 w 6697570"/>
              <a:gd name="connsiteY1431" fmla="*/ 827511 h 4073898"/>
              <a:gd name="connsiteX1432" fmla="*/ 1263335 w 6697570"/>
              <a:gd name="connsiteY1432" fmla="*/ 828941 h 4073898"/>
              <a:gd name="connsiteX1433" fmla="*/ 1256759 w 6697570"/>
              <a:gd name="connsiteY1433" fmla="*/ 826654 h 4073898"/>
              <a:gd name="connsiteX1434" fmla="*/ 1253043 w 6697570"/>
              <a:gd name="connsiteY1434" fmla="*/ 825224 h 4073898"/>
              <a:gd name="connsiteX1435" fmla="*/ 1124107 w 6697570"/>
              <a:gd name="connsiteY1435" fmla="*/ 724021 h 4073898"/>
              <a:gd name="connsiteX1436" fmla="*/ 1121248 w 6697570"/>
              <a:gd name="connsiteY1436" fmla="*/ 709155 h 4073898"/>
              <a:gd name="connsiteX1437" fmla="*/ 1136401 w 6697570"/>
              <a:gd name="connsiteY1437" fmla="*/ 710299 h 4073898"/>
              <a:gd name="connsiteX1438" fmla="*/ 1143549 w 6697570"/>
              <a:gd name="connsiteY1438" fmla="*/ 710584 h 4073898"/>
              <a:gd name="connsiteX1439" fmla="*/ 1202727 w 6697570"/>
              <a:gd name="connsiteY1439" fmla="*/ 687142 h 4073898"/>
              <a:gd name="connsiteX1440" fmla="*/ 1202156 w 6697570"/>
              <a:gd name="connsiteY1440" fmla="*/ 674563 h 4073898"/>
              <a:gd name="connsiteX1441" fmla="*/ 1161273 w 6697570"/>
              <a:gd name="connsiteY1441" fmla="*/ 658553 h 4073898"/>
              <a:gd name="connsiteX1442" fmla="*/ 5583962 w 6697570"/>
              <a:gd name="connsiteY1442" fmla="*/ 647405 h 4073898"/>
              <a:gd name="connsiteX1443" fmla="*/ 5846693 w 6697570"/>
              <a:gd name="connsiteY1443" fmla="*/ 647405 h 4073898"/>
              <a:gd name="connsiteX1444" fmla="*/ 5966481 w 6697570"/>
              <a:gd name="connsiteY1444" fmla="*/ 767189 h 4073898"/>
              <a:gd name="connsiteX1445" fmla="*/ 5966481 w 6697570"/>
              <a:gd name="connsiteY1445" fmla="*/ 1628284 h 4073898"/>
              <a:gd name="connsiteX1446" fmla="*/ 5846693 w 6697570"/>
              <a:gd name="connsiteY1446" fmla="*/ 1748071 h 4073898"/>
              <a:gd name="connsiteX1447" fmla="*/ 5583962 w 6697570"/>
              <a:gd name="connsiteY1447" fmla="*/ 1748071 h 4073898"/>
              <a:gd name="connsiteX1448" fmla="*/ 5464175 w 6697570"/>
              <a:gd name="connsiteY1448" fmla="*/ 1628284 h 4073898"/>
              <a:gd name="connsiteX1449" fmla="*/ 5464175 w 6697570"/>
              <a:gd name="connsiteY1449" fmla="*/ 767189 h 4073898"/>
              <a:gd name="connsiteX1450" fmla="*/ 5583962 w 6697570"/>
              <a:gd name="connsiteY1450" fmla="*/ 647405 h 4073898"/>
              <a:gd name="connsiteX1451" fmla="*/ 3656790 w 6697570"/>
              <a:gd name="connsiteY1451" fmla="*/ 637684 h 4073898"/>
              <a:gd name="connsiteX1452" fmla="*/ 3630203 w 6697570"/>
              <a:gd name="connsiteY1452" fmla="*/ 687429 h 4073898"/>
              <a:gd name="connsiteX1453" fmla="*/ 3647642 w 6697570"/>
              <a:gd name="connsiteY1453" fmla="*/ 722592 h 4073898"/>
              <a:gd name="connsiteX1454" fmla="*/ 3703675 w 6697570"/>
              <a:gd name="connsiteY1454" fmla="*/ 675422 h 4073898"/>
              <a:gd name="connsiteX1455" fmla="*/ 3660507 w 6697570"/>
              <a:gd name="connsiteY1455" fmla="*/ 639114 h 4073898"/>
              <a:gd name="connsiteX1456" fmla="*/ 3656790 w 6697570"/>
              <a:gd name="connsiteY1456" fmla="*/ 637684 h 4073898"/>
              <a:gd name="connsiteX1457" fmla="*/ 3654503 w 6697570"/>
              <a:gd name="connsiteY1457" fmla="*/ 613384 h 4073898"/>
              <a:gd name="connsiteX1458" fmla="*/ 3659649 w 6697570"/>
              <a:gd name="connsiteY1458" fmla="*/ 615671 h 4073898"/>
              <a:gd name="connsiteX1459" fmla="*/ 3667940 w 6697570"/>
              <a:gd name="connsiteY1459" fmla="*/ 619102 h 4073898"/>
              <a:gd name="connsiteX1460" fmla="*/ 3724546 w 6697570"/>
              <a:gd name="connsiteY1460" fmla="*/ 675708 h 4073898"/>
              <a:gd name="connsiteX1461" fmla="*/ 3647642 w 6697570"/>
              <a:gd name="connsiteY1461" fmla="*/ 744605 h 4073898"/>
              <a:gd name="connsiteX1462" fmla="*/ 3641924 w 6697570"/>
              <a:gd name="connsiteY1462" fmla="*/ 746321 h 4073898"/>
              <a:gd name="connsiteX1463" fmla="*/ 3637350 w 6697570"/>
              <a:gd name="connsiteY1463" fmla="*/ 742318 h 4073898"/>
              <a:gd name="connsiteX1464" fmla="*/ 3608475 w 6697570"/>
              <a:gd name="connsiteY1464" fmla="*/ 687144 h 4073898"/>
              <a:gd name="connsiteX1465" fmla="*/ 3649643 w 6697570"/>
              <a:gd name="connsiteY1465" fmla="*/ 616244 h 4073898"/>
              <a:gd name="connsiteX1466" fmla="*/ 3983561 w 6697570"/>
              <a:gd name="connsiteY1466" fmla="*/ 496745 h 4073898"/>
              <a:gd name="connsiteX1467" fmla="*/ 3925811 w 6697570"/>
              <a:gd name="connsiteY1467" fmla="*/ 519617 h 4073898"/>
              <a:gd name="connsiteX1468" fmla="*/ 3887216 w 6697570"/>
              <a:gd name="connsiteY1468" fmla="*/ 511897 h 4073898"/>
              <a:gd name="connsiteX1469" fmla="*/ 3876925 w 6697570"/>
              <a:gd name="connsiteY1469" fmla="*/ 527621 h 4073898"/>
              <a:gd name="connsiteX1470" fmla="*/ 3874923 w 6697570"/>
              <a:gd name="connsiteY1470" fmla="*/ 529909 h 4073898"/>
              <a:gd name="connsiteX1471" fmla="*/ 3872636 w 6697570"/>
              <a:gd name="connsiteY1471" fmla="*/ 532481 h 4073898"/>
              <a:gd name="connsiteX1472" fmla="*/ 3852338 w 6697570"/>
              <a:gd name="connsiteY1472" fmla="*/ 549633 h 4073898"/>
              <a:gd name="connsiteX1473" fmla="*/ 3844333 w 6697570"/>
              <a:gd name="connsiteY1473" fmla="*/ 554207 h 4073898"/>
              <a:gd name="connsiteX1474" fmla="*/ 4071614 w 6697570"/>
              <a:gd name="connsiteY1474" fmla="*/ 650837 h 4073898"/>
              <a:gd name="connsiteX1475" fmla="*/ 4194260 w 6697570"/>
              <a:gd name="connsiteY1475" fmla="*/ 620247 h 4073898"/>
              <a:gd name="connsiteX1476" fmla="*/ 4188256 w 6697570"/>
              <a:gd name="connsiteY1476" fmla="*/ 618818 h 4073898"/>
              <a:gd name="connsiteX1477" fmla="*/ 4186541 w 6697570"/>
              <a:gd name="connsiteY1477" fmla="*/ 618532 h 4073898"/>
              <a:gd name="connsiteX1478" fmla="*/ 4170531 w 6697570"/>
              <a:gd name="connsiteY1478" fmla="*/ 614244 h 4073898"/>
              <a:gd name="connsiteX1479" fmla="*/ 4170246 w 6697570"/>
              <a:gd name="connsiteY1479" fmla="*/ 610241 h 4073898"/>
              <a:gd name="connsiteX1480" fmla="*/ 4169102 w 6697570"/>
              <a:gd name="connsiteY1480" fmla="*/ 613958 h 4073898"/>
              <a:gd name="connsiteX1481" fmla="*/ 4077904 w 6697570"/>
              <a:gd name="connsiteY1481" fmla="*/ 569645 h 4073898"/>
              <a:gd name="connsiteX1482" fmla="*/ 3983561 w 6697570"/>
              <a:gd name="connsiteY1482" fmla="*/ 496745 h 4073898"/>
              <a:gd name="connsiteX1483" fmla="*/ 3343457 w 6697570"/>
              <a:gd name="connsiteY1483" fmla="*/ 496745 h 4073898"/>
              <a:gd name="connsiteX1484" fmla="*/ 3249114 w 6697570"/>
              <a:gd name="connsiteY1484" fmla="*/ 569645 h 4073898"/>
              <a:gd name="connsiteX1485" fmla="*/ 3158774 w 6697570"/>
              <a:gd name="connsiteY1485" fmla="*/ 613671 h 4073898"/>
              <a:gd name="connsiteX1486" fmla="*/ 3157344 w 6697570"/>
              <a:gd name="connsiteY1486" fmla="*/ 614244 h 4073898"/>
              <a:gd name="connsiteX1487" fmla="*/ 3140762 w 6697570"/>
              <a:gd name="connsiteY1487" fmla="*/ 618818 h 4073898"/>
              <a:gd name="connsiteX1488" fmla="*/ 3139047 w 6697570"/>
              <a:gd name="connsiteY1488" fmla="*/ 619104 h 4073898"/>
              <a:gd name="connsiteX1489" fmla="*/ 3133043 w 6697570"/>
              <a:gd name="connsiteY1489" fmla="*/ 620819 h 4073898"/>
              <a:gd name="connsiteX1490" fmla="*/ 3255690 w 6697570"/>
              <a:gd name="connsiteY1490" fmla="*/ 651409 h 4073898"/>
              <a:gd name="connsiteX1491" fmla="*/ 3482970 w 6697570"/>
              <a:gd name="connsiteY1491" fmla="*/ 554778 h 4073898"/>
              <a:gd name="connsiteX1492" fmla="*/ 3474680 w 6697570"/>
              <a:gd name="connsiteY1492" fmla="*/ 549918 h 4073898"/>
              <a:gd name="connsiteX1493" fmla="*/ 3454382 w 6697570"/>
              <a:gd name="connsiteY1493" fmla="*/ 532767 h 4073898"/>
              <a:gd name="connsiteX1494" fmla="*/ 3452381 w 6697570"/>
              <a:gd name="connsiteY1494" fmla="*/ 530194 h 4073898"/>
              <a:gd name="connsiteX1495" fmla="*/ 3454668 w 6697570"/>
              <a:gd name="connsiteY1495" fmla="*/ 526764 h 4073898"/>
              <a:gd name="connsiteX1496" fmla="*/ 3451522 w 6697570"/>
              <a:gd name="connsiteY1496" fmla="*/ 529337 h 4073898"/>
              <a:gd name="connsiteX1497" fmla="*/ 3450093 w 6697570"/>
              <a:gd name="connsiteY1497" fmla="*/ 527621 h 4073898"/>
              <a:gd name="connsiteX1498" fmla="*/ 3439802 w 6697570"/>
              <a:gd name="connsiteY1498" fmla="*/ 511897 h 4073898"/>
              <a:gd name="connsiteX1499" fmla="*/ 3401207 w 6697570"/>
              <a:gd name="connsiteY1499" fmla="*/ 519617 h 4073898"/>
              <a:gd name="connsiteX1500" fmla="*/ 3343457 w 6697570"/>
              <a:gd name="connsiteY1500" fmla="*/ 496745 h 4073898"/>
              <a:gd name="connsiteX1501" fmla="*/ 4671122 w 6697570"/>
              <a:gd name="connsiteY1501" fmla="*/ 487884 h 4073898"/>
              <a:gd name="connsiteX1502" fmla="*/ 4557052 w 6697570"/>
              <a:gd name="connsiteY1502" fmla="*/ 601950 h 4073898"/>
              <a:gd name="connsiteX1503" fmla="*/ 4556479 w 6697570"/>
              <a:gd name="connsiteY1503" fmla="*/ 712586 h 4073898"/>
              <a:gd name="connsiteX1504" fmla="*/ 4574206 w 6697570"/>
              <a:gd name="connsiteY1504" fmla="*/ 712586 h 4073898"/>
              <a:gd name="connsiteX1505" fmla="*/ 4574491 w 6697570"/>
              <a:gd name="connsiteY1505" fmla="*/ 619961 h 4073898"/>
              <a:gd name="connsiteX1506" fmla="*/ 4688846 w 6697570"/>
              <a:gd name="connsiteY1506" fmla="*/ 505894 h 4073898"/>
              <a:gd name="connsiteX1507" fmla="*/ 4759746 w 6697570"/>
              <a:gd name="connsiteY1507" fmla="*/ 531052 h 4073898"/>
              <a:gd name="connsiteX1508" fmla="*/ 4671122 w 6697570"/>
              <a:gd name="connsiteY1508" fmla="*/ 487884 h 4073898"/>
              <a:gd name="connsiteX1509" fmla="*/ 3593895 w 6697570"/>
              <a:gd name="connsiteY1509" fmla="*/ 469586 h 4073898"/>
              <a:gd name="connsiteX1510" fmla="*/ 3580744 w 6697570"/>
              <a:gd name="connsiteY1510" fmla="*/ 471016 h 4073898"/>
              <a:gd name="connsiteX1511" fmla="*/ 3594752 w 6697570"/>
              <a:gd name="connsiteY1511" fmla="*/ 489026 h 4073898"/>
              <a:gd name="connsiteX1512" fmla="*/ 4674266 w 6697570"/>
              <a:gd name="connsiteY1512" fmla="*/ 465298 h 4073898"/>
              <a:gd name="connsiteX1513" fmla="*/ 4812921 w 6697570"/>
              <a:gd name="connsiteY1513" fmla="*/ 603379 h 4073898"/>
              <a:gd name="connsiteX1514" fmla="*/ 4812636 w 6697570"/>
              <a:gd name="connsiteY1514" fmla="*/ 721734 h 4073898"/>
              <a:gd name="connsiteX1515" fmla="*/ 4812064 w 6697570"/>
              <a:gd name="connsiteY1515" fmla="*/ 854957 h 4073898"/>
              <a:gd name="connsiteX1516" fmla="*/ 4673980 w 6697570"/>
              <a:gd name="connsiteY1516" fmla="*/ 992468 h 4073898"/>
              <a:gd name="connsiteX1517" fmla="*/ 4673695 w 6697570"/>
              <a:gd name="connsiteY1517" fmla="*/ 992468 h 4073898"/>
              <a:gd name="connsiteX1518" fmla="*/ 4576206 w 6697570"/>
              <a:gd name="connsiteY1518" fmla="*/ 951873 h 4073898"/>
              <a:gd name="connsiteX1519" fmla="*/ 4535896 w 6697570"/>
              <a:gd name="connsiteY1519" fmla="*/ 854384 h 4073898"/>
              <a:gd name="connsiteX1520" fmla="*/ 4536182 w 6697570"/>
              <a:gd name="connsiteY1520" fmla="*/ 736028 h 4073898"/>
              <a:gd name="connsiteX1521" fmla="*/ 4536182 w 6697570"/>
              <a:gd name="connsiteY1521" fmla="*/ 721448 h 4073898"/>
              <a:gd name="connsiteX1522" fmla="*/ 4536182 w 6697570"/>
              <a:gd name="connsiteY1522" fmla="*/ 721162 h 4073898"/>
              <a:gd name="connsiteX1523" fmla="*/ 4536468 w 6697570"/>
              <a:gd name="connsiteY1523" fmla="*/ 602807 h 4073898"/>
              <a:gd name="connsiteX1524" fmla="*/ 4674266 w 6697570"/>
              <a:gd name="connsiteY1524" fmla="*/ 465298 h 4073898"/>
              <a:gd name="connsiteX1525" fmla="*/ 3721116 w 6697570"/>
              <a:gd name="connsiteY1525" fmla="*/ 459007 h 4073898"/>
              <a:gd name="connsiteX1526" fmla="*/ 3720543 w 6697570"/>
              <a:gd name="connsiteY1526" fmla="*/ 528193 h 4073898"/>
              <a:gd name="connsiteX1527" fmla="*/ 3770574 w 6697570"/>
              <a:gd name="connsiteY1527" fmla="*/ 470157 h 4073898"/>
              <a:gd name="connsiteX1528" fmla="*/ 3730836 w 6697570"/>
              <a:gd name="connsiteY1528" fmla="*/ 465012 h 4073898"/>
              <a:gd name="connsiteX1529" fmla="*/ 3721116 w 6697570"/>
              <a:gd name="connsiteY1529" fmla="*/ 459007 h 4073898"/>
              <a:gd name="connsiteX1530" fmla="*/ 4025586 w 6697570"/>
              <a:gd name="connsiteY1530" fmla="*/ 420414 h 4073898"/>
              <a:gd name="connsiteX1531" fmla="*/ 3998141 w 6697570"/>
              <a:gd name="connsiteY1531" fmla="*/ 480736 h 4073898"/>
              <a:gd name="connsiteX1532" fmla="*/ 4054747 w 6697570"/>
              <a:gd name="connsiteY1532" fmla="*/ 527621 h 4073898"/>
              <a:gd name="connsiteX1533" fmla="*/ 4225137 w 6697570"/>
              <a:gd name="connsiteY1533" fmla="*/ 603379 h 4073898"/>
              <a:gd name="connsiteX1534" fmla="*/ 4243718 w 6697570"/>
              <a:gd name="connsiteY1534" fmla="*/ 604237 h 4073898"/>
              <a:gd name="connsiteX1535" fmla="*/ 4350927 w 6697570"/>
              <a:gd name="connsiteY1535" fmla="*/ 552778 h 4073898"/>
              <a:gd name="connsiteX1536" fmla="*/ 4255155 w 6697570"/>
              <a:gd name="connsiteY1536" fmla="*/ 529337 h 4073898"/>
              <a:gd name="connsiteX1537" fmla="*/ 4113640 w 6697570"/>
              <a:gd name="connsiteY1537" fmla="*/ 430705 h 4073898"/>
              <a:gd name="connsiteX1538" fmla="*/ 4108208 w 6697570"/>
              <a:gd name="connsiteY1538" fmla="*/ 429848 h 4073898"/>
              <a:gd name="connsiteX1539" fmla="*/ 4078190 w 6697570"/>
              <a:gd name="connsiteY1539" fmla="*/ 434135 h 4073898"/>
              <a:gd name="connsiteX1540" fmla="*/ 4025586 w 6697570"/>
              <a:gd name="connsiteY1540" fmla="*/ 420414 h 4073898"/>
              <a:gd name="connsiteX1541" fmla="*/ 3302003 w 6697570"/>
              <a:gd name="connsiteY1541" fmla="*/ 420414 h 4073898"/>
              <a:gd name="connsiteX1542" fmla="*/ 3249400 w 6697570"/>
              <a:gd name="connsiteY1542" fmla="*/ 434135 h 4073898"/>
              <a:gd name="connsiteX1543" fmla="*/ 3219382 w 6697570"/>
              <a:gd name="connsiteY1543" fmla="*/ 429848 h 4073898"/>
              <a:gd name="connsiteX1544" fmla="*/ 3213949 w 6697570"/>
              <a:gd name="connsiteY1544" fmla="*/ 430705 h 4073898"/>
              <a:gd name="connsiteX1545" fmla="*/ 3072149 w 6697570"/>
              <a:gd name="connsiteY1545" fmla="*/ 529623 h 4073898"/>
              <a:gd name="connsiteX1546" fmla="*/ 2977234 w 6697570"/>
              <a:gd name="connsiteY1546" fmla="*/ 552491 h 4073898"/>
              <a:gd name="connsiteX1547" fmla="*/ 3084442 w 6697570"/>
              <a:gd name="connsiteY1547" fmla="*/ 603951 h 4073898"/>
              <a:gd name="connsiteX1548" fmla="*/ 3103025 w 6697570"/>
              <a:gd name="connsiteY1548" fmla="*/ 603094 h 4073898"/>
              <a:gd name="connsiteX1549" fmla="*/ 3273129 w 6697570"/>
              <a:gd name="connsiteY1549" fmla="*/ 527335 h 4073898"/>
              <a:gd name="connsiteX1550" fmla="*/ 3329734 w 6697570"/>
              <a:gd name="connsiteY1550" fmla="*/ 480450 h 4073898"/>
              <a:gd name="connsiteX1551" fmla="*/ 3302003 w 6697570"/>
              <a:gd name="connsiteY1551" fmla="*/ 420414 h 4073898"/>
              <a:gd name="connsiteX1552" fmla="*/ 3754850 w 6697570"/>
              <a:gd name="connsiteY1552" fmla="*/ 405832 h 4073898"/>
              <a:gd name="connsiteX1553" fmla="*/ 3770859 w 6697570"/>
              <a:gd name="connsiteY1553" fmla="*/ 410692 h 4073898"/>
              <a:gd name="connsiteX1554" fmla="*/ 3771431 w 6697570"/>
              <a:gd name="connsiteY1554" fmla="*/ 411264 h 4073898"/>
              <a:gd name="connsiteX1555" fmla="*/ 3770859 w 6697570"/>
              <a:gd name="connsiteY1555" fmla="*/ 411835 h 4073898"/>
              <a:gd name="connsiteX1556" fmla="*/ 3758280 w 6697570"/>
              <a:gd name="connsiteY1556" fmla="*/ 416124 h 4073898"/>
              <a:gd name="connsiteX1557" fmla="*/ 3743414 w 6697570"/>
              <a:gd name="connsiteY1557" fmla="*/ 409835 h 4073898"/>
              <a:gd name="connsiteX1558" fmla="*/ 3742843 w 6697570"/>
              <a:gd name="connsiteY1558" fmla="*/ 409262 h 4073898"/>
              <a:gd name="connsiteX1559" fmla="*/ 3743414 w 6697570"/>
              <a:gd name="connsiteY1559" fmla="*/ 408976 h 4073898"/>
              <a:gd name="connsiteX1560" fmla="*/ 3754850 w 6697570"/>
              <a:gd name="connsiteY1560" fmla="*/ 405832 h 4073898"/>
              <a:gd name="connsiteX1561" fmla="*/ 3590178 w 6697570"/>
              <a:gd name="connsiteY1561" fmla="*/ 405832 h 4073898"/>
              <a:gd name="connsiteX1562" fmla="*/ 3606187 w 6697570"/>
              <a:gd name="connsiteY1562" fmla="*/ 410978 h 4073898"/>
              <a:gd name="connsiteX1563" fmla="*/ 3606759 w 6697570"/>
              <a:gd name="connsiteY1563" fmla="*/ 411550 h 4073898"/>
              <a:gd name="connsiteX1564" fmla="*/ 3606187 w 6697570"/>
              <a:gd name="connsiteY1564" fmla="*/ 412121 h 4073898"/>
              <a:gd name="connsiteX1565" fmla="*/ 3593609 w 6697570"/>
              <a:gd name="connsiteY1565" fmla="*/ 416410 h 4073898"/>
              <a:gd name="connsiteX1566" fmla="*/ 3578742 w 6697570"/>
              <a:gd name="connsiteY1566" fmla="*/ 409835 h 4073898"/>
              <a:gd name="connsiteX1567" fmla="*/ 3578171 w 6697570"/>
              <a:gd name="connsiteY1567" fmla="*/ 409262 h 4073898"/>
              <a:gd name="connsiteX1568" fmla="*/ 3578742 w 6697570"/>
              <a:gd name="connsiteY1568" fmla="*/ 408976 h 4073898"/>
              <a:gd name="connsiteX1569" fmla="*/ 3590178 w 6697570"/>
              <a:gd name="connsiteY1569" fmla="*/ 405832 h 4073898"/>
              <a:gd name="connsiteX1570" fmla="*/ 3589035 w 6697570"/>
              <a:gd name="connsiteY1570" fmla="*/ 400687 h 4073898"/>
              <a:gd name="connsiteX1571" fmla="*/ 3567022 w 6697570"/>
              <a:gd name="connsiteY1571" fmla="*/ 405547 h 4073898"/>
              <a:gd name="connsiteX1572" fmla="*/ 3516134 w 6697570"/>
              <a:gd name="connsiteY1572" fmla="*/ 457578 h 4073898"/>
              <a:gd name="connsiteX1573" fmla="*/ 3524996 w 6697570"/>
              <a:gd name="connsiteY1573" fmla="*/ 509610 h 4073898"/>
              <a:gd name="connsiteX1574" fmla="*/ 3601900 w 6697570"/>
              <a:gd name="connsiteY1574" fmla="*/ 587085 h 4073898"/>
              <a:gd name="connsiteX1575" fmla="*/ 3613621 w 6697570"/>
              <a:gd name="connsiteY1575" fmla="*/ 595375 h 4073898"/>
              <a:gd name="connsiteX1576" fmla="*/ 3602472 w 6697570"/>
              <a:gd name="connsiteY1576" fmla="*/ 604237 h 4073898"/>
              <a:gd name="connsiteX1577" fmla="*/ 3544723 w 6697570"/>
              <a:gd name="connsiteY1577" fmla="*/ 701439 h 4073898"/>
              <a:gd name="connsiteX1578" fmla="*/ 3599327 w 6697570"/>
              <a:gd name="connsiteY1578" fmla="*/ 799781 h 4073898"/>
              <a:gd name="connsiteX1579" fmla="*/ 3622484 w 6697570"/>
              <a:gd name="connsiteY1579" fmla="*/ 818650 h 4073898"/>
              <a:gd name="connsiteX1580" fmla="*/ 3596468 w 6697570"/>
              <a:gd name="connsiteY1580" fmla="*/ 818650 h 4073898"/>
              <a:gd name="connsiteX1581" fmla="*/ 3567307 w 6697570"/>
              <a:gd name="connsiteY1581" fmla="*/ 874112 h 4073898"/>
              <a:gd name="connsiteX1582" fmla="*/ 3621340 w 6697570"/>
              <a:gd name="connsiteY1582" fmla="*/ 1007336 h 4073898"/>
              <a:gd name="connsiteX1583" fmla="*/ 3625057 w 6697570"/>
              <a:gd name="connsiteY1583" fmla="*/ 1011910 h 4073898"/>
              <a:gd name="connsiteX1584" fmla="*/ 3623056 w 6697570"/>
              <a:gd name="connsiteY1584" fmla="*/ 1013625 h 4073898"/>
              <a:gd name="connsiteX1585" fmla="*/ 3625914 w 6697570"/>
              <a:gd name="connsiteY1585" fmla="*/ 1018486 h 4073898"/>
              <a:gd name="connsiteX1586" fmla="*/ 3621912 w 6697570"/>
              <a:gd name="connsiteY1586" fmla="*/ 1021630 h 4073898"/>
              <a:gd name="connsiteX1587" fmla="*/ 3578457 w 6697570"/>
              <a:gd name="connsiteY1587" fmla="*/ 1085097 h 4073898"/>
              <a:gd name="connsiteX1588" fmla="*/ 3628773 w 6697570"/>
              <a:gd name="connsiteY1588" fmla="*/ 1155712 h 4073898"/>
              <a:gd name="connsiteX1589" fmla="*/ 3641353 w 6697570"/>
              <a:gd name="connsiteY1589" fmla="*/ 1163431 h 4073898"/>
              <a:gd name="connsiteX1590" fmla="*/ 3635349 w 6697570"/>
              <a:gd name="connsiteY1590" fmla="*/ 1168577 h 4073898"/>
              <a:gd name="connsiteX1591" fmla="*/ 3599613 w 6697570"/>
              <a:gd name="connsiteY1591" fmla="*/ 1227755 h 4073898"/>
              <a:gd name="connsiteX1592" fmla="*/ 3617624 w 6697570"/>
              <a:gd name="connsiteY1592" fmla="*/ 1268066 h 4073898"/>
              <a:gd name="connsiteX1593" fmla="*/ 3647356 w 6697570"/>
              <a:gd name="connsiteY1593" fmla="*/ 1181727 h 4073898"/>
              <a:gd name="connsiteX1594" fmla="*/ 3659935 w 6697570"/>
              <a:gd name="connsiteY1594" fmla="*/ 1172007 h 4073898"/>
              <a:gd name="connsiteX1595" fmla="*/ 3663366 w 6697570"/>
              <a:gd name="connsiteY1595" fmla="*/ 1174008 h 4073898"/>
              <a:gd name="connsiteX1596" fmla="*/ 3674229 w 6697570"/>
              <a:gd name="connsiteY1596" fmla="*/ 1182299 h 4073898"/>
              <a:gd name="connsiteX1597" fmla="*/ 3684235 w 6697570"/>
              <a:gd name="connsiteY1597" fmla="*/ 1190019 h 4073898"/>
              <a:gd name="connsiteX1598" fmla="*/ 3716542 w 6697570"/>
              <a:gd name="connsiteY1598" fmla="*/ 1230328 h 4073898"/>
              <a:gd name="connsiteX1599" fmla="*/ 3706821 w 6697570"/>
              <a:gd name="connsiteY1599" fmla="*/ 1278643 h 4073898"/>
              <a:gd name="connsiteX1600" fmla="*/ 3729978 w 6697570"/>
              <a:gd name="connsiteY1600" fmla="*/ 1249769 h 4073898"/>
              <a:gd name="connsiteX1601" fmla="*/ 3711967 w 6697570"/>
              <a:gd name="connsiteY1601" fmla="*/ 1190876 h 4073898"/>
              <a:gd name="connsiteX1602" fmla="*/ 3705392 w 6697570"/>
              <a:gd name="connsiteY1602" fmla="*/ 1183443 h 4073898"/>
              <a:gd name="connsiteX1603" fmla="*/ 3712539 w 6697570"/>
              <a:gd name="connsiteY1603" fmla="*/ 1176296 h 4073898"/>
              <a:gd name="connsiteX1604" fmla="*/ 3760282 w 6697570"/>
              <a:gd name="connsiteY1604" fmla="*/ 1077378 h 4073898"/>
              <a:gd name="connsiteX1605" fmla="*/ 3732836 w 6697570"/>
              <a:gd name="connsiteY1605" fmla="*/ 1020773 h 4073898"/>
              <a:gd name="connsiteX1606" fmla="*/ 3722259 w 6697570"/>
              <a:gd name="connsiteY1606" fmla="*/ 1011053 h 4073898"/>
              <a:gd name="connsiteX1607" fmla="*/ 3734552 w 6697570"/>
              <a:gd name="connsiteY1607" fmla="*/ 1003905 h 4073898"/>
              <a:gd name="connsiteX1608" fmla="*/ 3802308 w 6697570"/>
              <a:gd name="connsiteY1608" fmla="*/ 907846 h 4073898"/>
              <a:gd name="connsiteX1609" fmla="*/ 3713110 w 6697570"/>
              <a:gd name="connsiteY1609" fmla="*/ 796636 h 4073898"/>
              <a:gd name="connsiteX1610" fmla="*/ 3698244 w 6697570"/>
              <a:gd name="connsiteY1610" fmla="*/ 787488 h 4073898"/>
              <a:gd name="connsiteX1611" fmla="*/ 3713110 w 6697570"/>
              <a:gd name="connsiteY1611" fmla="*/ 778625 h 4073898"/>
              <a:gd name="connsiteX1612" fmla="*/ 3805166 w 6697570"/>
              <a:gd name="connsiteY1612" fmla="*/ 666847 h 4073898"/>
              <a:gd name="connsiteX1613" fmla="*/ 3763141 w 6697570"/>
              <a:gd name="connsiteY1613" fmla="*/ 599378 h 4073898"/>
              <a:gd name="connsiteX1614" fmla="*/ 3747131 w 6697570"/>
              <a:gd name="connsiteY1614" fmla="*/ 587942 h 4073898"/>
              <a:gd name="connsiteX1615" fmla="*/ 3765428 w 6697570"/>
              <a:gd name="connsiteY1615" fmla="*/ 580795 h 4073898"/>
              <a:gd name="connsiteX1616" fmla="*/ 3769144 w 6697570"/>
              <a:gd name="connsiteY1616" fmla="*/ 579365 h 4073898"/>
              <a:gd name="connsiteX1617" fmla="*/ 3841760 w 6697570"/>
              <a:gd name="connsiteY1617" fmla="*/ 489312 h 4073898"/>
              <a:gd name="connsiteX1618" fmla="*/ 3834899 w 6697570"/>
              <a:gd name="connsiteY1618" fmla="*/ 434422 h 4073898"/>
              <a:gd name="connsiteX1619" fmla="*/ 3768001 w 6697570"/>
              <a:gd name="connsiteY1619" fmla="*/ 403546 h 4073898"/>
              <a:gd name="connsiteX1620" fmla="*/ 3727119 w 6697570"/>
              <a:gd name="connsiteY1620" fmla="*/ 409835 h 4073898"/>
              <a:gd name="connsiteX1621" fmla="*/ 3721973 w 6697570"/>
              <a:gd name="connsiteY1621" fmla="*/ 419269 h 4073898"/>
              <a:gd name="connsiteX1622" fmla="*/ 3738555 w 6697570"/>
              <a:gd name="connsiteY1622" fmla="*/ 445000 h 4073898"/>
              <a:gd name="connsiteX1623" fmla="*/ 3760568 w 6697570"/>
              <a:gd name="connsiteY1623" fmla="*/ 449003 h 4073898"/>
              <a:gd name="connsiteX1624" fmla="*/ 3778864 w 6697570"/>
              <a:gd name="connsiteY1624" fmla="*/ 446715 h 4073898"/>
              <a:gd name="connsiteX1625" fmla="*/ 3792587 w 6697570"/>
              <a:gd name="connsiteY1625" fmla="*/ 442998 h 4073898"/>
              <a:gd name="connsiteX1626" fmla="*/ 3792587 w 6697570"/>
              <a:gd name="connsiteY1626" fmla="*/ 457007 h 4073898"/>
              <a:gd name="connsiteX1627" fmla="*/ 3716255 w 6697570"/>
              <a:gd name="connsiteY1627" fmla="*/ 550777 h 4073898"/>
              <a:gd name="connsiteX1628" fmla="*/ 3687953 w 6697570"/>
              <a:gd name="connsiteY1628" fmla="*/ 558496 h 4073898"/>
              <a:gd name="connsiteX1629" fmla="*/ 3684235 w 6697570"/>
              <a:gd name="connsiteY1629" fmla="*/ 559639 h 4073898"/>
              <a:gd name="connsiteX1630" fmla="*/ 3678232 w 6697570"/>
              <a:gd name="connsiteY1630" fmla="*/ 557351 h 4073898"/>
              <a:gd name="connsiteX1631" fmla="*/ 3674801 w 6697570"/>
              <a:gd name="connsiteY1631" fmla="*/ 556208 h 4073898"/>
              <a:gd name="connsiteX1632" fmla="*/ 3554443 w 6697570"/>
              <a:gd name="connsiteY1632" fmla="*/ 461867 h 4073898"/>
              <a:gd name="connsiteX1633" fmla="*/ 3551584 w 6697570"/>
              <a:gd name="connsiteY1633" fmla="*/ 447858 h 4073898"/>
              <a:gd name="connsiteX1634" fmla="*/ 3565878 w 6697570"/>
              <a:gd name="connsiteY1634" fmla="*/ 449003 h 4073898"/>
              <a:gd name="connsiteX1635" fmla="*/ 3572453 w 6697570"/>
              <a:gd name="connsiteY1635" fmla="*/ 449287 h 4073898"/>
              <a:gd name="connsiteX1636" fmla="*/ 3627630 w 6697570"/>
              <a:gd name="connsiteY1636" fmla="*/ 427274 h 4073898"/>
              <a:gd name="connsiteX1637" fmla="*/ 3627058 w 6697570"/>
              <a:gd name="connsiteY1637" fmla="*/ 415553 h 4073898"/>
              <a:gd name="connsiteX1638" fmla="*/ 3589035 w 6697570"/>
              <a:gd name="connsiteY1638" fmla="*/ 400687 h 4073898"/>
              <a:gd name="connsiteX1639" fmla="*/ 913408 w 6697570"/>
              <a:gd name="connsiteY1639" fmla="*/ 392392 h 4073898"/>
              <a:gd name="connsiteX1640" fmla="*/ 656966 w 6697570"/>
              <a:gd name="connsiteY1640" fmla="*/ 511607 h 4073898"/>
              <a:gd name="connsiteX1641" fmla="*/ 455986 w 6697570"/>
              <a:gd name="connsiteY1641" fmla="*/ 623675 h 4073898"/>
              <a:gd name="connsiteX1642" fmla="*/ 384800 w 6697570"/>
              <a:gd name="connsiteY1642" fmla="*/ 642544 h 4073898"/>
              <a:gd name="connsiteX1643" fmla="*/ 274447 w 6697570"/>
              <a:gd name="connsiteY1643" fmla="*/ 692574 h 4073898"/>
              <a:gd name="connsiteX1644" fmla="*/ 365932 w 6697570"/>
              <a:gd name="connsiteY1644" fmla="*/ 771477 h 4073898"/>
              <a:gd name="connsiteX1645" fmla="*/ 486862 w 6697570"/>
              <a:gd name="connsiteY1645" fmla="*/ 796636 h 4073898"/>
              <a:gd name="connsiteX1646" fmla="*/ 735871 w 6697570"/>
              <a:gd name="connsiteY1646" fmla="*/ 678565 h 4073898"/>
              <a:gd name="connsiteX1647" fmla="*/ 694131 w 6697570"/>
              <a:gd name="connsiteY1647" fmla="*/ 645403 h 4073898"/>
              <a:gd name="connsiteX1648" fmla="*/ 691272 w 6697570"/>
              <a:gd name="connsiteY1648" fmla="*/ 642258 h 4073898"/>
              <a:gd name="connsiteX1649" fmla="*/ 694131 w 6697570"/>
              <a:gd name="connsiteY1649" fmla="*/ 638827 h 4073898"/>
              <a:gd name="connsiteX1650" fmla="*/ 707568 w 6697570"/>
              <a:gd name="connsiteY1650" fmla="*/ 626534 h 4073898"/>
              <a:gd name="connsiteX1651" fmla="*/ 710428 w 6697570"/>
              <a:gd name="connsiteY1651" fmla="*/ 629679 h 4073898"/>
              <a:gd name="connsiteX1652" fmla="*/ 794193 w 6697570"/>
              <a:gd name="connsiteY1652" fmla="*/ 671990 h 4073898"/>
              <a:gd name="connsiteX1653" fmla="*/ 850798 w 6697570"/>
              <a:gd name="connsiteY1653" fmla="*/ 651978 h 4073898"/>
              <a:gd name="connsiteX1654" fmla="*/ 865093 w 6697570"/>
              <a:gd name="connsiteY1654" fmla="*/ 639685 h 4073898"/>
              <a:gd name="connsiteX1655" fmla="*/ 865378 w 6697570"/>
              <a:gd name="connsiteY1655" fmla="*/ 641114 h 4073898"/>
              <a:gd name="connsiteX1656" fmla="*/ 867094 w 6697570"/>
              <a:gd name="connsiteY1656" fmla="*/ 639971 h 4073898"/>
              <a:gd name="connsiteX1657" fmla="*/ 870810 w 6697570"/>
              <a:gd name="connsiteY1657" fmla="*/ 659126 h 4073898"/>
              <a:gd name="connsiteX1658" fmla="*/ 884247 w 6697570"/>
              <a:gd name="connsiteY1658" fmla="*/ 701722 h 4073898"/>
              <a:gd name="connsiteX1659" fmla="*/ 905688 w 6697570"/>
              <a:gd name="connsiteY1659" fmla="*/ 737172 h 4073898"/>
              <a:gd name="connsiteX1660" fmla="*/ 911121 w 6697570"/>
              <a:gd name="connsiteY1660" fmla="*/ 743747 h 4073898"/>
              <a:gd name="connsiteX1661" fmla="*/ 931418 w 6697570"/>
              <a:gd name="connsiteY1661" fmla="*/ 757183 h 4073898"/>
              <a:gd name="connsiteX1662" fmla="*/ 958863 w 6697570"/>
              <a:gd name="connsiteY1662" fmla="*/ 762615 h 4073898"/>
              <a:gd name="connsiteX1663" fmla="*/ 999460 w 6697570"/>
              <a:gd name="connsiteY1663" fmla="*/ 752895 h 4073898"/>
              <a:gd name="connsiteX1664" fmla="*/ 1010324 w 6697570"/>
              <a:gd name="connsiteY1664" fmla="*/ 746606 h 4073898"/>
              <a:gd name="connsiteX1665" fmla="*/ 1015184 w 6697570"/>
              <a:gd name="connsiteY1665" fmla="*/ 757469 h 4073898"/>
              <a:gd name="connsiteX1666" fmla="*/ 1031480 w 6697570"/>
              <a:gd name="connsiteY1666" fmla="*/ 783770 h 4073898"/>
              <a:gd name="connsiteX1667" fmla="*/ 1047203 w 6697570"/>
              <a:gd name="connsiteY1667" fmla="*/ 797779 h 4073898"/>
              <a:gd name="connsiteX1668" fmla="*/ 1069216 w 6697570"/>
              <a:gd name="connsiteY1668" fmla="*/ 806070 h 4073898"/>
              <a:gd name="connsiteX1669" fmla="*/ 1085512 w 6697570"/>
              <a:gd name="connsiteY1669" fmla="*/ 806356 h 4073898"/>
              <a:gd name="connsiteX1670" fmla="*/ 1071789 w 6697570"/>
              <a:gd name="connsiteY1670" fmla="*/ 787202 h 4073898"/>
              <a:gd name="connsiteX1671" fmla="*/ 1060068 w 6697570"/>
              <a:gd name="connsiteY1671" fmla="*/ 712871 h 4073898"/>
              <a:gd name="connsiteX1672" fmla="*/ 1126395 w 6697570"/>
              <a:gd name="connsiteY1672" fmla="*/ 643687 h 4073898"/>
              <a:gd name="connsiteX1673" fmla="*/ 1141546 w 6697570"/>
              <a:gd name="connsiteY1673" fmla="*/ 638256 h 4073898"/>
              <a:gd name="connsiteX1674" fmla="*/ 1126680 w 6697570"/>
              <a:gd name="connsiteY1674" fmla="*/ 588225 h 4073898"/>
              <a:gd name="connsiteX1675" fmla="*/ 1125822 w 6697570"/>
              <a:gd name="connsiteY1675" fmla="*/ 585366 h 4073898"/>
              <a:gd name="connsiteX1676" fmla="*/ 988882 w 6697570"/>
              <a:gd name="connsiteY1676" fmla="*/ 409831 h 4073898"/>
              <a:gd name="connsiteX1677" fmla="*/ 913408 w 6697570"/>
              <a:gd name="connsiteY1677" fmla="*/ 392392 h 4073898"/>
              <a:gd name="connsiteX1678" fmla="*/ 1565519 w 6697570"/>
              <a:gd name="connsiteY1678" fmla="*/ 392106 h 4073898"/>
              <a:gd name="connsiteX1679" fmla="*/ 1490043 w 6697570"/>
              <a:gd name="connsiteY1679" fmla="*/ 409545 h 4073898"/>
              <a:gd name="connsiteX1680" fmla="*/ 1353104 w 6697570"/>
              <a:gd name="connsiteY1680" fmla="*/ 585080 h 4073898"/>
              <a:gd name="connsiteX1681" fmla="*/ 1336236 w 6697570"/>
              <a:gd name="connsiteY1681" fmla="*/ 639113 h 4073898"/>
              <a:gd name="connsiteX1682" fmla="*/ 1442872 w 6697570"/>
              <a:gd name="connsiteY1682" fmla="*/ 681139 h 4073898"/>
              <a:gd name="connsiteX1683" fmla="*/ 1453450 w 6697570"/>
              <a:gd name="connsiteY1683" fmla="*/ 759184 h 4073898"/>
              <a:gd name="connsiteX1684" fmla="*/ 1440871 w 6697570"/>
              <a:gd name="connsiteY1684" fmla="*/ 790632 h 4073898"/>
              <a:gd name="connsiteX1685" fmla="*/ 1447732 w 6697570"/>
              <a:gd name="connsiteY1685" fmla="*/ 783770 h 4073898"/>
              <a:gd name="connsiteX1686" fmla="*/ 1464028 w 6697570"/>
              <a:gd name="connsiteY1686" fmla="*/ 757469 h 4073898"/>
              <a:gd name="connsiteX1687" fmla="*/ 1468888 w 6697570"/>
              <a:gd name="connsiteY1687" fmla="*/ 746035 h 4073898"/>
              <a:gd name="connsiteX1688" fmla="*/ 1479752 w 6697570"/>
              <a:gd name="connsiteY1688" fmla="*/ 752609 h 4073898"/>
              <a:gd name="connsiteX1689" fmla="*/ 1520348 w 6697570"/>
              <a:gd name="connsiteY1689" fmla="*/ 762329 h 4073898"/>
              <a:gd name="connsiteX1690" fmla="*/ 1547793 w 6697570"/>
              <a:gd name="connsiteY1690" fmla="*/ 756897 h 4073898"/>
              <a:gd name="connsiteX1691" fmla="*/ 1568663 w 6697570"/>
              <a:gd name="connsiteY1691" fmla="*/ 742889 h 4073898"/>
              <a:gd name="connsiteX1692" fmla="*/ 1573809 w 6697570"/>
              <a:gd name="connsiteY1692" fmla="*/ 736886 h 4073898"/>
              <a:gd name="connsiteX1693" fmla="*/ 1594965 w 6697570"/>
              <a:gd name="connsiteY1693" fmla="*/ 701437 h 4073898"/>
              <a:gd name="connsiteX1694" fmla="*/ 1608401 w 6697570"/>
              <a:gd name="connsiteY1694" fmla="*/ 658553 h 4073898"/>
              <a:gd name="connsiteX1695" fmla="*/ 1611833 w 6697570"/>
              <a:gd name="connsiteY1695" fmla="*/ 639398 h 4073898"/>
              <a:gd name="connsiteX1696" fmla="*/ 1613547 w 6697570"/>
              <a:gd name="connsiteY1696" fmla="*/ 640543 h 4073898"/>
              <a:gd name="connsiteX1697" fmla="*/ 1613833 w 6697570"/>
              <a:gd name="connsiteY1697" fmla="*/ 639113 h 4073898"/>
              <a:gd name="connsiteX1698" fmla="*/ 1628128 w 6697570"/>
              <a:gd name="connsiteY1698" fmla="*/ 651406 h 4073898"/>
              <a:gd name="connsiteX1699" fmla="*/ 1684734 w 6697570"/>
              <a:gd name="connsiteY1699" fmla="*/ 671419 h 4073898"/>
              <a:gd name="connsiteX1700" fmla="*/ 1768213 w 6697570"/>
              <a:gd name="connsiteY1700" fmla="*/ 629679 h 4073898"/>
              <a:gd name="connsiteX1701" fmla="*/ 1771071 w 6697570"/>
              <a:gd name="connsiteY1701" fmla="*/ 626534 h 4073898"/>
              <a:gd name="connsiteX1702" fmla="*/ 1774503 w 6697570"/>
              <a:gd name="connsiteY1702" fmla="*/ 628821 h 4073898"/>
              <a:gd name="connsiteX1703" fmla="*/ 1788225 w 6697570"/>
              <a:gd name="connsiteY1703" fmla="*/ 641400 h 4073898"/>
              <a:gd name="connsiteX1704" fmla="*/ 1785080 w 6697570"/>
              <a:gd name="connsiteY1704" fmla="*/ 644545 h 4073898"/>
              <a:gd name="connsiteX1705" fmla="*/ 1742769 w 6697570"/>
              <a:gd name="connsiteY1705" fmla="*/ 678280 h 4073898"/>
              <a:gd name="connsiteX1706" fmla="*/ 1992063 w 6697570"/>
              <a:gd name="connsiteY1706" fmla="*/ 796349 h 4073898"/>
              <a:gd name="connsiteX1707" fmla="*/ 2112994 w 6697570"/>
              <a:gd name="connsiteY1707" fmla="*/ 771192 h 4073898"/>
              <a:gd name="connsiteX1708" fmla="*/ 2183073 w 6697570"/>
              <a:gd name="connsiteY1708" fmla="*/ 726487 h 4073898"/>
              <a:gd name="connsiteX1709" fmla="*/ 2188789 w 6697570"/>
              <a:gd name="connsiteY1709" fmla="*/ 719596 h 4073898"/>
              <a:gd name="connsiteX1710" fmla="*/ 2188918 w 6697570"/>
              <a:gd name="connsiteY1710" fmla="*/ 673590 h 4073898"/>
              <a:gd name="connsiteX1711" fmla="*/ 2173745 w 6697570"/>
              <a:gd name="connsiteY1711" fmla="*/ 665236 h 4073898"/>
              <a:gd name="connsiteX1712" fmla="*/ 2094126 w 6697570"/>
              <a:gd name="connsiteY1712" fmla="*/ 642258 h 4073898"/>
              <a:gd name="connsiteX1713" fmla="*/ 2022939 w 6697570"/>
              <a:gd name="connsiteY1713" fmla="*/ 623389 h 4073898"/>
              <a:gd name="connsiteX1714" fmla="*/ 1821960 w 6697570"/>
              <a:gd name="connsiteY1714" fmla="*/ 511322 h 4073898"/>
              <a:gd name="connsiteX1715" fmla="*/ 1565519 w 6697570"/>
              <a:gd name="connsiteY1715" fmla="*/ 392106 h 4073898"/>
              <a:gd name="connsiteX1716" fmla="*/ 2419752 w 6697570"/>
              <a:gd name="connsiteY1716" fmla="*/ 332646 h 4073898"/>
              <a:gd name="connsiteX1717" fmla="*/ 2224490 w 6697570"/>
              <a:gd name="connsiteY1717" fmla="*/ 527622 h 4073898"/>
              <a:gd name="connsiteX1718" fmla="*/ 2223782 w 6697570"/>
              <a:gd name="connsiteY1718" fmla="*/ 683356 h 4073898"/>
              <a:gd name="connsiteX1719" fmla="*/ 2226777 w 6697570"/>
              <a:gd name="connsiteY1719" fmla="*/ 690287 h 4073898"/>
              <a:gd name="connsiteX1720" fmla="*/ 2223696 w 6697570"/>
              <a:gd name="connsiteY1720" fmla="*/ 702406 h 4073898"/>
              <a:gd name="connsiteX1721" fmla="*/ 2223632 w 6697570"/>
              <a:gd name="connsiteY1721" fmla="*/ 716302 h 4073898"/>
              <a:gd name="connsiteX1722" fmla="*/ 2254223 w 6697570"/>
              <a:gd name="connsiteY1722" fmla="*/ 716302 h 4073898"/>
              <a:gd name="connsiteX1723" fmla="*/ 2254795 w 6697570"/>
              <a:gd name="connsiteY1723" fmla="*/ 558210 h 4073898"/>
              <a:gd name="connsiteX1724" fmla="*/ 2450056 w 6697570"/>
              <a:gd name="connsiteY1724" fmla="*/ 363236 h 4073898"/>
              <a:gd name="connsiteX1725" fmla="*/ 2570986 w 6697570"/>
              <a:gd name="connsiteY1725" fmla="*/ 406406 h 4073898"/>
              <a:gd name="connsiteX1726" fmla="*/ 2419752 w 6697570"/>
              <a:gd name="connsiteY1726" fmla="*/ 332646 h 4073898"/>
              <a:gd name="connsiteX1727" fmla="*/ 1237034 w 6697570"/>
              <a:gd name="connsiteY1727" fmla="*/ 303195 h 4073898"/>
              <a:gd name="connsiteX1728" fmla="*/ 1124679 w 6697570"/>
              <a:gd name="connsiteY1728" fmla="*/ 415549 h 4073898"/>
              <a:gd name="connsiteX1729" fmla="*/ 1183000 w 6697570"/>
              <a:gd name="connsiteY1729" fmla="*/ 514180 h 4073898"/>
              <a:gd name="connsiteX1730" fmla="*/ 1189289 w 6697570"/>
              <a:gd name="connsiteY1730" fmla="*/ 517611 h 4073898"/>
              <a:gd name="connsiteX1731" fmla="*/ 1189289 w 6697570"/>
              <a:gd name="connsiteY1731" fmla="*/ 520183 h 4073898"/>
              <a:gd name="connsiteX1732" fmla="*/ 1193006 w 6697570"/>
              <a:gd name="connsiteY1732" fmla="*/ 642258 h 4073898"/>
              <a:gd name="connsiteX1733" fmla="*/ 1220165 w 6697570"/>
              <a:gd name="connsiteY1733" fmla="*/ 662556 h 4073898"/>
              <a:gd name="connsiteX1734" fmla="*/ 1222738 w 6697570"/>
              <a:gd name="connsiteY1734" fmla="*/ 696862 h 4073898"/>
              <a:gd name="connsiteX1735" fmla="*/ 1190433 w 6697570"/>
              <a:gd name="connsiteY1735" fmla="*/ 725736 h 4073898"/>
              <a:gd name="connsiteX1736" fmla="*/ 1191576 w 6697570"/>
              <a:gd name="connsiteY1736" fmla="*/ 773193 h 4073898"/>
              <a:gd name="connsiteX1737" fmla="*/ 1259332 w 6697570"/>
              <a:gd name="connsiteY1737" fmla="*/ 804069 h 4073898"/>
              <a:gd name="connsiteX1738" fmla="*/ 1262764 w 6697570"/>
              <a:gd name="connsiteY1738" fmla="*/ 805498 h 4073898"/>
              <a:gd name="connsiteX1739" fmla="*/ 1275628 w 6697570"/>
              <a:gd name="connsiteY1739" fmla="*/ 801495 h 4073898"/>
              <a:gd name="connsiteX1740" fmla="*/ 1284491 w 6697570"/>
              <a:gd name="connsiteY1740" fmla="*/ 517611 h 4073898"/>
              <a:gd name="connsiteX1741" fmla="*/ 1290780 w 6697570"/>
              <a:gd name="connsiteY1741" fmla="*/ 514180 h 4073898"/>
              <a:gd name="connsiteX1742" fmla="*/ 1349387 w 6697570"/>
              <a:gd name="connsiteY1742" fmla="*/ 415549 h 4073898"/>
              <a:gd name="connsiteX1743" fmla="*/ 1237034 w 6697570"/>
              <a:gd name="connsiteY1743" fmla="*/ 303195 h 4073898"/>
              <a:gd name="connsiteX1744" fmla="*/ 1237034 w 6697570"/>
              <a:gd name="connsiteY1744" fmla="*/ 278037 h 4073898"/>
              <a:gd name="connsiteX1745" fmla="*/ 1374831 w 6697570"/>
              <a:gd name="connsiteY1745" fmla="*/ 415834 h 4073898"/>
              <a:gd name="connsiteX1746" fmla="*/ 1309363 w 6697570"/>
              <a:gd name="connsiteY1746" fmla="*/ 533048 h 4073898"/>
              <a:gd name="connsiteX1747" fmla="*/ 1307076 w 6697570"/>
              <a:gd name="connsiteY1747" fmla="*/ 645117 h 4073898"/>
              <a:gd name="connsiteX1748" fmla="*/ 1309363 w 6697570"/>
              <a:gd name="connsiteY1748" fmla="*/ 644545 h 4073898"/>
              <a:gd name="connsiteX1749" fmla="*/ 1330804 w 6697570"/>
              <a:gd name="connsiteY1749" fmla="*/ 579934 h 4073898"/>
              <a:gd name="connsiteX1750" fmla="*/ 1479752 w 6697570"/>
              <a:gd name="connsiteY1750" fmla="*/ 390105 h 4073898"/>
              <a:gd name="connsiteX1751" fmla="*/ 1565519 w 6697570"/>
              <a:gd name="connsiteY1751" fmla="*/ 370093 h 4073898"/>
              <a:gd name="connsiteX1752" fmla="*/ 1834825 w 6697570"/>
              <a:gd name="connsiteY1752" fmla="*/ 493596 h 4073898"/>
              <a:gd name="connsiteX1753" fmla="*/ 2028943 w 6697570"/>
              <a:gd name="connsiteY1753" fmla="*/ 602233 h 4073898"/>
              <a:gd name="connsiteX1754" fmla="*/ 2099558 w 6697570"/>
              <a:gd name="connsiteY1754" fmla="*/ 620817 h 4073898"/>
              <a:gd name="connsiteX1755" fmla="*/ 2152402 w 6697570"/>
              <a:gd name="connsiteY1755" fmla="*/ 634888 h 4073898"/>
              <a:gd name="connsiteX1756" fmla="*/ 2188990 w 6697570"/>
              <a:gd name="connsiteY1756" fmla="*/ 648016 h 4073898"/>
              <a:gd name="connsiteX1757" fmla="*/ 2189326 w 6697570"/>
              <a:gd name="connsiteY1757" fmla="*/ 529051 h 4073898"/>
              <a:gd name="connsiteX1758" fmla="*/ 2424898 w 6697570"/>
              <a:gd name="connsiteY1758" fmla="*/ 294052 h 4073898"/>
              <a:gd name="connsiteX1759" fmla="*/ 2660470 w 6697570"/>
              <a:gd name="connsiteY1759" fmla="*/ 530481 h 4073898"/>
              <a:gd name="connsiteX1760" fmla="*/ 2659898 w 6697570"/>
              <a:gd name="connsiteY1760" fmla="*/ 732884 h 4073898"/>
              <a:gd name="connsiteX1761" fmla="*/ 2659327 w 6697570"/>
              <a:gd name="connsiteY1761" fmla="*/ 960449 h 4073898"/>
              <a:gd name="connsiteX1762" fmla="*/ 2423754 w 6697570"/>
              <a:gd name="connsiteY1762" fmla="*/ 1195449 h 4073898"/>
              <a:gd name="connsiteX1763" fmla="*/ 2423182 w 6697570"/>
              <a:gd name="connsiteY1763" fmla="*/ 1195449 h 4073898"/>
              <a:gd name="connsiteX1764" fmla="*/ 2256796 w 6697570"/>
              <a:gd name="connsiteY1764" fmla="*/ 1125978 h 4073898"/>
              <a:gd name="connsiteX1765" fmla="*/ 2188182 w 6697570"/>
              <a:gd name="connsiteY1765" fmla="*/ 959306 h 4073898"/>
              <a:gd name="connsiteX1766" fmla="*/ 2188755 w 6697570"/>
              <a:gd name="connsiteY1766" fmla="*/ 756897 h 4073898"/>
              <a:gd name="connsiteX1767" fmla="*/ 2188755 w 6697570"/>
              <a:gd name="connsiteY1767" fmla="*/ 750452 h 4073898"/>
              <a:gd name="connsiteX1768" fmla="*/ 2165066 w 6697570"/>
              <a:gd name="connsiteY1768" fmla="*/ 769124 h 4073898"/>
              <a:gd name="connsiteX1769" fmla="*/ 2121571 w 6697570"/>
              <a:gd name="connsiteY1769" fmla="*/ 792633 h 4073898"/>
              <a:gd name="connsiteX1770" fmla="*/ 2006357 w 6697570"/>
              <a:gd name="connsiteY1770" fmla="*/ 818363 h 4073898"/>
              <a:gd name="connsiteX1771" fmla="*/ 1855695 w 6697570"/>
              <a:gd name="connsiteY1771" fmla="*/ 900127 h 4073898"/>
              <a:gd name="connsiteX1772" fmla="*/ 1843116 w 6697570"/>
              <a:gd name="connsiteY1772" fmla="*/ 899841 h 4073898"/>
              <a:gd name="connsiteX1773" fmla="*/ 1676443 w 6697570"/>
              <a:gd name="connsiteY1773" fmla="*/ 950158 h 4073898"/>
              <a:gd name="connsiteX1774" fmla="*/ 1410281 w 6697570"/>
              <a:gd name="connsiteY1774" fmla="*/ 834087 h 4073898"/>
              <a:gd name="connsiteX1775" fmla="*/ 1373974 w 6697570"/>
              <a:gd name="connsiteY1775" fmla="*/ 865249 h 4073898"/>
              <a:gd name="connsiteX1776" fmla="*/ 1414283 w 6697570"/>
              <a:gd name="connsiteY1776" fmla="*/ 945869 h 4073898"/>
              <a:gd name="connsiteX1777" fmla="*/ 1319655 w 6697570"/>
              <a:gd name="connsiteY1777" fmla="*/ 1074233 h 4073898"/>
              <a:gd name="connsiteX1778" fmla="*/ 1411139 w 6697570"/>
              <a:gd name="connsiteY1778" fmla="*/ 1203168 h 4073898"/>
              <a:gd name="connsiteX1779" fmla="*/ 1339380 w 6697570"/>
              <a:gd name="connsiteY1779" fmla="*/ 1318096 h 4073898"/>
              <a:gd name="connsiteX1780" fmla="*/ 1365683 w 6697570"/>
              <a:gd name="connsiteY1780" fmla="*/ 1384421 h 4073898"/>
              <a:gd name="connsiteX1781" fmla="*/ 1315080 w 6697570"/>
              <a:gd name="connsiteY1781" fmla="*/ 1499348 h 4073898"/>
              <a:gd name="connsiteX1782" fmla="*/ 1332519 w 6697570"/>
              <a:gd name="connsiteY1782" fmla="*/ 1576252 h 4073898"/>
              <a:gd name="connsiteX1783" fmla="*/ 1273912 w 6697570"/>
              <a:gd name="connsiteY1783" fmla="*/ 1632286 h 4073898"/>
              <a:gd name="connsiteX1784" fmla="*/ 1273056 w 6697570"/>
              <a:gd name="connsiteY1784" fmla="*/ 1659159 h 4073898"/>
              <a:gd name="connsiteX1785" fmla="*/ 1262477 w 6697570"/>
              <a:gd name="connsiteY1785" fmla="*/ 1684318 h 4073898"/>
              <a:gd name="connsiteX1786" fmla="*/ 1236747 w 6697570"/>
              <a:gd name="connsiteY1786" fmla="*/ 1694896 h 4073898"/>
              <a:gd name="connsiteX1787" fmla="*/ 1200439 w 6697570"/>
              <a:gd name="connsiteY1787" fmla="*/ 1658588 h 4073898"/>
              <a:gd name="connsiteX1788" fmla="*/ 1199582 w 6697570"/>
              <a:gd name="connsiteY1788" fmla="*/ 1629999 h 4073898"/>
              <a:gd name="connsiteX1789" fmla="*/ 1148694 w 6697570"/>
              <a:gd name="connsiteY1789" fmla="*/ 1546234 h 4073898"/>
              <a:gd name="connsiteX1790" fmla="*/ 1178140 w 6697570"/>
              <a:gd name="connsiteY1790" fmla="*/ 1478193 h 4073898"/>
              <a:gd name="connsiteX1791" fmla="*/ 1126108 w 6697570"/>
              <a:gd name="connsiteY1791" fmla="*/ 1392998 h 4073898"/>
              <a:gd name="connsiteX1792" fmla="*/ 1170708 w 6697570"/>
              <a:gd name="connsiteY1792" fmla="*/ 1316094 h 4073898"/>
              <a:gd name="connsiteX1793" fmla="*/ 1124679 w 6697570"/>
              <a:gd name="connsiteY1793" fmla="*/ 1128551 h 4073898"/>
              <a:gd name="connsiteX1794" fmla="*/ 1146978 w 6697570"/>
              <a:gd name="connsiteY1794" fmla="*/ 1095960 h 4073898"/>
              <a:gd name="connsiteX1795" fmla="*/ 1090087 w 6697570"/>
              <a:gd name="connsiteY1795" fmla="*/ 980461 h 4073898"/>
              <a:gd name="connsiteX1796" fmla="*/ 1149265 w 6697570"/>
              <a:gd name="connsiteY1796" fmla="*/ 868965 h 4073898"/>
              <a:gd name="connsiteX1797" fmla="*/ 1102952 w 6697570"/>
              <a:gd name="connsiteY1797" fmla="*/ 826940 h 4073898"/>
              <a:gd name="connsiteX1798" fmla="*/ 1078937 w 6697570"/>
              <a:gd name="connsiteY1798" fmla="*/ 829798 h 4073898"/>
              <a:gd name="connsiteX1799" fmla="*/ 1073219 w 6697570"/>
              <a:gd name="connsiteY1799" fmla="*/ 829513 h 4073898"/>
              <a:gd name="connsiteX1800" fmla="*/ 939352 w 6697570"/>
              <a:gd name="connsiteY1800" fmla="*/ 919460 h 4073898"/>
              <a:gd name="connsiteX1801" fmla="*/ 923763 w 6697570"/>
              <a:gd name="connsiteY1801" fmla="*/ 924622 h 4073898"/>
              <a:gd name="connsiteX1802" fmla="*/ 926099 w 6697570"/>
              <a:gd name="connsiteY1802" fmla="*/ 925071 h 4073898"/>
              <a:gd name="connsiteX1803" fmla="*/ 969158 w 6697570"/>
              <a:gd name="connsiteY1803" fmla="*/ 988753 h 4073898"/>
              <a:gd name="connsiteX1804" fmla="*/ 955149 w 6697570"/>
              <a:gd name="connsiteY1804" fmla="*/ 1035638 h 4073898"/>
              <a:gd name="connsiteX1805" fmla="*/ 752168 w 6697570"/>
              <a:gd name="connsiteY1805" fmla="*/ 1487341 h 4073898"/>
              <a:gd name="connsiteX1806" fmla="*/ 781614 w 6697570"/>
              <a:gd name="connsiteY1806" fmla="*/ 1693466 h 4073898"/>
              <a:gd name="connsiteX1807" fmla="*/ 875956 w 6697570"/>
              <a:gd name="connsiteY1807" fmla="*/ 1963345 h 4073898"/>
              <a:gd name="connsiteX1808" fmla="*/ 643816 w 6697570"/>
              <a:gd name="connsiteY1808" fmla="*/ 2122584 h 4073898"/>
              <a:gd name="connsiteX1809" fmla="*/ 327624 w 6697570"/>
              <a:gd name="connsiteY1809" fmla="*/ 1895017 h 4073898"/>
              <a:gd name="connsiteX1810" fmla="*/ 255865 w 6697570"/>
              <a:gd name="connsiteY1810" fmla="*/ 1759507 h 4073898"/>
              <a:gd name="connsiteX1811" fmla="*/ 223846 w 6697570"/>
              <a:gd name="connsiteY1811" fmla="*/ 1771514 h 4073898"/>
              <a:gd name="connsiteX1812" fmla="*/ 101486 w 6697570"/>
              <a:gd name="connsiteY1812" fmla="*/ 1686606 h 4073898"/>
              <a:gd name="connsiteX1813" fmla="*/ 184681 w 6697570"/>
              <a:gd name="connsiteY1813" fmla="*/ 1562816 h 4073898"/>
              <a:gd name="connsiteX1814" fmla="*/ 307040 w 6697570"/>
              <a:gd name="connsiteY1814" fmla="*/ 1647725 h 4073898"/>
              <a:gd name="connsiteX1815" fmla="*/ 306468 w 6697570"/>
              <a:gd name="connsiteY1815" fmla="*/ 1690893 h 4073898"/>
              <a:gd name="connsiteX1816" fmla="*/ 406529 w 6697570"/>
              <a:gd name="connsiteY1816" fmla="*/ 1864142 h 4073898"/>
              <a:gd name="connsiteX1817" fmla="*/ 628377 w 6697570"/>
              <a:gd name="connsiteY1817" fmla="*/ 2038534 h 4073898"/>
              <a:gd name="connsiteX1818" fmla="*/ 796194 w 6697570"/>
              <a:gd name="connsiteY1818" fmla="*/ 1936185 h 4073898"/>
              <a:gd name="connsiteX1819" fmla="*/ 719863 w 6697570"/>
              <a:gd name="connsiteY1819" fmla="*/ 1751216 h 4073898"/>
              <a:gd name="connsiteX1820" fmla="*/ 664972 w 6697570"/>
              <a:gd name="connsiteY1820" fmla="*/ 1497919 h 4073898"/>
              <a:gd name="connsiteX1821" fmla="*/ 339631 w 6697570"/>
              <a:gd name="connsiteY1821" fmla="*/ 1139701 h 4073898"/>
              <a:gd name="connsiteX1822" fmla="*/ 323335 w 6697570"/>
              <a:gd name="connsiteY1822" fmla="*/ 1110541 h 4073898"/>
              <a:gd name="connsiteX1823" fmla="*/ 359929 w 6697570"/>
              <a:gd name="connsiteY1823" fmla="*/ 1023059 h 4073898"/>
              <a:gd name="connsiteX1824" fmla="*/ 425969 w 6697570"/>
              <a:gd name="connsiteY1824" fmla="*/ 1091101 h 4073898"/>
              <a:gd name="connsiteX1825" fmla="*/ 422253 w 6697570"/>
              <a:gd name="connsiteY1825" fmla="*/ 1122548 h 4073898"/>
              <a:gd name="connsiteX1826" fmla="*/ 708713 w 6697570"/>
              <a:gd name="connsiteY1826" fmla="*/ 1410438 h 4073898"/>
              <a:gd name="connsiteX1827" fmla="*/ 866807 w 6697570"/>
              <a:gd name="connsiteY1827" fmla="*/ 1016484 h 4073898"/>
              <a:gd name="connsiteX1828" fmla="*/ 864521 w 6697570"/>
              <a:gd name="connsiteY1828" fmla="*/ 1004190 h 4073898"/>
              <a:gd name="connsiteX1829" fmla="*/ 866237 w 6697570"/>
              <a:gd name="connsiteY1829" fmla="*/ 1003905 h 4073898"/>
              <a:gd name="connsiteX1830" fmla="*/ 872384 w 6697570"/>
              <a:gd name="connsiteY1830" fmla="*/ 954053 h 4073898"/>
              <a:gd name="connsiteX1831" fmla="*/ 880887 w 6697570"/>
              <a:gd name="connsiteY1831" fmla="*/ 938819 h 4073898"/>
              <a:gd name="connsiteX1832" fmla="*/ 871158 w 6697570"/>
              <a:gd name="connsiteY1832" fmla="*/ 942041 h 4073898"/>
              <a:gd name="connsiteX1833" fmla="*/ 802483 w 6697570"/>
              <a:gd name="connsiteY1833" fmla="*/ 949586 h 4073898"/>
              <a:gd name="connsiteX1834" fmla="*/ 635810 w 6697570"/>
              <a:gd name="connsiteY1834" fmla="*/ 899270 h 4073898"/>
              <a:gd name="connsiteX1835" fmla="*/ 623231 w 6697570"/>
              <a:gd name="connsiteY1835" fmla="*/ 899555 h 4073898"/>
              <a:gd name="connsiteX1836" fmla="*/ 472568 w 6697570"/>
              <a:gd name="connsiteY1836" fmla="*/ 817791 h 4073898"/>
              <a:gd name="connsiteX1837" fmla="*/ 357355 w 6697570"/>
              <a:gd name="connsiteY1837" fmla="*/ 792061 h 4073898"/>
              <a:gd name="connsiteX1838" fmla="*/ 252434 w 6697570"/>
              <a:gd name="connsiteY1838" fmla="*/ 690573 h 4073898"/>
              <a:gd name="connsiteX1839" fmla="*/ 379655 w 6697570"/>
              <a:gd name="connsiteY1839" fmla="*/ 621102 h 4073898"/>
              <a:gd name="connsiteX1840" fmla="*/ 450269 w 6697570"/>
              <a:gd name="connsiteY1840" fmla="*/ 602519 h 4073898"/>
              <a:gd name="connsiteX1841" fmla="*/ 644387 w 6697570"/>
              <a:gd name="connsiteY1841" fmla="*/ 493883 h 4073898"/>
              <a:gd name="connsiteX1842" fmla="*/ 913693 w 6697570"/>
              <a:gd name="connsiteY1842" fmla="*/ 370093 h 4073898"/>
              <a:gd name="connsiteX1843" fmla="*/ 999460 w 6697570"/>
              <a:gd name="connsiteY1843" fmla="*/ 390105 h 4073898"/>
              <a:gd name="connsiteX1844" fmla="*/ 1148122 w 6697570"/>
              <a:gd name="connsiteY1844" fmla="*/ 579934 h 4073898"/>
              <a:gd name="connsiteX1845" fmla="*/ 1149265 w 6697570"/>
              <a:gd name="connsiteY1845" fmla="*/ 583365 h 4073898"/>
              <a:gd name="connsiteX1846" fmla="*/ 1165561 w 6697570"/>
              <a:gd name="connsiteY1846" fmla="*/ 636826 h 4073898"/>
              <a:gd name="connsiteX1847" fmla="*/ 1167562 w 6697570"/>
              <a:gd name="connsiteY1847" fmla="*/ 636826 h 4073898"/>
              <a:gd name="connsiteX1848" fmla="*/ 1164417 w 6697570"/>
              <a:gd name="connsiteY1848" fmla="*/ 533048 h 4073898"/>
              <a:gd name="connsiteX1849" fmla="*/ 1099234 w 6697570"/>
              <a:gd name="connsiteY1849" fmla="*/ 415834 h 4073898"/>
              <a:gd name="connsiteX1850" fmla="*/ 1237034 w 6697570"/>
              <a:gd name="connsiteY1850" fmla="*/ 278037 h 4073898"/>
              <a:gd name="connsiteX1851" fmla="*/ 3360325 w 6697570"/>
              <a:gd name="connsiteY1851" fmla="*/ 152822 h 4073898"/>
              <a:gd name="connsiteX1852" fmla="*/ 3121036 w 6697570"/>
              <a:gd name="connsiteY1852" fmla="*/ 264032 h 4073898"/>
              <a:gd name="connsiteX1853" fmla="*/ 2933494 w 6697570"/>
              <a:gd name="connsiteY1853" fmla="*/ 368381 h 4073898"/>
              <a:gd name="connsiteX1854" fmla="*/ 2867167 w 6697570"/>
              <a:gd name="connsiteY1854" fmla="*/ 385821 h 4073898"/>
              <a:gd name="connsiteX1855" fmla="*/ 2764248 w 6697570"/>
              <a:gd name="connsiteY1855" fmla="*/ 432421 h 4073898"/>
              <a:gd name="connsiteX1856" fmla="*/ 2849442 w 6697570"/>
              <a:gd name="connsiteY1856" fmla="*/ 505894 h 4073898"/>
              <a:gd name="connsiteX1857" fmla="*/ 2962368 w 6697570"/>
              <a:gd name="connsiteY1857" fmla="*/ 529337 h 4073898"/>
              <a:gd name="connsiteX1858" fmla="*/ 3194509 w 6697570"/>
              <a:gd name="connsiteY1858" fmla="*/ 419269 h 4073898"/>
              <a:gd name="connsiteX1859" fmla="*/ 3155342 w 6697570"/>
              <a:gd name="connsiteY1859" fmla="*/ 388393 h 4073898"/>
              <a:gd name="connsiteX1860" fmla="*/ 3152484 w 6697570"/>
              <a:gd name="connsiteY1860" fmla="*/ 385535 h 4073898"/>
              <a:gd name="connsiteX1861" fmla="*/ 3155056 w 6697570"/>
              <a:gd name="connsiteY1861" fmla="*/ 382390 h 4073898"/>
              <a:gd name="connsiteX1862" fmla="*/ 3167635 w 6697570"/>
              <a:gd name="connsiteY1862" fmla="*/ 370954 h 4073898"/>
              <a:gd name="connsiteX1863" fmla="*/ 3170208 w 6697570"/>
              <a:gd name="connsiteY1863" fmla="*/ 373813 h 4073898"/>
              <a:gd name="connsiteX1864" fmla="*/ 3248257 w 6697570"/>
              <a:gd name="connsiteY1864" fmla="*/ 413266 h 4073898"/>
              <a:gd name="connsiteX1865" fmla="*/ 3301145 w 6697570"/>
              <a:gd name="connsiteY1865" fmla="*/ 394683 h 4073898"/>
              <a:gd name="connsiteX1866" fmla="*/ 3314582 w 6697570"/>
              <a:gd name="connsiteY1866" fmla="*/ 383247 h 4073898"/>
              <a:gd name="connsiteX1867" fmla="*/ 3314868 w 6697570"/>
              <a:gd name="connsiteY1867" fmla="*/ 384677 h 4073898"/>
              <a:gd name="connsiteX1868" fmla="*/ 3316298 w 6697570"/>
              <a:gd name="connsiteY1868" fmla="*/ 383534 h 4073898"/>
              <a:gd name="connsiteX1869" fmla="*/ 3319728 w 6697570"/>
              <a:gd name="connsiteY1869" fmla="*/ 401545 h 4073898"/>
              <a:gd name="connsiteX1870" fmla="*/ 3332307 w 6697570"/>
              <a:gd name="connsiteY1870" fmla="*/ 441283 h 4073898"/>
              <a:gd name="connsiteX1871" fmla="*/ 3352033 w 6697570"/>
              <a:gd name="connsiteY1871" fmla="*/ 474446 h 4073898"/>
              <a:gd name="connsiteX1872" fmla="*/ 3357179 w 6697570"/>
              <a:gd name="connsiteY1872" fmla="*/ 480450 h 4073898"/>
              <a:gd name="connsiteX1873" fmla="*/ 3376048 w 6697570"/>
              <a:gd name="connsiteY1873" fmla="*/ 493029 h 4073898"/>
              <a:gd name="connsiteX1874" fmla="*/ 3401778 w 6697570"/>
              <a:gd name="connsiteY1874" fmla="*/ 498175 h 4073898"/>
              <a:gd name="connsiteX1875" fmla="*/ 3439515 w 6697570"/>
              <a:gd name="connsiteY1875" fmla="*/ 489026 h 4073898"/>
              <a:gd name="connsiteX1876" fmla="*/ 3449808 w 6697570"/>
              <a:gd name="connsiteY1876" fmla="*/ 483023 h 4073898"/>
              <a:gd name="connsiteX1877" fmla="*/ 3454953 w 6697570"/>
              <a:gd name="connsiteY1877" fmla="*/ 493601 h 4073898"/>
              <a:gd name="connsiteX1878" fmla="*/ 3470105 w 6697570"/>
              <a:gd name="connsiteY1878" fmla="*/ 517901 h 4073898"/>
              <a:gd name="connsiteX1879" fmla="*/ 3484971 w 6697570"/>
              <a:gd name="connsiteY1879" fmla="*/ 531052 h 4073898"/>
              <a:gd name="connsiteX1880" fmla="*/ 3505556 w 6697570"/>
              <a:gd name="connsiteY1880" fmla="*/ 538771 h 4073898"/>
              <a:gd name="connsiteX1881" fmla="*/ 3520708 w 6697570"/>
              <a:gd name="connsiteY1881" fmla="*/ 539056 h 4073898"/>
              <a:gd name="connsiteX1882" fmla="*/ 3507843 w 6697570"/>
              <a:gd name="connsiteY1882" fmla="*/ 521046 h 4073898"/>
              <a:gd name="connsiteX1883" fmla="*/ 3496979 w 6697570"/>
              <a:gd name="connsiteY1883" fmla="*/ 451861 h 4073898"/>
              <a:gd name="connsiteX1884" fmla="*/ 3558731 w 6697570"/>
              <a:gd name="connsiteY1884" fmla="*/ 387250 h 4073898"/>
              <a:gd name="connsiteX1885" fmla="*/ 3573025 w 6697570"/>
              <a:gd name="connsiteY1885" fmla="*/ 382104 h 4073898"/>
              <a:gd name="connsiteX1886" fmla="*/ 3559017 w 6697570"/>
              <a:gd name="connsiteY1886" fmla="*/ 335505 h 4073898"/>
              <a:gd name="connsiteX1887" fmla="*/ 3558445 w 6697570"/>
              <a:gd name="connsiteY1887" fmla="*/ 332932 h 4073898"/>
              <a:gd name="connsiteX1888" fmla="*/ 3430653 w 6697570"/>
              <a:gd name="connsiteY1888" fmla="*/ 169118 h 4073898"/>
              <a:gd name="connsiteX1889" fmla="*/ 3360325 w 6697570"/>
              <a:gd name="connsiteY1889" fmla="*/ 152822 h 4073898"/>
              <a:gd name="connsiteX1890" fmla="*/ 3967551 w 6697570"/>
              <a:gd name="connsiteY1890" fmla="*/ 152536 h 4073898"/>
              <a:gd name="connsiteX1891" fmla="*/ 3897222 w 6697570"/>
              <a:gd name="connsiteY1891" fmla="*/ 168832 h 4073898"/>
              <a:gd name="connsiteX1892" fmla="*/ 3769717 w 6697570"/>
              <a:gd name="connsiteY1892" fmla="*/ 332645 h 4073898"/>
              <a:gd name="connsiteX1893" fmla="*/ 3753706 w 6697570"/>
              <a:gd name="connsiteY1893" fmla="*/ 383247 h 4073898"/>
              <a:gd name="connsiteX1894" fmla="*/ 3853196 w 6697570"/>
              <a:gd name="connsiteY1894" fmla="*/ 422701 h 4073898"/>
              <a:gd name="connsiteX1895" fmla="*/ 3863201 w 6697570"/>
              <a:gd name="connsiteY1895" fmla="*/ 495602 h 4073898"/>
              <a:gd name="connsiteX1896" fmla="*/ 3851194 w 6697570"/>
              <a:gd name="connsiteY1896" fmla="*/ 524763 h 4073898"/>
              <a:gd name="connsiteX1897" fmla="*/ 3857484 w 6697570"/>
              <a:gd name="connsiteY1897" fmla="*/ 518187 h 4073898"/>
              <a:gd name="connsiteX1898" fmla="*/ 3872636 w 6697570"/>
              <a:gd name="connsiteY1898" fmla="*/ 493886 h 4073898"/>
              <a:gd name="connsiteX1899" fmla="*/ 3877210 w 6697570"/>
              <a:gd name="connsiteY1899" fmla="*/ 483023 h 4073898"/>
              <a:gd name="connsiteX1900" fmla="*/ 3887502 w 6697570"/>
              <a:gd name="connsiteY1900" fmla="*/ 489026 h 4073898"/>
              <a:gd name="connsiteX1901" fmla="*/ 3925526 w 6697570"/>
              <a:gd name="connsiteY1901" fmla="*/ 498175 h 4073898"/>
              <a:gd name="connsiteX1902" fmla="*/ 3950969 w 6697570"/>
              <a:gd name="connsiteY1902" fmla="*/ 493029 h 4073898"/>
              <a:gd name="connsiteX1903" fmla="*/ 3970409 w 6697570"/>
              <a:gd name="connsiteY1903" fmla="*/ 479878 h 4073898"/>
              <a:gd name="connsiteX1904" fmla="*/ 3974984 w 6697570"/>
              <a:gd name="connsiteY1904" fmla="*/ 474160 h 4073898"/>
              <a:gd name="connsiteX1905" fmla="*/ 3994996 w 6697570"/>
              <a:gd name="connsiteY1905" fmla="*/ 440997 h 4073898"/>
              <a:gd name="connsiteX1906" fmla="*/ 4007575 w 6697570"/>
              <a:gd name="connsiteY1906" fmla="*/ 400973 h 4073898"/>
              <a:gd name="connsiteX1907" fmla="*/ 4010720 w 6697570"/>
              <a:gd name="connsiteY1907" fmla="*/ 383247 h 4073898"/>
              <a:gd name="connsiteX1908" fmla="*/ 4012435 w 6697570"/>
              <a:gd name="connsiteY1908" fmla="*/ 384391 h 4073898"/>
              <a:gd name="connsiteX1909" fmla="*/ 4012722 w 6697570"/>
              <a:gd name="connsiteY1909" fmla="*/ 382962 h 4073898"/>
              <a:gd name="connsiteX1910" fmla="*/ 4026158 w 6697570"/>
              <a:gd name="connsiteY1910" fmla="*/ 394397 h 4073898"/>
              <a:gd name="connsiteX1911" fmla="*/ 4079047 w 6697570"/>
              <a:gd name="connsiteY1911" fmla="*/ 412980 h 4073898"/>
              <a:gd name="connsiteX1912" fmla="*/ 4156809 w 6697570"/>
              <a:gd name="connsiteY1912" fmla="*/ 373813 h 4073898"/>
              <a:gd name="connsiteX1913" fmla="*/ 4159381 w 6697570"/>
              <a:gd name="connsiteY1913" fmla="*/ 370954 h 4073898"/>
              <a:gd name="connsiteX1914" fmla="*/ 4162527 w 6697570"/>
              <a:gd name="connsiteY1914" fmla="*/ 373241 h 4073898"/>
              <a:gd name="connsiteX1915" fmla="*/ 4175106 w 6697570"/>
              <a:gd name="connsiteY1915" fmla="*/ 384963 h 4073898"/>
              <a:gd name="connsiteX1916" fmla="*/ 4172247 w 6697570"/>
              <a:gd name="connsiteY1916" fmla="*/ 387822 h 4073898"/>
              <a:gd name="connsiteX1917" fmla="*/ 4132794 w 6697570"/>
              <a:gd name="connsiteY1917" fmla="*/ 419269 h 4073898"/>
              <a:gd name="connsiteX1918" fmla="*/ 4365507 w 6697570"/>
              <a:gd name="connsiteY1918" fmla="*/ 529051 h 4073898"/>
              <a:gd name="connsiteX1919" fmla="*/ 4478433 w 6697570"/>
              <a:gd name="connsiteY1919" fmla="*/ 505608 h 4073898"/>
              <a:gd name="connsiteX1920" fmla="*/ 4563627 w 6697570"/>
              <a:gd name="connsiteY1920" fmla="*/ 432135 h 4073898"/>
              <a:gd name="connsiteX1921" fmla="*/ 4460708 w 6697570"/>
              <a:gd name="connsiteY1921" fmla="*/ 385535 h 4073898"/>
              <a:gd name="connsiteX1922" fmla="*/ 4394382 w 6697570"/>
              <a:gd name="connsiteY1922" fmla="*/ 368096 h 4073898"/>
              <a:gd name="connsiteX1923" fmla="*/ 4206839 w 6697570"/>
              <a:gd name="connsiteY1923" fmla="*/ 263746 h 4073898"/>
              <a:gd name="connsiteX1924" fmla="*/ 3967551 w 6697570"/>
              <a:gd name="connsiteY1924" fmla="*/ 152536 h 4073898"/>
              <a:gd name="connsiteX1925" fmla="*/ 4466140 w 6697570"/>
              <a:gd name="connsiteY1925" fmla="*/ 140241 h 4073898"/>
              <a:gd name="connsiteX1926" fmla="*/ 4466140 w 6697570"/>
              <a:gd name="connsiteY1926" fmla="*/ 200563 h 4073898"/>
              <a:gd name="connsiteX1927" fmla="*/ 4575349 w 6697570"/>
              <a:gd name="connsiteY1927" fmla="*/ 310058 h 4073898"/>
              <a:gd name="connsiteX1928" fmla="*/ 4665975 w 6697570"/>
              <a:gd name="connsiteY1928" fmla="*/ 310058 h 4073898"/>
              <a:gd name="connsiteX1929" fmla="*/ 4665975 w 6697570"/>
              <a:gd name="connsiteY1929" fmla="*/ 259457 h 4073898"/>
              <a:gd name="connsiteX1930" fmla="*/ 4547045 w 6697570"/>
              <a:gd name="connsiteY1930" fmla="*/ 140241 h 4073898"/>
              <a:gd name="connsiteX1931" fmla="*/ 5224887 w 6697570"/>
              <a:gd name="connsiteY1931" fmla="*/ 109937 h 4073898"/>
              <a:gd name="connsiteX1932" fmla="*/ 5105672 w 6697570"/>
              <a:gd name="connsiteY1932" fmla="*/ 228867 h 4073898"/>
              <a:gd name="connsiteX1933" fmla="*/ 5105672 w 6697570"/>
              <a:gd name="connsiteY1933" fmla="*/ 309773 h 4073898"/>
              <a:gd name="connsiteX1934" fmla="*/ 5165994 w 6697570"/>
              <a:gd name="connsiteY1934" fmla="*/ 309773 h 4073898"/>
              <a:gd name="connsiteX1935" fmla="*/ 5275775 w 6697570"/>
              <a:gd name="connsiteY1935" fmla="*/ 200563 h 4073898"/>
              <a:gd name="connsiteX1936" fmla="*/ 5275775 w 6697570"/>
              <a:gd name="connsiteY1936" fmla="*/ 109937 h 4073898"/>
              <a:gd name="connsiteX1937" fmla="*/ 2549545 w 6697570"/>
              <a:gd name="connsiteY1937" fmla="*/ 87350 h 4073898"/>
              <a:gd name="connsiteX1938" fmla="*/ 2549545 w 6697570"/>
              <a:gd name="connsiteY1938" fmla="*/ 129947 h 4073898"/>
              <a:gd name="connsiteX1939" fmla="*/ 2609582 w 6697570"/>
              <a:gd name="connsiteY1939" fmla="*/ 189983 h 4073898"/>
              <a:gd name="connsiteX1940" fmla="*/ 2986096 w 6697570"/>
              <a:gd name="connsiteY1940" fmla="*/ 189983 h 4073898"/>
              <a:gd name="connsiteX1941" fmla="*/ 3046133 w 6697570"/>
              <a:gd name="connsiteY1941" fmla="*/ 129947 h 4073898"/>
              <a:gd name="connsiteX1942" fmla="*/ 3046133 w 6697570"/>
              <a:gd name="connsiteY1942" fmla="*/ 87350 h 4073898"/>
              <a:gd name="connsiteX1943" fmla="*/ 3661079 w 6697570"/>
              <a:gd name="connsiteY1943" fmla="*/ 69343 h 4073898"/>
              <a:gd name="connsiteX1944" fmla="*/ 3556730 w 6697570"/>
              <a:gd name="connsiteY1944" fmla="*/ 173692 h 4073898"/>
              <a:gd name="connsiteX1945" fmla="*/ 3611048 w 6697570"/>
              <a:gd name="connsiteY1945" fmla="*/ 265462 h 4073898"/>
              <a:gd name="connsiteX1946" fmla="*/ 3617052 w 6697570"/>
              <a:gd name="connsiteY1946" fmla="*/ 268607 h 4073898"/>
              <a:gd name="connsiteX1947" fmla="*/ 3617052 w 6697570"/>
              <a:gd name="connsiteY1947" fmla="*/ 270894 h 4073898"/>
              <a:gd name="connsiteX1948" fmla="*/ 3620482 w 6697570"/>
              <a:gd name="connsiteY1948" fmla="*/ 384963 h 4073898"/>
              <a:gd name="connsiteX1949" fmla="*/ 3645927 w 6697570"/>
              <a:gd name="connsiteY1949" fmla="*/ 403832 h 4073898"/>
              <a:gd name="connsiteX1950" fmla="*/ 3648214 w 6697570"/>
              <a:gd name="connsiteY1950" fmla="*/ 435851 h 4073898"/>
              <a:gd name="connsiteX1951" fmla="*/ 3618195 w 6697570"/>
              <a:gd name="connsiteY1951" fmla="*/ 463010 h 4073898"/>
              <a:gd name="connsiteX1952" fmla="*/ 3619053 w 6697570"/>
              <a:gd name="connsiteY1952" fmla="*/ 507324 h 4073898"/>
              <a:gd name="connsiteX1953" fmla="*/ 3682235 w 6697570"/>
              <a:gd name="connsiteY1953" fmla="*/ 536198 h 4073898"/>
              <a:gd name="connsiteX1954" fmla="*/ 3685379 w 6697570"/>
              <a:gd name="connsiteY1954" fmla="*/ 537341 h 4073898"/>
              <a:gd name="connsiteX1955" fmla="*/ 3697101 w 6697570"/>
              <a:gd name="connsiteY1955" fmla="*/ 533624 h 4073898"/>
              <a:gd name="connsiteX1956" fmla="*/ 3705392 w 6697570"/>
              <a:gd name="connsiteY1956" fmla="*/ 268892 h 4073898"/>
              <a:gd name="connsiteX1957" fmla="*/ 3711395 w 6697570"/>
              <a:gd name="connsiteY1957" fmla="*/ 265748 h 4073898"/>
              <a:gd name="connsiteX1958" fmla="*/ 3766000 w 6697570"/>
              <a:gd name="connsiteY1958" fmla="*/ 173978 h 4073898"/>
              <a:gd name="connsiteX1959" fmla="*/ 3661079 w 6697570"/>
              <a:gd name="connsiteY1959" fmla="*/ 69343 h 4073898"/>
              <a:gd name="connsiteX1960" fmla="*/ 3661079 w 6697570"/>
              <a:gd name="connsiteY1960" fmla="*/ 45328 h 4073898"/>
              <a:gd name="connsiteX1961" fmla="*/ 3789729 w 6697570"/>
              <a:gd name="connsiteY1961" fmla="*/ 173978 h 4073898"/>
              <a:gd name="connsiteX1962" fmla="*/ 3728834 w 6697570"/>
              <a:gd name="connsiteY1962" fmla="*/ 283187 h 4073898"/>
              <a:gd name="connsiteX1963" fmla="*/ 3726547 w 6697570"/>
              <a:gd name="connsiteY1963" fmla="*/ 387822 h 4073898"/>
              <a:gd name="connsiteX1964" fmla="*/ 3728834 w 6697570"/>
              <a:gd name="connsiteY1964" fmla="*/ 387250 h 4073898"/>
              <a:gd name="connsiteX1965" fmla="*/ 3748846 w 6697570"/>
              <a:gd name="connsiteY1965" fmla="*/ 326928 h 4073898"/>
              <a:gd name="connsiteX1966" fmla="*/ 3887502 w 6697570"/>
              <a:gd name="connsiteY1966" fmla="*/ 149963 h 4073898"/>
              <a:gd name="connsiteX1967" fmla="*/ 3967551 w 6697570"/>
              <a:gd name="connsiteY1967" fmla="*/ 131381 h 4073898"/>
              <a:gd name="connsiteX1968" fmla="*/ 4218847 w 6697570"/>
              <a:gd name="connsiteY1968" fmla="*/ 246593 h 4073898"/>
              <a:gd name="connsiteX1969" fmla="*/ 4399814 w 6697570"/>
              <a:gd name="connsiteY1969" fmla="*/ 348084 h 4073898"/>
              <a:gd name="connsiteX1970" fmla="*/ 4465569 w 6697570"/>
              <a:gd name="connsiteY1970" fmla="*/ 365523 h 4073898"/>
              <a:gd name="connsiteX1971" fmla="*/ 4584212 w 6697570"/>
              <a:gd name="connsiteY1971" fmla="*/ 430419 h 4073898"/>
              <a:gd name="connsiteX1972" fmla="*/ 4487296 w 6697570"/>
              <a:gd name="connsiteY1972" fmla="*/ 525906 h 4073898"/>
              <a:gd name="connsiteX1973" fmla="*/ 4379801 w 6697570"/>
              <a:gd name="connsiteY1973" fmla="*/ 549918 h 4073898"/>
              <a:gd name="connsiteX1974" fmla="*/ 4239145 w 6697570"/>
              <a:gd name="connsiteY1974" fmla="*/ 626251 h 4073898"/>
              <a:gd name="connsiteX1975" fmla="*/ 4227424 w 6697570"/>
              <a:gd name="connsiteY1975" fmla="*/ 625965 h 4073898"/>
              <a:gd name="connsiteX1976" fmla="*/ 4071900 w 6697570"/>
              <a:gd name="connsiteY1976" fmla="*/ 672851 h 4073898"/>
              <a:gd name="connsiteX1977" fmla="*/ 3823749 w 6697570"/>
              <a:gd name="connsiteY1977" fmla="*/ 564499 h 4073898"/>
              <a:gd name="connsiteX1978" fmla="*/ 3789729 w 6697570"/>
              <a:gd name="connsiteY1978" fmla="*/ 593659 h 4073898"/>
              <a:gd name="connsiteX1979" fmla="*/ 3827179 w 6697570"/>
              <a:gd name="connsiteY1979" fmla="*/ 668848 h 4073898"/>
              <a:gd name="connsiteX1980" fmla="*/ 3739126 w 6697570"/>
              <a:gd name="connsiteY1980" fmla="*/ 788631 h 4073898"/>
              <a:gd name="connsiteX1981" fmla="*/ 3824321 w 6697570"/>
              <a:gd name="connsiteY1981" fmla="*/ 908991 h 4073898"/>
              <a:gd name="connsiteX1982" fmla="*/ 3757423 w 6697570"/>
              <a:gd name="connsiteY1982" fmla="*/ 1016199 h 4073898"/>
              <a:gd name="connsiteX1983" fmla="*/ 3782010 w 6697570"/>
              <a:gd name="connsiteY1983" fmla="*/ 1078237 h 4073898"/>
              <a:gd name="connsiteX1984" fmla="*/ 3734838 w 6697570"/>
              <a:gd name="connsiteY1984" fmla="*/ 1185444 h 4073898"/>
              <a:gd name="connsiteX1985" fmla="*/ 3751133 w 6697570"/>
              <a:gd name="connsiteY1985" fmla="*/ 1257202 h 4073898"/>
              <a:gd name="connsiteX1986" fmla="*/ 3696243 w 6697570"/>
              <a:gd name="connsiteY1986" fmla="*/ 1309520 h 4073898"/>
              <a:gd name="connsiteX1987" fmla="*/ 3695385 w 6697570"/>
              <a:gd name="connsiteY1987" fmla="*/ 1334678 h 4073898"/>
              <a:gd name="connsiteX1988" fmla="*/ 3685379 w 6697570"/>
              <a:gd name="connsiteY1988" fmla="*/ 1358120 h 4073898"/>
              <a:gd name="connsiteX1989" fmla="*/ 3661365 w 6697570"/>
              <a:gd name="connsiteY1989" fmla="*/ 1368127 h 4073898"/>
              <a:gd name="connsiteX1990" fmla="*/ 3627630 w 6697570"/>
              <a:gd name="connsiteY1990" fmla="*/ 1334391 h 4073898"/>
              <a:gd name="connsiteX1991" fmla="*/ 3626772 w 6697570"/>
              <a:gd name="connsiteY1991" fmla="*/ 1307804 h 4073898"/>
              <a:gd name="connsiteX1992" fmla="*/ 3579029 w 6697570"/>
              <a:gd name="connsiteY1992" fmla="*/ 1229757 h 4073898"/>
              <a:gd name="connsiteX1993" fmla="*/ 3606474 w 6697570"/>
              <a:gd name="connsiteY1993" fmla="*/ 1166290 h 4073898"/>
              <a:gd name="connsiteX1994" fmla="*/ 3557873 w 6697570"/>
              <a:gd name="connsiteY1994" fmla="*/ 1086813 h 4073898"/>
              <a:gd name="connsiteX1995" fmla="*/ 3599327 w 6697570"/>
              <a:gd name="connsiteY1995" fmla="*/ 1015055 h 4073898"/>
              <a:gd name="connsiteX1996" fmla="*/ 3556444 w 6697570"/>
              <a:gd name="connsiteY1996" fmla="*/ 840091 h 4073898"/>
              <a:gd name="connsiteX1997" fmla="*/ 3577027 w 6697570"/>
              <a:gd name="connsiteY1997" fmla="*/ 809502 h 4073898"/>
              <a:gd name="connsiteX1998" fmla="*/ 3524138 w 6697570"/>
              <a:gd name="connsiteY1998" fmla="*/ 701724 h 4073898"/>
              <a:gd name="connsiteX1999" fmla="*/ 3579315 w 6697570"/>
              <a:gd name="connsiteY1999" fmla="*/ 597662 h 4073898"/>
              <a:gd name="connsiteX2000" fmla="*/ 3536145 w 6697570"/>
              <a:gd name="connsiteY2000" fmla="*/ 558496 h 4073898"/>
              <a:gd name="connsiteX2001" fmla="*/ 3513560 w 6697570"/>
              <a:gd name="connsiteY2001" fmla="*/ 561068 h 4073898"/>
              <a:gd name="connsiteX2002" fmla="*/ 3508415 w 6697570"/>
              <a:gd name="connsiteY2002" fmla="*/ 560783 h 4073898"/>
              <a:gd name="connsiteX2003" fmla="*/ 3255690 w 6697570"/>
              <a:gd name="connsiteY2003" fmla="*/ 672851 h 4073898"/>
              <a:gd name="connsiteX2004" fmla="*/ 3100453 w 6697570"/>
              <a:gd name="connsiteY2004" fmla="*/ 625965 h 4073898"/>
              <a:gd name="connsiteX2005" fmla="*/ 3088731 w 6697570"/>
              <a:gd name="connsiteY2005" fmla="*/ 626251 h 4073898"/>
              <a:gd name="connsiteX2006" fmla="*/ 2948074 w 6697570"/>
              <a:gd name="connsiteY2006" fmla="*/ 549918 h 4073898"/>
              <a:gd name="connsiteX2007" fmla="*/ 2840579 w 6697570"/>
              <a:gd name="connsiteY2007" fmla="*/ 525906 h 4073898"/>
              <a:gd name="connsiteX2008" fmla="*/ 2742806 w 6697570"/>
              <a:gd name="connsiteY2008" fmla="*/ 430991 h 4073898"/>
              <a:gd name="connsiteX2009" fmla="*/ 2861450 w 6697570"/>
              <a:gd name="connsiteY2009" fmla="*/ 366094 h 4073898"/>
              <a:gd name="connsiteX2010" fmla="*/ 2927489 w 6697570"/>
              <a:gd name="connsiteY2010" fmla="*/ 348655 h 4073898"/>
              <a:gd name="connsiteX2011" fmla="*/ 3108457 w 6697570"/>
              <a:gd name="connsiteY2011" fmla="*/ 247165 h 4073898"/>
              <a:gd name="connsiteX2012" fmla="*/ 3359753 w 6697570"/>
              <a:gd name="connsiteY2012" fmla="*/ 131667 h 4073898"/>
              <a:gd name="connsiteX2013" fmla="*/ 3439515 w 6697570"/>
              <a:gd name="connsiteY2013" fmla="*/ 150249 h 4073898"/>
              <a:gd name="connsiteX2014" fmla="*/ 3578172 w 6697570"/>
              <a:gd name="connsiteY2014" fmla="*/ 327213 h 4073898"/>
              <a:gd name="connsiteX2015" fmla="*/ 3579029 w 6697570"/>
              <a:gd name="connsiteY2015" fmla="*/ 330358 h 4073898"/>
              <a:gd name="connsiteX2016" fmla="*/ 3594181 w 6697570"/>
              <a:gd name="connsiteY2016" fmla="*/ 380103 h 4073898"/>
              <a:gd name="connsiteX2017" fmla="*/ 3596182 w 6697570"/>
              <a:gd name="connsiteY2017" fmla="*/ 380103 h 4073898"/>
              <a:gd name="connsiteX2018" fmla="*/ 3593323 w 6697570"/>
              <a:gd name="connsiteY2018" fmla="*/ 283187 h 4073898"/>
              <a:gd name="connsiteX2019" fmla="*/ 3532429 w 6697570"/>
              <a:gd name="connsiteY2019" fmla="*/ 173978 h 4073898"/>
              <a:gd name="connsiteX2020" fmla="*/ 3661079 w 6697570"/>
              <a:gd name="connsiteY2020" fmla="*/ 45328 h 4073898"/>
              <a:gd name="connsiteX2021" fmla="*/ 6197089 w 6697570"/>
              <a:gd name="connsiteY2021" fmla="*/ 0 h 4073898"/>
              <a:gd name="connsiteX2022" fmla="*/ 6332769 w 6697570"/>
              <a:gd name="connsiteY2022" fmla="*/ 0 h 4073898"/>
              <a:gd name="connsiteX2023" fmla="*/ 6331095 w 6697570"/>
              <a:gd name="connsiteY2023" fmla="*/ 9088 h 4073898"/>
              <a:gd name="connsiteX2024" fmla="*/ 6318695 w 6697570"/>
              <a:gd name="connsiteY2024" fmla="*/ 17593 h 4073898"/>
              <a:gd name="connsiteX2025" fmla="*/ 6238932 w 6697570"/>
              <a:gd name="connsiteY2025" fmla="*/ 34460 h 4073898"/>
              <a:gd name="connsiteX2026" fmla="*/ 6250367 w 6697570"/>
              <a:gd name="connsiteY2026" fmla="*/ 87635 h 4073898"/>
              <a:gd name="connsiteX2027" fmla="*/ 6330131 w 6697570"/>
              <a:gd name="connsiteY2027" fmla="*/ 70768 h 4073898"/>
              <a:gd name="connsiteX2028" fmla="*/ 6353288 w 6697570"/>
              <a:gd name="connsiteY2028" fmla="*/ 85920 h 4073898"/>
              <a:gd name="connsiteX2029" fmla="*/ 6338136 w 6697570"/>
              <a:gd name="connsiteY2029" fmla="*/ 109363 h 4073898"/>
              <a:gd name="connsiteX2030" fmla="*/ 6258373 w 6697570"/>
              <a:gd name="connsiteY2030" fmla="*/ 126230 h 4073898"/>
              <a:gd name="connsiteX2031" fmla="*/ 6269809 w 6697570"/>
              <a:gd name="connsiteY2031" fmla="*/ 179406 h 4073898"/>
              <a:gd name="connsiteX2032" fmla="*/ 6349571 w 6697570"/>
              <a:gd name="connsiteY2032" fmla="*/ 162252 h 4073898"/>
              <a:gd name="connsiteX2033" fmla="*/ 6373015 w 6697570"/>
              <a:gd name="connsiteY2033" fmla="*/ 177404 h 4073898"/>
              <a:gd name="connsiteX2034" fmla="*/ 6357862 w 6697570"/>
              <a:gd name="connsiteY2034" fmla="*/ 200847 h 4073898"/>
              <a:gd name="connsiteX2035" fmla="*/ 6279529 w 6697570"/>
              <a:gd name="connsiteY2035" fmla="*/ 217429 h 4073898"/>
              <a:gd name="connsiteX2036" fmla="*/ 6307545 w 6697570"/>
              <a:gd name="connsiteY2036" fmla="*/ 251163 h 4073898"/>
              <a:gd name="connsiteX2037" fmla="*/ 6363579 w 6697570"/>
              <a:gd name="connsiteY2037" fmla="*/ 261456 h 4073898"/>
              <a:gd name="connsiteX2038" fmla="*/ 6408178 w 6697570"/>
              <a:gd name="connsiteY2038" fmla="*/ 252021 h 4073898"/>
              <a:gd name="connsiteX2039" fmla="*/ 6459352 w 6697570"/>
              <a:gd name="connsiteY2039" fmla="*/ 492453 h 4073898"/>
              <a:gd name="connsiteX2040" fmla="*/ 6342139 w 6697570"/>
              <a:gd name="connsiteY2040" fmla="*/ 517325 h 4073898"/>
              <a:gd name="connsiteX2041" fmla="*/ 6329273 w 6697570"/>
              <a:gd name="connsiteY2041" fmla="*/ 523615 h 4073898"/>
              <a:gd name="connsiteX2042" fmla="*/ 6318981 w 6697570"/>
              <a:gd name="connsiteY2042" fmla="*/ 553061 h 4073898"/>
              <a:gd name="connsiteX2043" fmla="*/ 6354717 w 6697570"/>
              <a:gd name="connsiteY2043" fmla="*/ 576217 h 4073898"/>
              <a:gd name="connsiteX2044" fmla="*/ 6640891 w 6697570"/>
              <a:gd name="connsiteY2044" fmla="*/ 515324 h 4073898"/>
              <a:gd name="connsiteX2045" fmla="*/ 6664049 w 6697570"/>
              <a:gd name="connsiteY2045" fmla="*/ 479588 h 4073898"/>
              <a:gd name="connsiteX2046" fmla="*/ 6628311 w 6697570"/>
              <a:gd name="connsiteY2046" fmla="*/ 456431 h 4073898"/>
              <a:gd name="connsiteX2047" fmla="*/ 6511098 w 6697570"/>
              <a:gd name="connsiteY2047" fmla="*/ 481303 h 4073898"/>
              <a:gd name="connsiteX2048" fmla="*/ 6459924 w 6697570"/>
              <a:gd name="connsiteY2048" fmla="*/ 240871 h 4073898"/>
              <a:gd name="connsiteX2049" fmla="*/ 6504809 w 6697570"/>
              <a:gd name="connsiteY2049" fmla="*/ 231437 h 4073898"/>
              <a:gd name="connsiteX2050" fmla="*/ 6536828 w 6697570"/>
              <a:gd name="connsiteY2050" fmla="*/ 215999 h 4073898"/>
              <a:gd name="connsiteX2051" fmla="*/ 6561986 w 6697570"/>
              <a:gd name="connsiteY2051" fmla="*/ 143098 h 4073898"/>
              <a:gd name="connsiteX2052" fmla="*/ 6531607 w 6697570"/>
              <a:gd name="connsiteY2052" fmla="*/ 0 h 4073898"/>
              <a:gd name="connsiteX2053" fmla="*/ 6565038 w 6697570"/>
              <a:gd name="connsiteY2053" fmla="*/ 0 h 4073898"/>
              <a:gd name="connsiteX2054" fmla="*/ 6594005 w 6697570"/>
              <a:gd name="connsiteY2054" fmla="*/ 135950 h 4073898"/>
              <a:gd name="connsiteX2055" fmla="*/ 6557413 w 6697570"/>
              <a:gd name="connsiteY2055" fmla="*/ 241443 h 4073898"/>
              <a:gd name="connsiteX2056" fmla="*/ 6511098 w 6697570"/>
              <a:gd name="connsiteY2056" fmla="*/ 264029 h 4073898"/>
              <a:gd name="connsiteX2057" fmla="*/ 6498805 w 6697570"/>
              <a:gd name="connsiteY2057" fmla="*/ 266602 h 4073898"/>
              <a:gd name="connsiteX2058" fmla="*/ 6536255 w 6697570"/>
              <a:gd name="connsiteY2058" fmla="*/ 441851 h 4073898"/>
              <a:gd name="connsiteX2059" fmla="*/ 6620879 w 6697570"/>
              <a:gd name="connsiteY2059" fmla="*/ 423840 h 4073898"/>
              <a:gd name="connsiteX2060" fmla="*/ 6696067 w 6697570"/>
              <a:gd name="connsiteY2060" fmla="*/ 472727 h 4073898"/>
              <a:gd name="connsiteX2061" fmla="*/ 6674627 w 6697570"/>
              <a:gd name="connsiteY2061" fmla="*/ 534764 h 4073898"/>
              <a:gd name="connsiteX2062" fmla="*/ 6647181 w 6697570"/>
              <a:gd name="connsiteY2062" fmla="*/ 547915 h 4073898"/>
              <a:gd name="connsiteX2063" fmla="*/ 6361293 w 6697570"/>
              <a:gd name="connsiteY2063" fmla="*/ 608809 h 4073898"/>
              <a:gd name="connsiteX2064" fmla="*/ 6285819 w 6697570"/>
              <a:gd name="connsiteY2064" fmla="*/ 559923 h 4073898"/>
              <a:gd name="connsiteX2065" fmla="*/ 6307260 w 6697570"/>
              <a:gd name="connsiteY2065" fmla="*/ 497885 h 4073898"/>
              <a:gd name="connsiteX2066" fmla="*/ 6334705 w 6697570"/>
              <a:gd name="connsiteY2066" fmla="*/ 484734 h 4073898"/>
              <a:gd name="connsiteX2067" fmla="*/ 6419327 w 6697570"/>
              <a:gd name="connsiteY2067" fmla="*/ 466723 h 4073898"/>
              <a:gd name="connsiteX2068" fmla="*/ 6382162 w 6697570"/>
              <a:gd name="connsiteY2068" fmla="*/ 291473 h 4073898"/>
              <a:gd name="connsiteX2069" fmla="*/ 6369869 w 6697570"/>
              <a:gd name="connsiteY2069" fmla="*/ 294047 h 4073898"/>
              <a:gd name="connsiteX2070" fmla="*/ 6288677 w 6697570"/>
              <a:gd name="connsiteY2070" fmla="*/ 279180 h 4073898"/>
              <a:gd name="connsiteX2071" fmla="*/ 6242077 w 6697570"/>
              <a:gd name="connsiteY2071" fmla="*/ 211139 h 4073898"/>
              <a:gd name="connsiteX2072" fmla="*/ 5787741 w 6697570"/>
              <a:gd name="connsiteY2072" fmla="*/ 0 h 4073898"/>
              <a:gd name="connsiteX2073" fmla="*/ 6077624 w 6697570"/>
              <a:gd name="connsiteY2073" fmla="*/ 0 h 4073898"/>
              <a:gd name="connsiteX2074" fmla="*/ 6077762 w 6697570"/>
              <a:gd name="connsiteY2074" fmla="*/ 5019 h 4073898"/>
              <a:gd name="connsiteX2075" fmla="*/ 6037381 w 6697570"/>
              <a:gd name="connsiteY2075" fmla="*/ 136813 h 4073898"/>
              <a:gd name="connsiteX2076" fmla="*/ 6074122 w 6697570"/>
              <a:gd name="connsiteY2076" fmla="*/ 68628 h 4073898"/>
              <a:gd name="connsiteX2077" fmla="*/ 6092059 w 6697570"/>
              <a:gd name="connsiteY2077" fmla="*/ 0 h 4073898"/>
              <a:gd name="connsiteX2078" fmla="*/ 6128224 w 6697570"/>
              <a:gd name="connsiteY2078" fmla="*/ 0 h 4073898"/>
              <a:gd name="connsiteX2079" fmla="*/ 6122292 w 6697570"/>
              <a:gd name="connsiteY2079" fmla="*/ 49570 h 4073898"/>
              <a:gd name="connsiteX2080" fmla="*/ 5906731 w 6697570"/>
              <a:gd name="connsiteY2080" fmla="*/ 314920 h 4073898"/>
              <a:gd name="connsiteX2081" fmla="*/ 5378813 w 6697570"/>
              <a:gd name="connsiteY2081" fmla="*/ 0 h 4073898"/>
              <a:gd name="connsiteX2082" fmla="*/ 5741418 w 6697570"/>
              <a:gd name="connsiteY2082" fmla="*/ 0 h 4073898"/>
              <a:gd name="connsiteX2083" fmla="*/ 5866133 w 6697570"/>
              <a:gd name="connsiteY2083" fmla="*/ 330073 h 4073898"/>
              <a:gd name="connsiteX2084" fmla="*/ 5400422 w 6697570"/>
              <a:gd name="connsiteY2084" fmla="*/ 103650 h 4073898"/>
              <a:gd name="connsiteX2085" fmla="*/ 5381113 w 6697570"/>
              <a:gd name="connsiteY2085" fmla="*/ 32408 h 4073898"/>
              <a:gd name="connsiteX2086" fmla="*/ 4725276 w 6697570"/>
              <a:gd name="connsiteY2086" fmla="*/ 0 h 4073898"/>
              <a:gd name="connsiteX2087" fmla="*/ 5016659 w 6697570"/>
              <a:gd name="connsiteY2087" fmla="*/ 0 h 4073898"/>
              <a:gd name="connsiteX2088" fmla="*/ 5016760 w 6697570"/>
              <a:gd name="connsiteY2088" fmla="*/ 14165 h 4073898"/>
              <a:gd name="connsiteX2089" fmla="*/ 4907265 w 6697570"/>
              <a:gd name="connsiteY2089" fmla="*/ 14165 h 4073898"/>
              <a:gd name="connsiteX2090" fmla="*/ 4907551 w 6697570"/>
              <a:gd name="connsiteY2090" fmla="*/ 119086 h 4073898"/>
              <a:gd name="connsiteX2091" fmla="*/ 4832363 w 6697570"/>
              <a:gd name="connsiteY2091" fmla="*/ 119372 h 4073898"/>
              <a:gd name="connsiteX2092" fmla="*/ 4832076 w 6697570"/>
              <a:gd name="connsiteY2092" fmla="*/ 14737 h 4073898"/>
              <a:gd name="connsiteX2093" fmla="*/ 4725440 w 6697570"/>
              <a:gd name="connsiteY2093" fmla="*/ 15308 h 4073898"/>
              <a:gd name="connsiteX2094" fmla="*/ 4446699 w 6697570"/>
              <a:gd name="connsiteY2094" fmla="*/ 0 h 4073898"/>
              <a:gd name="connsiteX2095" fmla="*/ 4691419 w 6697570"/>
              <a:gd name="connsiteY2095" fmla="*/ 0 h 4073898"/>
              <a:gd name="connsiteX2096" fmla="*/ 4691419 w 6697570"/>
              <a:gd name="connsiteY2096" fmla="*/ 36179 h 4073898"/>
              <a:gd name="connsiteX2097" fmla="*/ 4807204 w 6697570"/>
              <a:gd name="connsiteY2097" fmla="*/ 36179 h 4073898"/>
              <a:gd name="connsiteX2098" fmla="*/ 4807204 w 6697570"/>
              <a:gd name="connsiteY2098" fmla="*/ 151963 h 4073898"/>
              <a:gd name="connsiteX2099" fmla="*/ 4934424 w 6697570"/>
              <a:gd name="connsiteY2099" fmla="*/ 151963 h 4073898"/>
              <a:gd name="connsiteX2100" fmla="*/ 4934424 w 6697570"/>
              <a:gd name="connsiteY2100" fmla="*/ 36179 h 4073898"/>
              <a:gd name="connsiteX2101" fmla="*/ 5050209 w 6697570"/>
              <a:gd name="connsiteY2101" fmla="*/ 36179 h 4073898"/>
              <a:gd name="connsiteX2102" fmla="*/ 5050209 w 6697570"/>
              <a:gd name="connsiteY2102" fmla="*/ 0 h 4073898"/>
              <a:gd name="connsiteX2103" fmla="*/ 5294644 w 6697570"/>
              <a:gd name="connsiteY2103" fmla="*/ 0 h 4073898"/>
              <a:gd name="connsiteX2104" fmla="*/ 5294644 w 6697570"/>
              <a:gd name="connsiteY2104" fmla="*/ 200278 h 4073898"/>
              <a:gd name="connsiteX2105" fmla="*/ 5165994 w 6697570"/>
              <a:gd name="connsiteY2105" fmla="*/ 328927 h 4073898"/>
              <a:gd name="connsiteX2106" fmla="*/ 4575634 w 6697570"/>
              <a:gd name="connsiteY2106" fmla="*/ 328927 h 4073898"/>
              <a:gd name="connsiteX2107" fmla="*/ 4446699 w 6697570"/>
              <a:gd name="connsiteY2107" fmla="*/ 200278 h 4073898"/>
              <a:gd name="connsiteX2108" fmla="*/ 2776541 w 6697570"/>
              <a:gd name="connsiteY2108" fmla="*/ 0 h 4073898"/>
              <a:gd name="connsiteX2109" fmla="*/ 2817819 w 6697570"/>
              <a:gd name="connsiteY2109" fmla="*/ 0 h 4073898"/>
              <a:gd name="connsiteX2110" fmla="*/ 2817994 w 6697570"/>
              <a:gd name="connsiteY2110" fmla="*/ 35320 h 4073898"/>
              <a:gd name="connsiteX2111" fmla="*/ 2776541 w 6697570"/>
              <a:gd name="connsiteY2111" fmla="*/ 35320 h 4073898"/>
              <a:gd name="connsiteX2112" fmla="*/ 2530966 w 6697570"/>
              <a:gd name="connsiteY2112" fmla="*/ 0 h 4073898"/>
              <a:gd name="connsiteX2113" fmla="*/ 2762818 w 6697570"/>
              <a:gd name="connsiteY2113" fmla="*/ 0 h 4073898"/>
              <a:gd name="connsiteX2114" fmla="*/ 2762818 w 6697570"/>
              <a:gd name="connsiteY2114" fmla="*/ 54472 h 4073898"/>
              <a:gd name="connsiteX2115" fmla="*/ 2832861 w 6697570"/>
              <a:gd name="connsiteY2115" fmla="*/ 54472 h 4073898"/>
              <a:gd name="connsiteX2116" fmla="*/ 2832861 w 6697570"/>
              <a:gd name="connsiteY2116" fmla="*/ 0 h 4073898"/>
              <a:gd name="connsiteX2117" fmla="*/ 3065007 w 6697570"/>
              <a:gd name="connsiteY2117" fmla="*/ 0 h 4073898"/>
              <a:gd name="connsiteX2118" fmla="*/ 3065099 w 6697570"/>
              <a:gd name="connsiteY2118" fmla="*/ 46092 h 4073898"/>
              <a:gd name="connsiteX2119" fmla="*/ 3065288 w 6697570"/>
              <a:gd name="connsiteY2119" fmla="*/ 129947 h 4073898"/>
              <a:gd name="connsiteX2120" fmla="*/ 2986383 w 6697570"/>
              <a:gd name="connsiteY2120" fmla="*/ 208852 h 4073898"/>
              <a:gd name="connsiteX2121" fmla="*/ 2609868 w 6697570"/>
              <a:gd name="connsiteY2121" fmla="*/ 208852 h 4073898"/>
              <a:gd name="connsiteX2122" fmla="*/ 2530963 w 6697570"/>
              <a:gd name="connsiteY2122" fmla="*/ 129947 h 4073898"/>
              <a:gd name="connsiteX2123" fmla="*/ 2530963 w 6697570"/>
              <a:gd name="connsiteY2123" fmla="*/ 46519 h 4073898"/>
              <a:gd name="connsiteX2124" fmla="*/ 1520919 w 6697570"/>
              <a:gd name="connsiteY2124" fmla="*/ 0 h 4073898"/>
              <a:gd name="connsiteX2125" fmla="*/ 1539216 w 6697570"/>
              <a:gd name="connsiteY2125" fmla="*/ 0 h 4073898"/>
              <a:gd name="connsiteX2126" fmla="*/ 1539216 w 6697570"/>
              <a:gd name="connsiteY2126" fmla="*/ 45326 h 4073898"/>
              <a:gd name="connsiteX2127" fmla="*/ 1642994 w 6697570"/>
              <a:gd name="connsiteY2127" fmla="*/ 149104 h 4073898"/>
              <a:gd name="connsiteX2128" fmla="*/ 1728760 w 6697570"/>
              <a:gd name="connsiteY2128" fmla="*/ 149104 h 4073898"/>
              <a:gd name="connsiteX2129" fmla="*/ 1728760 w 6697570"/>
              <a:gd name="connsiteY2129" fmla="*/ 101074 h 4073898"/>
              <a:gd name="connsiteX2130" fmla="*/ 1695669 w 6697570"/>
              <a:gd name="connsiteY2130" fmla="*/ 21240 h 4073898"/>
              <a:gd name="connsiteX2131" fmla="*/ 1664177 w 6697570"/>
              <a:gd name="connsiteY2131" fmla="*/ 0 h 4073898"/>
              <a:gd name="connsiteX2132" fmla="*/ 2173527 w 6697570"/>
              <a:gd name="connsiteY2132" fmla="*/ 0 h 4073898"/>
              <a:gd name="connsiteX2133" fmla="*/ 2154466 w 6697570"/>
              <a:gd name="connsiteY2133" fmla="*/ 28262 h 4073898"/>
              <a:gd name="connsiteX2134" fmla="*/ 2145585 w 6697570"/>
              <a:gd name="connsiteY2134" fmla="*/ 72199 h 4073898"/>
              <a:gd name="connsiteX2135" fmla="*/ 2145585 w 6697570"/>
              <a:gd name="connsiteY2135" fmla="*/ 149104 h 4073898"/>
              <a:gd name="connsiteX2136" fmla="*/ 2202762 w 6697570"/>
              <a:gd name="connsiteY2136" fmla="*/ 149104 h 4073898"/>
              <a:gd name="connsiteX2137" fmla="*/ 2306540 w 6697570"/>
              <a:gd name="connsiteY2137" fmla="*/ 45326 h 4073898"/>
              <a:gd name="connsiteX2138" fmla="*/ 2306540 w 6697570"/>
              <a:gd name="connsiteY2138" fmla="*/ 0 h 4073898"/>
              <a:gd name="connsiteX2139" fmla="*/ 2324837 w 6697570"/>
              <a:gd name="connsiteY2139" fmla="*/ 0 h 4073898"/>
              <a:gd name="connsiteX2140" fmla="*/ 2324837 w 6697570"/>
              <a:gd name="connsiteY2140" fmla="*/ 45040 h 4073898"/>
              <a:gd name="connsiteX2141" fmla="*/ 2202762 w 6697570"/>
              <a:gd name="connsiteY2141" fmla="*/ 167115 h 4073898"/>
              <a:gd name="connsiteX2142" fmla="*/ 1642994 w 6697570"/>
              <a:gd name="connsiteY2142" fmla="*/ 167115 h 4073898"/>
              <a:gd name="connsiteX2143" fmla="*/ 1520919 w 6697570"/>
              <a:gd name="connsiteY2143" fmla="*/ 45040 h 4073898"/>
              <a:gd name="connsiteX2144" fmla="*/ 861944 w 6697570"/>
              <a:gd name="connsiteY2144" fmla="*/ 0 h 4073898"/>
              <a:gd name="connsiteX2145" fmla="*/ 890388 w 6697570"/>
              <a:gd name="connsiteY2145" fmla="*/ 0 h 4073898"/>
              <a:gd name="connsiteX2146" fmla="*/ 911942 w 6697570"/>
              <a:gd name="connsiteY2146" fmla="*/ 47933 h 4073898"/>
              <a:gd name="connsiteX2147" fmla="*/ 1056923 w 6697570"/>
              <a:gd name="connsiteY2147" fmla="*/ 107076 h 4073898"/>
              <a:gd name="connsiteX2148" fmla="*/ 1253614 w 6697570"/>
              <a:gd name="connsiteY2148" fmla="*/ 32745 h 4073898"/>
              <a:gd name="connsiteX2149" fmla="*/ 1263392 w 6697570"/>
              <a:gd name="connsiteY2149" fmla="*/ 0 h 4073898"/>
              <a:gd name="connsiteX2150" fmla="*/ 1291319 w 6697570"/>
              <a:gd name="connsiteY2150" fmla="*/ 0 h 4073898"/>
              <a:gd name="connsiteX2151" fmla="*/ 1277057 w 6697570"/>
              <a:gd name="connsiteY2151" fmla="*/ 45610 h 4073898"/>
              <a:gd name="connsiteX2152" fmla="*/ 1057495 w 6697570"/>
              <a:gd name="connsiteY2152" fmla="*/ 133663 h 4073898"/>
              <a:gd name="connsiteX2153" fmla="*/ 893717 w 6697570"/>
              <a:gd name="connsiteY2153" fmla="*/ 67409 h 4073898"/>
              <a:gd name="connsiteX2154" fmla="*/ 793141 w 6697570"/>
              <a:gd name="connsiteY2154" fmla="*/ 0 h 4073898"/>
              <a:gd name="connsiteX2155" fmla="*/ 821672 w 6697570"/>
              <a:gd name="connsiteY2155" fmla="*/ 0 h 4073898"/>
              <a:gd name="connsiteX2156" fmla="*/ 857337 w 6697570"/>
              <a:gd name="connsiteY2156" fmla="*/ 81238 h 4073898"/>
              <a:gd name="connsiteX2157" fmla="*/ 1057209 w 6697570"/>
              <a:gd name="connsiteY2157" fmla="*/ 171972 h 4073898"/>
              <a:gd name="connsiteX2158" fmla="*/ 1309648 w 6697570"/>
              <a:gd name="connsiteY2158" fmla="*/ 64479 h 4073898"/>
              <a:gd name="connsiteX2159" fmla="*/ 1325672 w 6697570"/>
              <a:gd name="connsiteY2159" fmla="*/ 20778 h 4073898"/>
              <a:gd name="connsiteX2160" fmla="*/ 1326802 w 6697570"/>
              <a:gd name="connsiteY2160" fmla="*/ 0 h 4073898"/>
              <a:gd name="connsiteX2161" fmla="*/ 1352910 w 6697570"/>
              <a:gd name="connsiteY2161" fmla="*/ 0 h 4073898"/>
              <a:gd name="connsiteX2162" fmla="*/ 1350982 w 6697570"/>
              <a:gd name="connsiteY2162" fmla="*/ 28604 h 4073898"/>
              <a:gd name="connsiteX2163" fmla="*/ 1332519 w 6697570"/>
              <a:gd name="connsiteY2163" fmla="*/ 77629 h 4073898"/>
              <a:gd name="connsiteX2164" fmla="*/ 1056923 w 6697570"/>
              <a:gd name="connsiteY2164" fmla="*/ 198846 h 4073898"/>
              <a:gd name="connsiteX2165" fmla="*/ 835682 w 6697570"/>
              <a:gd name="connsiteY2165" fmla="*/ 95747 h 4073898"/>
              <a:gd name="connsiteX2166" fmla="*/ 160901 w 6697570"/>
              <a:gd name="connsiteY2166" fmla="*/ 0 h 4073898"/>
              <a:gd name="connsiteX2167" fmla="*/ 240126 w 6697570"/>
              <a:gd name="connsiteY2167" fmla="*/ 0 h 4073898"/>
              <a:gd name="connsiteX2168" fmla="*/ 244145 w 6697570"/>
              <a:gd name="connsiteY2168" fmla="*/ 1302 h 4073898"/>
              <a:gd name="connsiteX2169" fmla="*/ 174103 w 6697570"/>
              <a:gd name="connsiteY2169" fmla="*/ 218863 h 4073898"/>
              <a:gd name="connsiteX2170" fmla="*/ 68037 w 6697570"/>
              <a:gd name="connsiteY2170" fmla="*/ 184556 h 4073898"/>
              <a:gd name="connsiteX2171" fmla="*/ 54601 w 6697570"/>
              <a:gd name="connsiteY2171" fmla="*/ 183699 h 4073898"/>
              <a:gd name="connsiteX2172" fmla="*/ 32588 w 6697570"/>
              <a:gd name="connsiteY2172" fmla="*/ 202853 h 4073898"/>
              <a:gd name="connsiteX2173" fmla="*/ 50598 w 6697570"/>
              <a:gd name="connsiteY2173" fmla="*/ 238018 h 4073898"/>
              <a:gd name="connsiteX2174" fmla="*/ 309326 w 6697570"/>
              <a:gd name="connsiteY2174" fmla="*/ 321497 h 4073898"/>
              <a:gd name="connsiteX2175" fmla="*/ 344491 w 6697570"/>
              <a:gd name="connsiteY2175" fmla="*/ 303486 h 4073898"/>
              <a:gd name="connsiteX2176" fmla="*/ 326480 w 6697570"/>
              <a:gd name="connsiteY2176" fmla="*/ 268322 h 4073898"/>
              <a:gd name="connsiteX2177" fmla="*/ 220416 w 6697570"/>
              <a:gd name="connsiteY2177" fmla="*/ 234301 h 4073898"/>
              <a:gd name="connsiteX2178" fmla="*/ 290459 w 6697570"/>
              <a:gd name="connsiteY2178" fmla="*/ 16740 h 4073898"/>
              <a:gd name="connsiteX2179" fmla="*/ 331054 w 6697570"/>
              <a:gd name="connsiteY2179" fmla="*/ 29891 h 4073898"/>
              <a:gd name="connsiteX2180" fmla="*/ 364217 w 6697570"/>
              <a:gd name="connsiteY2180" fmla="*/ 32178 h 4073898"/>
              <a:gd name="connsiteX2181" fmla="*/ 398024 w 6697570"/>
              <a:gd name="connsiteY2181" fmla="*/ 16347 h 4073898"/>
              <a:gd name="connsiteX2182" fmla="*/ 408821 w 6697570"/>
              <a:gd name="connsiteY2182" fmla="*/ 0 h 4073898"/>
              <a:gd name="connsiteX2183" fmla="*/ 444418 w 6697570"/>
              <a:gd name="connsiteY2183" fmla="*/ 0 h 4073898"/>
              <a:gd name="connsiteX2184" fmla="*/ 418072 w 6697570"/>
              <a:gd name="connsiteY2184" fmla="*/ 40076 h 4073898"/>
              <a:gd name="connsiteX2185" fmla="*/ 369363 w 6697570"/>
              <a:gd name="connsiteY2185" fmla="*/ 63054 h 4073898"/>
              <a:gd name="connsiteX2186" fmla="*/ 321620 w 6697570"/>
              <a:gd name="connsiteY2186" fmla="*/ 59623 h 4073898"/>
              <a:gd name="connsiteX2187" fmla="*/ 310470 w 6697570"/>
              <a:gd name="connsiteY2187" fmla="*/ 55906 h 4073898"/>
              <a:gd name="connsiteX2188" fmla="*/ 259297 w 6697570"/>
              <a:gd name="connsiteY2188" fmla="*/ 214575 h 4073898"/>
              <a:gd name="connsiteX2189" fmla="*/ 335914 w 6697570"/>
              <a:gd name="connsiteY2189" fmla="*/ 239161 h 4073898"/>
              <a:gd name="connsiteX2190" fmla="*/ 373937 w 6697570"/>
              <a:gd name="connsiteY2190" fmla="*/ 313491 h 4073898"/>
              <a:gd name="connsiteX2191" fmla="*/ 327910 w 6697570"/>
              <a:gd name="connsiteY2191" fmla="*/ 353516 h 4073898"/>
              <a:gd name="connsiteX2192" fmla="*/ 299606 w 6697570"/>
              <a:gd name="connsiteY2192" fmla="*/ 351515 h 4073898"/>
              <a:gd name="connsiteX2193" fmla="*/ 40878 w 6697570"/>
              <a:gd name="connsiteY2193" fmla="*/ 268036 h 4073898"/>
              <a:gd name="connsiteX2194" fmla="*/ 2855 w 6697570"/>
              <a:gd name="connsiteY2194" fmla="*/ 193705 h 4073898"/>
              <a:gd name="connsiteX2195" fmla="*/ 49168 w 6697570"/>
              <a:gd name="connsiteY2195" fmla="*/ 153681 h 4073898"/>
              <a:gd name="connsiteX2196" fmla="*/ 77472 w 6697570"/>
              <a:gd name="connsiteY2196" fmla="*/ 155682 h 4073898"/>
              <a:gd name="connsiteX2197" fmla="*/ 154090 w 6697570"/>
              <a:gd name="connsiteY2197" fmla="*/ 180554 h 4073898"/>
              <a:gd name="connsiteX2198" fmla="*/ 205263 w 6697570"/>
              <a:gd name="connsiteY2198" fmla="*/ 21886 h 4073898"/>
              <a:gd name="connsiteX2199" fmla="*/ 194114 w 6697570"/>
              <a:gd name="connsiteY2199" fmla="*/ 18456 h 4073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Lst>
            <a:rect l="l" t="t" r="r" b="b"/>
            <a:pathLst>
              <a:path w="6697570" h="4073898">
                <a:moveTo>
                  <a:pt x="2762246" y="3624639"/>
                </a:moveTo>
                <a:lnTo>
                  <a:pt x="2761960" y="3756148"/>
                </a:lnTo>
                <a:cubicBezTo>
                  <a:pt x="2761675" y="3845917"/>
                  <a:pt x="2689059" y="3918533"/>
                  <a:pt x="2599576" y="3918246"/>
                </a:cubicBezTo>
                <a:cubicBezTo>
                  <a:pt x="2561552" y="3918246"/>
                  <a:pt x="2526389" y="3904810"/>
                  <a:pt x="2498943" y="3882511"/>
                </a:cubicBezTo>
                <a:cubicBezTo>
                  <a:pt x="2528390" y="3919676"/>
                  <a:pt x="2573560" y="3943405"/>
                  <a:pt x="2624734" y="3943691"/>
                </a:cubicBezTo>
                <a:cubicBezTo>
                  <a:pt x="2713931" y="3943976"/>
                  <a:pt x="2786547" y="3871361"/>
                  <a:pt x="2786832" y="3781592"/>
                </a:cubicBezTo>
                <a:lnTo>
                  <a:pt x="2787691" y="3624639"/>
                </a:lnTo>
                <a:close/>
                <a:moveTo>
                  <a:pt x="4280026" y="3582328"/>
                </a:moveTo>
                <a:lnTo>
                  <a:pt x="4492156" y="3582328"/>
                </a:lnTo>
                <a:cubicBezTo>
                  <a:pt x="4437837" y="3663807"/>
                  <a:pt x="4354929" y="3752146"/>
                  <a:pt x="4236571" y="3844773"/>
                </a:cubicBezTo>
                <a:close/>
                <a:moveTo>
                  <a:pt x="1861985" y="3554883"/>
                </a:moveTo>
                <a:cubicBezTo>
                  <a:pt x="1861985" y="3569749"/>
                  <a:pt x="1861985" y="3584330"/>
                  <a:pt x="1861985" y="3597195"/>
                </a:cubicBezTo>
                <a:cubicBezTo>
                  <a:pt x="1861985" y="3630358"/>
                  <a:pt x="1888858" y="3657231"/>
                  <a:pt x="1922022" y="3657231"/>
                </a:cubicBezTo>
                <a:lnTo>
                  <a:pt x="2298250" y="3657231"/>
                </a:lnTo>
                <a:cubicBezTo>
                  <a:pt x="2331413" y="3657231"/>
                  <a:pt x="2358286" y="3630358"/>
                  <a:pt x="2358573" y="3597195"/>
                </a:cubicBezTo>
                <a:cubicBezTo>
                  <a:pt x="2358573" y="3584330"/>
                  <a:pt x="2358573" y="3570035"/>
                  <a:pt x="2358573" y="3554883"/>
                </a:cubicBezTo>
                <a:close/>
                <a:moveTo>
                  <a:pt x="3209809" y="3549250"/>
                </a:moveTo>
                <a:cubicBezTo>
                  <a:pt x="3180394" y="3546913"/>
                  <a:pt x="3150125" y="3550094"/>
                  <a:pt x="3120464" y="3559457"/>
                </a:cubicBezTo>
                <a:lnTo>
                  <a:pt x="3126468" y="3574895"/>
                </a:lnTo>
                <a:cubicBezTo>
                  <a:pt x="3239680" y="3549451"/>
                  <a:pt x="3357179" y="3610345"/>
                  <a:pt x="3399491" y="3721842"/>
                </a:cubicBezTo>
                <a:cubicBezTo>
                  <a:pt x="3425221" y="3789597"/>
                  <a:pt x="3417502" y="3861926"/>
                  <a:pt x="3384911" y="3920533"/>
                </a:cubicBezTo>
                <a:cubicBezTo>
                  <a:pt x="3428366" y="3858782"/>
                  <a:pt x="3441231" y="3777590"/>
                  <a:pt x="3412070" y="3701258"/>
                </a:cubicBezTo>
                <a:cubicBezTo>
                  <a:pt x="3378621" y="3612919"/>
                  <a:pt x="3298055" y="3556259"/>
                  <a:pt x="3209809" y="3549250"/>
                </a:cubicBezTo>
                <a:close/>
                <a:moveTo>
                  <a:pt x="3066717" y="3548879"/>
                </a:moveTo>
                <a:lnTo>
                  <a:pt x="3260263" y="4061190"/>
                </a:lnTo>
                <a:cubicBezTo>
                  <a:pt x="3122465" y="4104645"/>
                  <a:pt x="2973231" y="4033459"/>
                  <a:pt x="2921486" y="3896519"/>
                </a:cubicBezTo>
                <a:cubicBezTo>
                  <a:pt x="2869740" y="3759865"/>
                  <a:pt x="2934636" y="3607486"/>
                  <a:pt x="3066717" y="3548879"/>
                </a:cubicBezTo>
                <a:close/>
                <a:moveTo>
                  <a:pt x="3199955" y="3525910"/>
                </a:moveTo>
                <a:cubicBezTo>
                  <a:pt x="3302486" y="3534084"/>
                  <a:pt x="3396132" y="3599910"/>
                  <a:pt x="3434942" y="3702401"/>
                </a:cubicBezTo>
                <a:cubicBezTo>
                  <a:pt x="3486687" y="3839342"/>
                  <a:pt x="3421790" y="3991434"/>
                  <a:pt x="3289996" y="4050327"/>
                </a:cubicBezTo>
                <a:lnTo>
                  <a:pt x="3096164" y="3537730"/>
                </a:lnTo>
                <a:cubicBezTo>
                  <a:pt x="3130614" y="3526866"/>
                  <a:pt x="3165778" y="3523186"/>
                  <a:pt x="3199955" y="3525910"/>
                </a:cubicBezTo>
                <a:close/>
                <a:moveTo>
                  <a:pt x="3879497" y="3404220"/>
                </a:moveTo>
                <a:lnTo>
                  <a:pt x="3938104" y="3806750"/>
                </a:lnTo>
                <a:cubicBezTo>
                  <a:pt x="3938962" y="3813039"/>
                  <a:pt x="3944680" y="3817328"/>
                  <a:pt x="3952112" y="3817328"/>
                </a:cubicBezTo>
                <a:cubicBezTo>
                  <a:pt x="3959546" y="3817328"/>
                  <a:pt x="3965549" y="3813039"/>
                  <a:pt x="3966693" y="3807036"/>
                </a:cubicBezTo>
                <a:lnTo>
                  <a:pt x="4002429" y="3638076"/>
                </a:lnTo>
                <a:lnTo>
                  <a:pt x="4005002" y="3662948"/>
                </a:lnTo>
                <a:cubicBezTo>
                  <a:pt x="4006145" y="3670667"/>
                  <a:pt x="4012435" y="3676099"/>
                  <a:pt x="4020154" y="3676099"/>
                </a:cubicBezTo>
                <a:cubicBezTo>
                  <a:pt x="4026444" y="3676099"/>
                  <a:pt x="4031589" y="3672382"/>
                  <a:pt x="4033877" y="3666665"/>
                </a:cubicBezTo>
                <a:lnTo>
                  <a:pt x="4119929" y="3428806"/>
                </a:lnTo>
                <a:lnTo>
                  <a:pt x="4187399" y="3882225"/>
                </a:lnTo>
                <a:cubicBezTo>
                  <a:pt x="4155093" y="3905667"/>
                  <a:pt x="4120786" y="3929396"/>
                  <a:pt x="4083906" y="3953410"/>
                </a:cubicBezTo>
                <a:cubicBezTo>
                  <a:pt x="3880069" y="3821331"/>
                  <a:pt x="3750561" y="3695254"/>
                  <a:pt x="3675373" y="3582328"/>
                </a:cubicBezTo>
                <a:lnTo>
                  <a:pt x="3809168" y="3582328"/>
                </a:lnTo>
                <a:cubicBezTo>
                  <a:pt x="3816030" y="3582328"/>
                  <a:pt x="3821462" y="3578325"/>
                  <a:pt x="3823463" y="3572322"/>
                </a:cubicBezTo>
                <a:close/>
                <a:moveTo>
                  <a:pt x="2131291" y="3336465"/>
                </a:moveTo>
                <a:lnTo>
                  <a:pt x="2131291" y="3399361"/>
                </a:lnTo>
                <a:lnTo>
                  <a:pt x="2196759" y="3399361"/>
                </a:lnTo>
                <a:lnTo>
                  <a:pt x="2197045" y="3447103"/>
                </a:lnTo>
                <a:lnTo>
                  <a:pt x="2131577" y="3447103"/>
                </a:lnTo>
                <a:lnTo>
                  <a:pt x="2131862" y="3509427"/>
                </a:lnTo>
                <a:lnTo>
                  <a:pt x="2086978" y="3509713"/>
                </a:lnTo>
                <a:lnTo>
                  <a:pt x="2086978" y="3447389"/>
                </a:lnTo>
                <a:lnTo>
                  <a:pt x="2023225" y="3447675"/>
                </a:lnTo>
                <a:lnTo>
                  <a:pt x="2022939" y="3399932"/>
                </a:lnTo>
                <a:lnTo>
                  <a:pt x="2086406" y="3399646"/>
                </a:lnTo>
                <a:lnTo>
                  <a:pt x="2086406" y="3336751"/>
                </a:lnTo>
                <a:close/>
                <a:moveTo>
                  <a:pt x="2075257" y="3324744"/>
                </a:moveTo>
                <a:lnTo>
                  <a:pt x="2075257" y="3388496"/>
                </a:lnTo>
                <a:lnTo>
                  <a:pt x="2011504" y="3388496"/>
                </a:lnTo>
                <a:lnTo>
                  <a:pt x="2011504" y="3458539"/>
                </a:lnTo>
                <a:lnTo>
                  <a:pt x="2075257" y="3458539"/>
                </a:lnTo>
                <a:lnTo>
                  <a:pt x="2075257" y="3522006"/>
                </a:lnTo>
                <a:lnTo>
                  <a:pt x="2145300" y="3522006"/>
                </a:lnTo>
                <a:lnTo>
                  <a:pt x="2145300" y="3458539"/>
                </a:lnTo>
                <a:lnTo>
                  <a:pt x="2209053" y="3458539"/>
                </a:lnTo>
                <a:lnTo>
                  <a:pt x="2209053" y="3388496"/>
                </a:lnTo>
                <a:lnTo>
                  <a:pt x="2145300" y="3388496"/>
                </a:lnTo>
                <a:lnTo>
                  <a:pt x="2145300" y="3324744"/>
                </a:lnTo>
                <a:close/>
                <a:moveTo>
                  <a:pt x="2621018" y="3236976"/>
                </a:moveTo>
                <a:lnTo>
                  <a:pt x="2621018" y="3247553"/>
                </a:lnTo>
                <a:cubicBezTo>
                  <a:pt x="2524959" y="3247553"/>
                  <a:pt x="2446626" y="3325886"/>
                  <a:pt x="2446340" y="3421945"/>
                </a:cubicBezTo>
                <a:lnTo>
                  <a:pt x="2445768" y="3589761"/>
                </a:lnTo>
                <a:lnTo>
                  <a:pt x="2620446" y="3590333"/>
                </a:lnTo>
                <a:lnTo>
                  <a:pt x="2795124" y="3590905"/>
                </a:lnTo>
                <a:lnTo>
                  <a:pt x="2795695" y="3422802"/>
                </a:lnTo>
                <a:cubicBezTo>
                  <a:pt x="2795695" y="3376203"/>
                  <a:pt x="2777684" y="3332176"/>
                  <a:pt x="2744807" y="3299013"/>
                </a:cubicBezTo>
                <a:cubicBezTo>
                  <a:pt x="2711930" y="3266136"/>
                  <a:pt x="2668189" y="3247553"/>
                  <a:pt x="2621303" y="3247553"/>
                </a:cubicBezTo>
                <a:close/>
                <a:moveTo>
                  <a:pt x="2621303" y="3226683"/>
                </a:moveTo>
                <a:lnTo>
                  <a:pt x="2621875" y="3226683"/>
                </a:lnTo>
                <a:cubicBezTo>
                  <a:pt x="2674193" y="3226683"/>
                  <a:pt x="2723365" y="3247267"/>
                  <a:pt x="2760245" y="3284433"/>
                </a:cubicBezTo>
                <a:cubicBezTo>
                  <a:pt x="2797124" y="3321599"/>
                  <a:pt x="2817137" y="3370771"/>
                  <a:pt x="2817137" y="3423088"/>
                </a:cubicBezTo>
                <a:lnTo>
                  <a:pt x="2816565" y="3591191"/>
                </a:lnTo>
                <a:lnTo>
                  <a:pt x="2816565" y="3611774"/>
                </a:lnTo>
                <a:lnTo>
                  <a:pt x="2816565" y="3612346"/>
                </a:lnTo>
                <a:lnTo>
                  <a:pt x="2815993" y="3780449"/>
                </a:lnTo>
                <a:cubicBezTo>
                  <a:pt x="2815707" y="3888228"/>
                  <a:pt x="2727940" y="3975710"/>
                  <a:pt x="2620160" y="3975710"/>
                </a:cubicBezTo>
                <a:cubicBezTo>
                  <a:pt x="2511523" y="3975424"/>
                  <a:pt x="2424041" y="3887371"/>
                  <a:pt x="2424327" y="3779305"/>
                </a:cubicBezTo>
                <a:lnTo>
                  <a:pt x="2424898" y="3611203"/>
                </a:lnTo>
                <a:lnTo>
                  <a:pt x="2425470" y="3421945"/>
                </a:lnTo>
                <a:cubicBezTo>
                  <a:pt x="2425755" y="3314165"/>
                  <a:pt x="2513524" y="3226683"/>
                  <a:pt x="2621303" y="3226683"/>
                </a:cubicBezTo>
                <a:close/>
                <a:moveTo>
                  <a:pt x="3811380" y="3096930"/>
                </a:moveTo>
                <a:cubicBezTo>
                  <a:pt x="3913017" y="3093410"/>
                  <a:pt x="4023871" y="3154854"/>
                  <a:pt x="4083906" y="3303015"/>
                </a:cubicBezTo>
                <a:cubicBezTo>
                  <a:pt x="4143836" y="3154854"/>
                  <a:pt x="4254663" y="3093410"/>
                  <a:pt x="4356292" y="3096930"/>
                </a:cubicBezTo>
                <a:cubicBezTo>
                  <a:pt x="4525676" y="3102795"/>
                  <a:pt x="4669513" y="3289114"/>
                  <a:pt x="4509594" y="3555169"/>
                </a:cubicBezTo>
                <a:lnTo>
                  <a:pt x="4267447" y="3555169"/>
                </a:lnTo>
                <a:cubicBezTo>
                  <a:pt x="4261444" y="3555169"/>
                  <a:pt x="4254297" y="3559171"/>
                  <a:pt x="4253152" y="3565746"/>
                </a:cubicBezTo>
                <a:lnTo>
                  <a:pt x="4209126" y="3831623"/>
                </a:lnTo>
                <a:lnTo>
                  <a:pt x="4139654" y="3366769"/>
                </a:lnTo>
                <a:cubicBezTo>
                  <a:pt x="4138797" y="3360193"/>
                  <a:pt x="4133651" y="3356191"/>
                  <a:pt x="4126504" y="3356191"/>
                </a:cubicBezTo>
                <a:cubicBezTo>
                  <a:pt x="4119643" y="3356191"/>
                  <a:pt x="4113353" y="3360193"/>
                  <a:pt x="4111352" y="3365911"/>
                </a:cubicBezTo>
                <a:lnTo>
                  <a:pt x="4027015" y="3598624"/>
                </a:lnTo>
                <a:lnTo>
                  <a:pt x="4021297" y="3544877"/>
                </a:lnTo>
                <a:cubicBezTo>
                  <a:pt x="4020439" y="3536586"/>
                  <a:pt x="4012435" y="3531726"/>
                  <a:pt x="4005287" y="3531726"/>
                </a:cubicBezTo>
                <a:cubicBezTo>
                  <a:pt x="3998712" y="3531726"/>
                  <a:pt x="3993566" y="3535728"/>
                  <a:pt x="3992423" y="3542017"/>
                </a:cubicBezTo>
                <a:lnTo>
                  <a:pt x="3954685" y="3720698"/>
                </a:lnTo>
                <a:lnTo>
                  <a:pt x="3899223" y="3338466"/>
                </a:lnTo>
                <a:cubicBezTo>
                  <a:pt x="3898366" y="3331891"/>
                  <a:pt x="3893220" y="3327888"/>
                  <a:pt x="3886072" y="3327888"/>
                </a:cubicBezTo>
                <a:cubicBezTo>
                  <a:pt x="3878925" y="3327888"/>
                  <a:pt x="3872921" y="3331891"/>
                  <a:pt x="3870920" y="3337608"/>
                </a:cubicBezTo>
                <a:lnTo>
                  <a:pt x="3798591" y="3555169"/>
                </a:lnTo>
                <a:lnTo>
                  <a:pt x="3657934" y="3555169"/>
                </a:lnTo>
                <a:cubicBezTo>
                  <a:pt x="3498194" y="3289114"/>
                  <a:pt x="3641986" y="3102795"/>
                  <a:pt x="3811380" y="3096930"/>
                </a:cubicBezTo>
                <a:close/>
                <a:moveTo>
                  <a:pt x="4969875" y="3096319"/>
                </a:moveTo>
                <a:lnTo>
                  <a:pt x="5019047" y="3154068"/>
                </a:lnTo>
                <a:lnTo>
                  <a:pt x="5076797" y="3105467"/>
                </a:lnTo>
                <a:lnTo>
                  <a:pt x="5111389" y="3146063"/>
                </a:lnTo>
                <a:lnTo>
                  <a:pt x="5053926" y="3194950"/>
                </a:lnTo>
                <a:lnTo>
                  <a:pt x="5104242" y="3254415"/>
                </a:lnTo>
                <a:lnTo>
                  <a:pt x="5060786" y="3291580"/>
                </a:lnTo>
                <a:lnTo>
                  <a:pt x="5010471" y="3232116"/>
                </a:lnTo>
                <a:lnTo>
                  <a:pt x="4953293" y="3280431"/>
                </a:lnTo>
                <a:lnTo>
                  <a:pt x="4918415" y="3239835"/>
                </a:lnTo>
                <a:lnTo>
                  <a:pt x="4975592" y="3191520"/>
                </a:lnTo>
                <a:lnTo>
                  <a:pt x="4926420" y="3133484"/>
                </a:lnTo>
                <a:close/>
                <a:moveTo>
                  <a:pt x="1415820" y="3073983"/>
                </a:moveTo>
                <a:cubicBezTo>
                  <a:pt x="1371328" y="3074591"/>
                  <a:pt x="1327087" y="3092173"/>
                  <a:pt x="1293638" y="3126622"/>
                </a:cubicBezTo>
                <a:lnTo>
                  <a:pt x="1211016" y="3211245"/>
                </a:lnTo>
                <a:lnTo>
                  <a:pt x="1274197" y="3272711"/>
                </a:lnTo>
                <a:cubicBezTo>
                  <a:pt x="1337379" y="3334178"/>
                  <a:pt x="1438583" y="3332748"/>
                  <a:pt x="1500337" y="3269566"/>
                </a:cubicBezTo>
                <a:lnTo>
                  <a:pt x="1592392" y="3174937"/>
                </a:lnTo>
                <a:lnTo>
                  <a:pt x="1539502" y="3123192"/>
                </a:lnTo>
                <a:cubicBezTo>
                  <a:pt x="1505053" y="3089743"/>
                  <a:pt x="1460311" y="3073376"/>
                  <a:pt x="1415820" y="3073983"/>
                </a:cubicBezTo>
                <a:close/>
                <a:moveTo>
                  <a:pt x="4971303" y="3073447"/>
                </a:moveTo>
                <a:lnTo>
                  <a:pt x="4906979" y="3127194"/>
                </a:lnTo>
                <a:lnTo>
                  <a:pt x="4955580" y="3185802"/>
                </a:lnTo>
                <a:lnTo>
                  <a:pt x="4897259" y="3234688"/>
                </a:lnTo>
                <a:lnTo>
                  <a:pt x="4951006" y="3299012"/>
                </a:lnTo>
                <a:lnTo>
                  <a:pt x="5009613" y="3250126"/>
                </a:lnTo>
                <a:lnTo>
                  <a:pt x="5058213" y="3308733"/>
                </a:lnTo>
                <a:lnTo>
                  <a:pt x="5122539" y="3254986"/>
                </a:lnTo>
                <a:lnTo>
                  <a:pt x="5073938" y="3196379"/>
                </a:lnTo>
                <a:lnTo>
                  <a:pt x="5132259" y="3147492"/>
                </a:lnTo>
                <a:lnTo>
                  <a:pt x="5078512" y="3083167"/>
                </a:lnTo>
                <a:lnTo>
                  <a:pt x="5020191" y="3132054"/>
                </a:lnTo>
                <a:close/>
                <a:moveTo>
                  <a:pt x="4703998" y="3063441"/>
                </a:moveTo>
                <a:cubicBezTo>
                  <a:pt x="4689989" y="3075162"/>
                  <a:pt x="4676839" y="3086026"/>
                  <a:pt x="4664832" y="3096033"/>
                </a:cubicBezTo>
                <a:cubicBezTo>
                  <a:pt x="4634241" y="3121476"/>
                  <a:pt x="4630239" y="3166933"/>
                  <a:pt x="4655683" y="3197522"/>
                </a:cubicBezTo>
                <a:lnTo>
                  <a:pt x="4944144" y="3543447"/>
                </a:lnTo>
                <a:cubicBezTo>
                  <a:pt x="4969589" y="3574038"/>
                  <a:pt x="5015045" y="3578039"/>
                  <a:pt x="5045634" y="3552596"/>
                </a:cubicBezTo>
                <a:cubicBezTo>
                  <a:pt x="5057642" y="3542590"/>
                  <a:pt x="5070793" y="3531725"/>
                  <a:pt x="5084801" y="3520004"/>
                </a:cubicBezTo>
                <a:close/>
                <a:moveTo>
                  <a:pt x="1971194" y="2992541"/>
                </a:moveTo>
                <a:cubicBezTo>
                  <a:pt x="1970336" y="3016842"/>
                  <a:pt x="1964047" y="3070875"/>
                  <a:pt x="1928025" y="3099749"/>
                </a:cubicBezTo>
                <a:cubicBezTo>
                  <a:pt x="1886285" y="3133484"/>
                  <a:pt x="1864558" y="3178941"/>
                  <a:pt x="1861985" y="3238977"/>
                </a:cubicBezTo>
                <a:cubicBezTo>
                  <a:pt x="1861985" y="3240406"/>
                  <a:pt x="1861985" y="3260991"/>
                  <a:pt x="1861985" y="3291866"/>
                </a:cubicBezTo>
                <a:lnTo>
                  <a:pt x="2357714" y="3291866"/>
                </a:lnTo>
                <a:cubicBezTo>
                  <a:pt x="2357714" y="3259847"/>
                  <a:pt x="2357714" y="3238405"/>
                  <a:pt x="2357714" y="3236403"/>
                </a:cubicBezTo>
                <a:cubicBezTo>
                  <a:pt x="2354284" y="3180370"/>
                  <a:pt x="2330555" y="3130625"/>
                  <a:pt x="2291960" y="3099749"/>
                </a:cubicBezTo>
                <a:cubicBezTo>
                  <a:pt x="2255938" y="3070875"/>
                  <a:pt x="2249649" y="3016842"/>
                  <a:pt x="2248791" y="2992541"/>
                </a:cubicBezTo>
                <a:close/>
                <a:moveTo>
                  <a:pt x="5650002" y="2879043"/>
                </a:moveTo>
                <a:lnTo>
                  <a:pt x="5534218" y="2975673"/>
                </a:lnTo>
                <a:cubicBezTo>
                  <a:pt x="5530501" y="2978532"/>
                  <a:pt x="5530501" y="2984250"/>
                  <a:pt x="5534218" y="2988538"/>
                </a:cubicBezTo>
                <a:cubicBezTo>
                  <a:pt x="5537648" y="2992541"/>
                  <a:pt x="5543366" y="2993684"/>
                  <a:pt x="5546797" y="2990825"/>
                </a:cubicBezTo>
                <a:lnTo>
                  <a:pt x="5662867" y="2894195"/>
                </a:lnTo>
                <a:cubicBezTo>
                  <a:pt x="5666298" y="2891336"/>
                  <a:pt x="5666298" y="2885619"/>
                  <a:pt x="5662581" y="2881330"/>
                </a:cubicBezTo>
                <a:cubicBezTo>
                  <a:pt x="5659151" y="2877042"/>
                  <a:pt x="5653433" y="2876185"/>
                  <a:pt x="5650002" y="2879043"/>
                </a:cubicBezTo>
                <a:close/>
                <a:moveTo>
                  <a:pt x="5627417" y="2851884"/>
                </a:moveTo>
                <a:lnTo>
                  <a:pt x="5511346" y="2948800"/>
                </a:lnTo>
                <a:cubicBezTo>
                  <a:pt x="5507630" y="2951659"/>
                  <a:pt x="5507916" y="2957376"/>
                  <a:pt x="5511346" y="2961665"/>
                </a:cubicBezTo>
                <a:cubicBezTo>
                  <a:pt x="5514778" y="2965953"/>
                  <a:pt x="5520495" y="2967096"/>
                  <a:pt x="5523925" y="2964238"/>
                </a:cubicBezTo>
                <a:lnTo>
                  <a:pt x="5639996" y="2867322"/>
                </a:lnTo>
                <a:cubicBezTo>
                  <a:pt x="5643713" y="2864463"/>
                  <a:pt x="5643713" y="2858746"/>
                  <a:pt x="5639996" y="2854457"/>
                </a:cubicBezTo>
                <a:cubicBezTo>
                  <a:pt x="5636566" y="2850168"/>
                  <a:pt x="5630848" y="2849026"/>
                  <a:pt x="5627417" y="2851884"/>
                </a:cubicBezTo>
                <a:close/>
                <a:moveTo>
                  <a:pt x="2257940" y="2842165"/>
                </a:moveTo>
                <a:cubicBezTo>
                  <a:pt x="2253365" y="2842165"/>
                  <a:pt x="2249649" y="2845309"/>
                  <a:pt x="2249649" y="2849026"/>
                </a:cubicBezTo>
                <a:lnTo>
                  <a:pt x="2249649" y="2975389"/>
                </a:lnTo>
                <a:cubicBezTo>
                  <a:pt x="2249649" y="2979104"/>
                  <a:pt x="2253365" y="2982250"/>
                  <a:pt x="2257940" y="2982250"/>
                </a:cubicBezTo>
                <a:cubicBezTo>
                  <a:pt x="2262514" y="2982250"/>
                  <a:pt x="2266230" y="2979104"/>
                  <a:pt x="2266230" y="2975389"/>
                </a:cubicBezTo>
                <a:lnTo>
                  <a:pt x="2266230" y="2849026"/>
                </a:lnTo>
                <a:cubicBezTo>
                  <a:pt x="2266230" y="2845309"/>
                  <a:pt x="2262514" y="2842165"/>
                  <a:pt x="2257940" y="2842165"/>
                </a:cubicBezTo>
                <a:close/>
                <a:moveTo>
                  <a:pt x="2228493" y="2842165"/>
                </a:moveTo>
                <a:cubicBezTo>
                  <a:pt x="2223919" y="2842165"/>
                  <a:pt x="2220202" y="2845309"/>
                  <a:pt x="2220202" y="2849026"/>
                </a:cubicBezTo>
                <a:lnTo>
                  <a:pt x="2220202" y="2975389"/>
                </a:lnTo>
                <a:cubicBezTo>
                  <a:pt x="2220202" y="2979104"/>
                  <a:pt x="2223919" y="2982250"/>
                  <a:pt x="2228493" y="2982250"/>
                </a:cubicBezTo>
                <a:cubicBezTo>
                  <a:pt x="2233067" y="2982250"/>
                  <a:pt x="2236784" y="2979104"/>
                  <a:pt x="2236784" y="2975389"/>
                </a:cubicBezTo>
                <a:lnTo>
                  <a:pt x="2236784" y="2849026"/>
                </a:lnTo>
                <a:cubicBezTo>
                  <a:pt x="2236784" y="2845309"/>
                  <a:pt x="2233067" y="2842165"/>
                  <a:pt x="2228493" y="2842165"/>
                </a:cubicBezTo>
                <a:close/>
                <a:moveTo>
                  <a:pt x="2198761" y="2842165"/>
                </a:moveTo>
                <a:cubicBezTo>
                  <a:pt x="2194187" y="2842165"/>
                  <a:pt x="2190470" y="2845309"/>
                  <a:pt x="2190470" y="2849026"/>
                </a:cubicBezTo>
                <a:lnTo>
                  <a:pt x="2190470" y="2975389"/>
                </a:lnTo>
                <a:cubicBezTo>
                  <a:pt x="2190470" y="2979104"/>
                  <a:pt x="2194187" y="2982250"/>
                  <a:pt x="2198761" y="2982250"/>
                </a:cubicBezTo>
                <a:cubicBezTo>
                  <a:pt x="2203335" y="2982250"/>
                  <a:pt x="2207051" y="2979104"/>
                  <a:pt x="2207051" y="2975389"/>
                </a:cubicBezTo>
                <a:lnTo>
                  <a:pt x="2207051" y="2849026"/>
                </a:lnTo>
                <a:cubicBezTo>
                  <a:pt x="2207051" y="2845309"/>
                  <a:pt x="2203335" y="2842165"/>
                  <a:pt x="2198761" y="2842165"/>
                </a:cubicBezTo>
                <a:close/>
                <a:moveTo>
                  <a:pt x="2169314" y="2842165"/>
                </a:moveTo>
                <a:cubicBezTo>
                  <a:pt x="2164740" y="2842165"/>
                  <a:pt x="2161023" y="2845309"/>
                  <a:pt x="2161023" y="2849026"/>
                </a:cubicBezTo>
                <a:lnTo>
                  <a:pt x="2161023" y="2975389"/>
                </a:lnTo>
                <a:cubicBezTo>
                  <a:pt x="2161023" y="2979104"/>
                  <a:pt x="2164740" y="2982250"/>
                  <a:pt x="2169314" y="2982250"/>
                </a:cubicBezTo>
                <a:cubicBezTo>
                  <a:pt x="2173888" y="2982250"/>
                  <a:pt x="2177605" y="2979104"/>
                  <a:pt x="2177605" y="2975389"/>
                </a:cubicBezTo>
                <a:lnTo>
                  <a:pt x="2177605" y="2849026"/>
                </a:lnTo>
                <a:cubicBezTo>
                  <a:pt x="2177605" y="2845309"/>
                  <a:pt x="2173888" y="2842165"/>
                  <a:pt x="2169314" y="2842165"/>
                </a:cubicBezTo>
                <a:close/>
                <a:moveTo>
                  <a:pt x="2139582" y="2842165"/>
                </a:moveTo>
                <a:cubicBezTo>
                  <a:pt x="2135007" y="2842165"/>
                  <a:pt x="2131291" y="2845309"/>
                  <a:pt x="2131291" y="2849026"/>
                </a:cubicBezTo>
                <a:lnTo>
                  <a:pt x="2131291" y="2975389"/>
                </a:lnTo>
                <a:cubicBezTo>
                  <a:pt x="2131291" y="2979104"/>
                  <a:pt x="2135007" y="2982250"/>
                  <a:pt x="2139582" y="2982250"/>
                </a:cubicBezTo>
                <a:cubicBezTo>
                  <a:pt x="2144156" y="2982250"/>
                  <a:pt x="2147873" y="2979104"/>
                  <a:pt x="2147873" y="2975389"/>
                </a:cubicBezTo>
                <a:lnTo>
                  <a:pt x="2147873" y="2849026"/>
                </a:lnTo>
                <a:cubicBezTo>
                  <a:pt x="2147873" y="2845309"/>
                  <a:pt x="2144156" y="2842165"/>
                  <a:pt x="2139582" y="2842165"/>
                </a:cubicBezTo>
                <a:close/>
                <a:moveTo>
                  <a:pt x="2110135" y="2842165"/>
                </a:moveTo>
                <a:cubicBezTo>
                  <a:pt x="2105561" y="2842165"/>
                  <a:pt x="2101845" y="2845309"/>
                  <a:pt x="2101845" y="2849026"/>
                </a:cubicBezTo>
                <a:lnTo>
                  <a:pt x="2101845" y="2975389"/>
                </a:lnTo>
                <a:cubicBezTo>
                  <a:pt x="2101845" y="2979104"/>
                  <a:pt x="2105561" y="2982250"/>
                  <a:pt x="2110135" y="2982250"/>
                </a:cubicBezTo>
                <a:cubicBezTo>
                  <a:pt x="2114710" y="2982250"/>
                  <a:pt x="2118426" y="2979104"/>
                  <a:pt x="2118426" y="2975389"/>
                </a:cubicBezTo>
                <a:lnTo>
                  <a:pt x="2118426" y="2849026"/>
                </a:lnTo>
                <a:cubicBezTo>
                  <a:pt x="2118426" y="2845309"/>
                  <a:pt x="2114710" y="2842165"/>
                  <a:pt x="2110135" y="2842165"/>
                </a:cubicBezTo>
                <a:close/>
                <a:moveTo>
                  <a:pt x="2080403" y="2842165"/>
                </a:moveTo>
                <a:cubicBezTo>
                  <a:pt x="2075829" y="2842165"/>
                  <a:pt x="2072112" y="2845309"/>
                  <a:pt x="2072112" y="2849026"/>
                </a:cubicBezTo>
                <a:lnTo>
                  <a:pt x="2072112" y="2975389"/>
                </a:lnTo>
                <a:cubicBezTo>
                  <a:pt x="2072112" y="2979104"/>
                  <a:pt x="2075829" y="2982250"/>
                  <a:pt x="2080403" y="2982250"/>
                </a:cubicBezTo>
                <a:cubicBezTo>
                  <a:pt x="2084977" y="2982250"/>
                  <a:pt x="2088694" y="2979104"/>
                  <a:pt x="2088694" y="2975389"/>
                </a:cubicBezTo>
                <a:lnTo>
                  <a:pt x="2088694" y="2849026"/>
                </a:lnTo>
                <a:cubicBezTo>
                  <a:pt x="2088694" y="2845309"/>
                  <a:pt x="2084977" y="2842165"/>
                  <a:pt x="2080403" y="2842165"/>
                </a:cubicBezTo>
                <a:close/>
                <a:moveTo>
                  <a:pt x="2050671" y="2842165"/>
                </a:moveTo>
                <a:cubicBezTo>
                  <a:pt x="2046097" y="2842165"/>
                  <a:pt x="2042380" y="2845309"/>
                  <a:pt x="2042380" y="2849026"/>
                </a:cubicBezTo>
                <a:lnTo>
                  <a:pt x="2042380" y="2975389"/>
                </a:lnTo>
                <a:cubicBezTo>
                  <a:pt x="2042380" y="2979104"/>
                  <a:pt x="2046097" y="2982250"/>
                  <a:pt x="2050671" y="2982250"/>
                </a:cubicBezTo>
                <a:cubicBezTo>
                  <a:pt x="2055245" y="2982250"/>
                  <a:pt x="2058961" y="2979104"/>
                  <a:pt x="2058961" y="2975389"/>
                </a:cubicBezTo>
                <a:lnTo>
                  <a:pt x="2058961" y="2849026"/>
                </a:lnTo>
                <a:cubicBezTo>
                  <a:pt x="2058961" y="2845309"/>
                  <a:pt x="2055245" y="2842165"/>
                  <a:pt x="2050671" y="2842165"/>
                </a:cubicBezTo>
                <a:close/>
                <a:moveTo>
                  <a:pt x="2021224" y="2842165"/>
                </a:moveTo>
                <a:cubicBezTo>
                  <a:pt x="2016650" y="2842165"/>
                  <a:pt x="2012933" y="2845309"/>
                  <a:pt x="2012933" y="2849026"/>
                </a:cubicBezTo>
                <a:lnTo>
                  <a:pt x="2012933" y="2975389"/>
                </a:lnTo>
                <a:cubicBezTo>
                  <a:pt x="2012933" y="2979104"/>
                  <a:pt x="2016650" y="2982250"/>
                  <a:pt x="2021224" y="2982250"/>
                </a:cubicBezTo>
                <a:cubicBezTo>
                  <a:pt x="2025798" y="2982250"/>
                  <a:pt x="2029515" y="2979104"/>
                  <a:pt x="2029515" y="2975389"/>
                </a:cubicBezTo>
                <a:lnTo>
                  <a:pt x="2029515" y="2849026"/>
                </a:lnTo>
                <a:cubicBezTo>
                  <a:pt x="2029515" y="2845309"/>
                  <a:pt x="2025798" y="2842165"/>
                  <a:pt x="2021224" y="2842165"/>
                </a:cubicBezTo>
                <a:close/>
                <a:moveTo>
                  <a:pt x="1991492" y="2842165"/>
                </a:moveTo>
                <a:cubicBezTo>
                  <a:pt x="1986917" y="2842165"/>
                  <a:pt x="1983201" y="2845309"/>
                  <a:pt x="1983201" y="2849026"/>
                </a:cubicBezTo>
                <a:lnTo>
                  <a:pt x="1983201" y="2975389"/>
                </a:lnTo>
                <a:cubicBezTo>
                  <a:pt x="1983201" y="2979104"/>
                  <a:pt x="1986917" y="2982250"/>
                  <a:pt x="1991492" y="2982250"/>
                </a:cubicBezTo>
                <a:cubicBezTo>
                  <a:pt x="1996066" y="2982250"/>
                  <a:pt x="1999783" y="2979104"/>
                  <a:pt x="1999783" y="2975389"/>
                </a:cubicBezTo>
                <a:lnTo>
                  <a:pt x="1999783" y="2849026"/>
                </a:lnTo>
                <a:cubicBezTo>
                  <a:pt x="1999783" y="2845309"/>
                  <a:pt x="1996066" y="2842165"/>
                  <a:pt x="1991492" y="2842165"/>
                </a:cubicBezTo>
                <a:close/>
                <a:moveTo>
                  <a:pt x="1962045" y="2842165"/>
                </a:moveTo>
                <a:cubicBezTo>
                  <a:pt x="1957471" y="2842165"/>
                  <a:pt x="1953755" y="2845309"/>
                  <a:pt x="1953755" y="2849026"/>
                </a:cubicBezTo>
                <a:lnTo>
                  <a:pt x="1953755" y="2975389"/>
                </a:lnTo>
                <a:cubicBezTo>
                  <a:pt x="1953755" y="2979104"/>
                  <a:pt x="1957471" y="2982250"/>
                  <a:pt x="1962045" y="2982250"/>
                </a:cubicBezTo>
                <a:cubicBezTo>
                  <a:pt x="1966620" y="2982250"/>
                  <a:pt x="1970336" y="2979104"/>
                  <a:pt x="1970336" y="2975389"/>
                </a:cubicBezTo>
                <a:lnTo>
                  <a:pt x="1970336" y="2849026"/>
                </a:lnTo>
                <a:cubicBezTo>
                  <a:pt x="1970336" y="2845309"/>
                  <a:pt x="1966620" y="2842165"/>
                  <a:pt x="1962045" y="2842165"/>
                </a:cubicBezTo>
                <a:close/>
                <a:moveTo>
                  <a:pt x="5604546" y="2824725"/>
                </a:moveTo>
                <a:lnTo>
                  <a:pt x="5488476" y="2921069"/>
                </a:lnTo>
                <a:cubicBezTo>
                  <a:pt x="5484759" y="2923928"/>
                  <a:pt x="5485045" y="2929645"/>
                  <a:pt x="5488476" y="2933934"/>
                </a:cubicBezTo>
                <a:cubicBezTo>
                  <a:pt x="5491906" y="2938223"/>
                  <a:pt x="5497624" y="2939366"/>
                  <a:pt x="5501055" y="2936507"/>
                </a:cubicBezTo>
                <a:lnTo>
                  <a:pt x="5617125" y="2839877"/>
                </a:lnTo>
                <a:cubicBezTo>
                  <a:pt x="5620842" y="2837018"/>
                  <a:pt x="5620555" y="2831300"/>
                  <a:pt x="5617125" y="2827012"/>
                </a:cubicBezTo>
                <a:cubicBezTo>
                  <a:pt x="5613694" y="2822724"/>
                  <a:pt x="5607977" y="2821866"/>
                  <a:pt x="5604546" y="2824725"/>
                </a:cubicBezTo>
                <a:close/>
                <a:moveTo>
                  <a:pt x="2848870" y="2806428"/>
                </a:moveTo>
                <a:lnTo>
                  <a:pt x="2848299" y="3076020"/>
                </a:lnTo>
                <a:cubicBezTo>
                  <a:pt x="2848012" y="3150923"/>
                  <a:pt x="2876887" y="3221251"/>
                  <a:pt x="2929776" y="3274427"/>
                </a:cubicBezTo>
                <a:cubicBezTo>
                  <a:pt x="2982380" y="3327316"/>
                  <a:pt x="3052709" y="3356763"/>
                  <a:pt x="3127611" y="3357048"/>
                </a:cubicBezTo>
                <a:lnTo>
                  <a:pt x="3128469" y="3373916"/>
                </a:lnTo>
                <a:lnTo>
                  <a:pt x="3128469" y="3357048"/>
                </a:lnTo>
                <a:cubicBezTo>
                  <a:pt x="3282849" y="3357048"/>
                  <a:pt x="3408354" y="3231543"/>
                  <a:pt x="3408925" y="3077450"/>
                </a:cubicBezTo>
                <a:lnTo>
                  <a:pt x="3409497" y="2808144"/>
                </a:lnTo>
                <a:lnTo>
                  <a:pt x="3129327" y="2807286"/>
                </a:lnTo>
                <a:close/>
                <a:moveTo>
                  <a:pt x="5581961" y="2797566"/>
                </a:moveTo>
                <a:lnTo>
                  <a:pt x="5466177" y="2894481"/>
                </a:lnTo>
                <a:cubicBezTo>
                  <a:pt x="5462460" y="2897340"/>
                  <a:pt x="5462460" y="2903058"/>
                  <a:pt x="5466177" y="2907346"/>
                </a:cubicBezTo>
                <a:cubicBezTo>
                  <a:pt x="5469607" y="2911348"/>
                  <a:pt x="5475324" y="2912493"/>
                  <a:pt x="5478756" y="2909634"/>
                </a:cubicBezTo>
                <a:lnTo>
                  <a:pt x="5594826" y="2812718"/>
                </a:lnTo>
                <a:cubicBezTo>
                  <a:pt x="5598256" y="2809859"/>
                  <a:pt x="5598256" y="2804140"/>
                  <a:pt x="5594826" y="2799852"/>
                </a:cubicBezTo>
                <a:cubicBezTo>
                  <a:pt x="5591109" y="2795850"/>
                  <a:pt x="5585392" y="2794706"/>
                  <a:pt x="5581961" y="2797566"/>
                </a:cubicBezTo>
                <a:close/>
                <a:moveTo>
                  <a:pt x="5559376" y="2770406"/>
                </a:moveTo>
                <a:lnTo>
                  <a:pt x="5443305" y="2867322"/>
                </a:lnTo>
                <a:cubicBezTo>
                  <a:pt x="5439589" y="2870181"/>
                  <a:pt x="5439875" y="2875898"/>
                  <a:pt x="5443305" y="2880187"/>
                </a:cubicBezTo>
                <a:cubicBezTo>
                  <a:pt x="5446736" y="2884189"/>
                  <a:pt x="5452168" y="2885333"/>
                  <a:pt x="5455884" y="2882475"/>
                </a:cubicBezTo>
                <a:lnTo>
                  <a:pt x="5571955" y="2785558"/>
                </a:lnTo>
                <a:cubicBezTo>
                  <a:pt x="5575672" y="2782699"/>
                  <a:pt x="5575386" y="2776981"/>
                  <a:pt x="5571955" y="2772693"/>
                </a:cubicBezTo>
                <a:cubicBezTo>
                  <a:pt x="5568525" y="2768691"/>
                  <a:pt x="5562806" y="2767547"/>
                  <a:pt x="5559376" y="2770406"/>
                </a:cubicBezTo>
                <a:close/>
                <a:moveTo>
                  <a:pt x="3606759" y="2766975"/>
                </a:moveTo>
                <a:lnTo>
                  <a:pt x="3606759" y="2838161"/>
                </a:lnTo>
                <a:cubicBezTo>
                  <a:pt x="3606759" y="2909348"/>
                  <a:pt x="3664508" y="2967383"/>
                  <a:pt x="3735695" y="2967096"/>
                </a:cubicBezTo>
                <a:lnTo>
                  <a:pt x="3842617" y="2967096"/>
                </a:lnTo>
                <a:lnTo>
                  <a:pt x="3842617" y="2907346"/>
                </a:lnTo>
                <a:cubicBezTo>
                  <a:pt x="3842617" y="2829871"/>
                  <a:pt x="3779722" y="2766975"/>
                  <a:pt x="3702246" y="2766975"/>
                </a:cubicBezTo>
                <a:close/>
                <a:moveTo>
                  <a:pt x="5536505" y="2742961"/>
                </a:moveTo>
                <a:lnTo>
                  <a:pt x="5420720" y="2839877"/>
                </a:lnTo>
                <a:cubicBezTo>
                  <a:pt x="5417003" y="2842736"/>
                  <a:pt x="5417289" y="2848454"/>
                  <a:pt x="5420720" y="2852741"/>
                </a:cubicBezTo>
                <a:cubicBezTo>
                  <a:pt x="5424150" y="2856744"/>
                  <a:pt x="5429582" y="2857887"/>
                  <a:pt x="5433299" y="2855028"/>
                </a:cubicBezTo>
                <a:lnTo>
                  <a:pt x="5549370" y="2758398"/>
                </a:lnTo>
                <a:cubicBezTo>
                  <a:pt x="5553086" y="2755540"/>
                  <a:pt x="5552800" y="2749822"/>
                  <a:pt x="5549370" y="2745533"/>
                </a:cubicBezTo>
                <a:cubicBezTo>
                  <a:pt x="5545653" y="2741245"/>
                  <a:pt x="5539935" y="2740102"/>
                  <a:pt x="5536505" y="2742961"/>
                </a:cubicBezTo>
                <a:close/>
                <a:moveTo>
                  <a:pt x="5304649" y="2733241"/>
                </a:moveTo>
                <a:cubicBezTo>
                  <a:pt x="5281492" y="2751251"/>
                  <a:pt x="5227174" y="2786987"/>
                  <a:pt x="5172855" y="2775838"/>
                </a:cubicBezTo>
                <a:cubicBezTo>
                  <a:pt x="5109674" y="2762972"/>
                  <a:pt x="5051352" y="2777839"/>
                  <a:pt x="4994175" y="2821580"/>
                </a:cubicBezTo>
                <a:cubicBezTo>
                  <a:pt x="4992745" y="2822724"/>
                  <a:pt x="4973877" y="2838447"/>
                  <a:pt x="4945003" y="2862462"/>
                </a:cubicBezTo>
                <a:lnTo>
                  <a:pt x="5325520" y="3318739"/>
                </a:lnTo>
                <a:cubicBezTo>
                  <a:pt x="5355252" y="3293867"/>
                  <a:pt x="5374692" y="3277571"/>
                  <a:pt x="5376693" y="3275856"/>
                </a:cubicBezTo>
                <a:cubicBezTo>
                  <a:pt x="5425580" y="3229542"/>
                  <a:pt x="5453025" y="3169220"/>
                  <a:pt x="5451882" y="3110327"/>
                </a:cubicBezTo>
                <a:cubicBezTo>
                  <a:pt x="5450738" y="3054865"/>
                  <a:pt x="5495623" y="3007693"/>
                  <a:pt x="5517350" y="2988252"/>
                </a:cubicBezTo>
                <a:close/>
                <a:moveTo>
                  <a:pt x="4501304" y="2731525"/>
                </a:moveTo>
                <a:cubicBezTo>
                  <a:pt x="4423828" y="2731525"/>
                  <a:pt x="4360933" y="2794420"/>
                  <a:pt x="4360933" y="2871896"/>
                </a:cubicBezTo>
                <a:lnTo>
                  <a:pt x="4360933" y="2967383"/>
                </a:lnTo>
                <a:lnTo>
                  <a:pt x="4432119" y="2967383"/>
                </a:lnTo>
                <a:cubicBezTo>
                  <a:pt x="4503304" y="2967383"/>
                  <a:pt x="4561054" y="2909348"/>
                  <a:pt x="4561054" y="2838447"/>
                </a:cubicBezTo>
                <a:lnTo>
                  <a:pt x="4561054" y="2731525"/>
                </a:lnTo>
                <a:close/>
                <a:moveTo>
                  <a:pt x="5513919" y="2715802"/>
                </a:moveTo>
                <a:lnTo>
                  <a:pt x="5397563" y="2812432"/>
                </a:lnTo>
                <a:cubicBezTo>
                  <a:pt x="5393847" y="2815290"/>
                  <a:pt x="5393847" y="2821008"/>
                  <a:pt x="5397563" y="2825297"/>
                </a:cubicBezTo>
                <a:cubicBezTo>
                  <a:pt x="5401280" y="2829299"/>
                  <a:pt x="5406997" y="2830442"/>
                  <a:pt x="5410429" y="2827584"/>
                </a:cubicBezTo>
                <a:lnTo>
                  <a:pt x="5526498" y="2730953"/>
                </a:lnTo>
                <a:cubicBezTo>
                  <a:pt x="5530215" y="2728094"/>
                  <a:pt x="5530215" y="2722377"/>
                  <a:pt x="5526498" y="2718089"/>
                </a:cubicBezTo>
                <a:cubicBezTo>
                  <a:pt x="5523068" y="2714086"/>
                  <a:pt x="5517636" y="2712943"/>
                  <a:pt x="5513919" y="2715802"/>
                </a:cubicBezTo>
                <a:close/>
                <a:moveTo>
                  <a:pt x="5491335" y="2688642"/>
                </a:moveTo>
                <a:lnTo>
                  <a:pt x="5375264" y="2785844"/>
                </a:lnTo>
                <a:cubicBezTo>
                  <a:pt x="5371548" y="2788703"/>
                  <a:pt x="5371833" y="2794420"/>
                  <a:pt x="5375264" y="2798709"/>
                </a:cubicBezTo>
                <a:cubicBezTo>
                  <a:pt x="5378694" y="2802711"/>
                  <a:pt x="5384412" y="2803855"/>
                  <a:pt x="5387842" y="2800996"/>
                </a:cubicBezTo>
                <a:lnTo>
                  <a:pt x="5503913" y="2704080"/>
                </a:lnTo>
                <a:cubicBezTo>
                  <a:pt x="5507630" y="2701221"/>
                  <a:pt x="5507345" y="2695503"/>
                  <a:pt x="5503913" y="2691215"/>
                </a:cubicBezTo>
                <a:cubicBezTo>
                  <a:pt x="5500483" y="2686927"/>
                  <a:pt x="5494765" y="2685783"/>
                  <a:pt x="5491335" y="2688642"/>
                </a:cubicBezTo>
                <a:close/>
                <a:moveTo>
                  <a:pt x="5468463" y="2661482"/>
                </a:moveTo>
                <a:lnTo>
                  <a:pt x="5352679" y="2758398"/>
                </a:lnTo>
                <a:cubicBezTo>
                  <a:pt x="5348962" y="2761258"/>
                  <a:pt x="5348962" y="2766975"/>
                  <a:pt x="5352679" y="2771264"/>
                </a:cubicBezTo>
                <a:cubicBezTo>
                  <a:pt x="5356109" y="2775552"/>
                  <a:pt x="5361827" y="2776410"/>
                  <a:pt x="5365258" y="2773551"/>
                </a:cubicBezTo>
                <a:lnTo>
                  <a:pt x="5481328" y="2676921"/>
                </a:lnTo>
                <a:cubicBezTo>
                  <a:pt x="5484759" y="2674062"/>
                  <a:pt x="5484759" y="2668344"/>
                  <a:pt x="5481328" y="2664056"/>
                </a:cubicBezTo>
                <a:cubicBezTo>
                  <a:pt x="5477611" y="2659767"/>
                  <a:pt x="5471894" y="2658623"/>
                  <a:pt x="5468463" y="2661482"/>
                </a:cubicBezTo>
                <a:close/>
                <a:moveTo>
                  <a:pt x="5445878" y="2634323"/>
                </a:moveTo>
                <a:lnTo>
                  <a:pt x="5329807" y="2731239"/>
                </a:lnTo>
                <a:cubicBezTo>
                  <a:pt x="5326091" y="2734098"/>
                  <a:pt x="5326091" y="2739816"/>
                  <a:pt x="5329807" y="2744104"/>
                </a:cubicBezTo>
                <a:cubicBezTo>
                  <a:pt x="5333238" y="2748107"/>
                  <a:pt x="5338956" y="2749251"/>
                  <a:pt x="5342387" y="2746391"/>
                </a:cubicBezTo>
                <a:lnTo>
                  <a:pt x="5458457" y="2649762"/>
                </a:lnTo>
                <a:cubicBezTo>
                  <a:pt x="5462174" y="2646902"/>
                  <a:pt x="5461888" y="2641184"/>
                  <a:pt x="5458457" y="2636896"/>
                </a:cubicBezTo>
                <a:cubicBezTo>
                  <a:pt x="5455027" y="2632608"/>
                  <a:pt x="5449309" y="2631464"/>
                  <a:pt x="5445878" y="2634323"/>
                </a:cubicBezTo>
                <a:close/>
                <a:moveTo>
                  <a:pt x="5423293" y="2606878"/>
                </a:moveTo>
                <a:lnTo>
                  <a:pt x="5306936" y="2703508"/>
                </a:lnTo>
                <a:cubicBezTo>
                  <a:pt x="5303220" y="2706367"/>
                  <a:pt x="5303506" y="2712084"/>
                  <a:pt x="5306936" y="2716373"/>
                </a:cubicBezTo>
                <a:cubicBezTo>
                  <a:pt x="5310653" y="2720662"/>
                  <a:pt x="5316085" y="2721519"/>
                  <a:pt x="5319801" y="2718660"/>
                </a:cubicBezTo>
                <a:lnTo>
                  <a:pt x="5435872" y="2622030"/>
                </a:lnTo>
                <a:cubicBezTo>
                  <a:pt x="5439303" y="2619171"/>
                  <a:pt x="5439303" y="2613454"/>
                  <a:pt x="5435872" y="2609165"/>
                </a:cubicBezTo>
                <a:cubicBezTo>
                  <a:pt x="5432442" y="2605163"/>
                  <a:pt x="5426723" y="2604019"/>
                  <a:pt x="5423293" y="2606878"/>
                </a:cubicBezTo>
                <a:close/>
                <a:moveTo>
                  <a:pt x="5431298" y="2586616"/>
                </a:moveTo>
                <a:cubicBezTo>
                  <a:pt x="5436229" y="2587009"/>
                  <a:pt x="5441018" y="2589296"/>
                  <a:pt x="5444449" y="2593441"/>
                </a:cubicBezTo>
                <a:lnTo>
                  <a:pt x="5680021" y="2875898"/>
                </a:lnTo>
                <a:cubicBezTo>
                  <a:pt x="5686881" y="2884189"/>
                  <a:pt x="5685738" y="2896196"/>
                  <a:pt x="5677733" y="2903058"/>
                </a:cubicBezTo>
                <a:lnTo>
                  <a:pt x="5541079" y="3016841"/>
                </a:lnTo>
                <a:lnTo>
                  <a:pt x="5531645" y="3005691"/>
                </a:lnTo>
                <a:cubicBezTo>
                  <a:pt x="5512205" y="3023131"/>
                  <a:pt x="5473324" y="3064299"/>
                  <a:pt x="5474181" y="3109755"/>
                </a:cubicBezTo>
                <a:cubicBezTo>
                  <a:pt x="5475610" y="3175223"/>
                  <a:pt x="5445592" y="3241550"/>
                  <a:pt x="5391845" y="3292151"/>
                </a:cubicBezTo>
                <a:cubicBezTo>
                  <a:pt x="5390701" y="3293581"/>
                  <a:pt x="5278634" y="3387067"/>
                  <a:pt x="5059358" y="3570035"/>
                </a:cubicBezTo>
                <a:cubicBezTo>
                  <a:pt x="5019333" y="3603484"/>
                  <a:pt x="4959868" y="3598052"/>
                  <a:pt x="4926419" y="3558027"/>
                </a:cubicBezTo>
                <a:lnTo>
                  <a:pt x="4637958" y="3211816"/>
                </a:lnTo>
                <a:cubicBezTo>
                  <a:pt x="4604509" y="3171793"/>
                  <a:pt x="4609941" y="3112328"/>
                  <a:pt x="4649966" y="3078879"/>
                </a:cubicBezTo>
                <a:cubicBezTo>
                  <a:pt x="4868098" y="2897055"/>
                  <a:pt x="4979309" y="2804713"/>
                  <a:pt x="4980738" y="2803569"/>
                </a:cubicBezTo>
                <a:cubicBezTo>
                  <a:pt x="5042204" y="2756683"/>
                  <a:pt x="5108244" y="2739816"/>
                  <a:pt x="5177143" y="2753825"/>
                </a:cubicBezTo>
                <a:cubicBezTo>
                  <a:pt x="5221742" y="2762972"/>
                  <a:pt x="5269199" y="2731811"/>
                  <a:pt x="5290069" y="2716087"/>
                </a:cubicBezTo>
                <a:lnTo>
                  <a:pt x="5280635" y="2704937"/>
                </a:lnTo>
                <a:lnTo>
                  <a:pt x="5417289" y="2591154"/>
                </a:lnTo>
                <a:cubicBezTo>
                  <a:pt x="5421291" y="2587724"/>
                  <a:pt x="5426366" y="2586222"/>
                  <a:pt x="5431298" y="2586616"/>
                </a:cubicBezTo>
                <a:close/>
                <a:moveTo>
                  <a:pt x="5976056" y="2538006"/>
                </a:moveTo>
                <a:cubicBezTo>
                  <a:pt x="5948487" y="2541871"/>
                  <a:pt x="5922777" y="2557581"/>
                  <a:pt x="5907016" y="2583150"/>
                </a:cubicBezTo>
                <a:lnTo>
                  <a:pt x="5872710" y="2639183"/>
                </a:lnTo>
                <a:lnTo>
                  <a:pt x="5914449" y="2664914"/>
                </a:lnTo>
                <a:cubicBezTo>
                  <a:pt x="5956189" y="2690643"/>
                  <a:pt x="6010794" y="2677493"/>
                  <a:pt x="6036239" y="2635468"/>
                </a:cubicBezTo>
                <a:lnTo>
                  <a:pt x="6074833" y="2572858"/>
                </a:lnTo>
                <a:lnTo>
                  <a:pt x="6039954" y="2551416"/>
                </a:lnTo>
                <a:cubicBezTo>
                  <a:pt x="6028590" y="2544412"/>
                  <a:pt x="6016350" y="2540052"/>
                  <a:pt x="6003945" y="2538163"/>
                </a:cubicBezTo>
                <a:cubicBezTo>
                  <a:pt x="5994642" y="2536745"/>
                  <a:pt x="5985246" y="2536718"/>
                  <a:pt x="5976056" y="2538006"/>
                </a:cubicBezTo>
                <a:close/>
                <a:moveTo>
                  <a:pt x="2566127" y="2494525"/>
                </a:moveTo>
                <a:cubicBezTo>
                  <a:pt x="2553548" y="2494525"/>
                  <a:pt x="2543542" y="2504817"/>
                  <a:pt x="2543542" y="2517110"/>
                </a:cubicBezTo>
                <a:cubicBezTo>
                  <a:pt x="2543542" y="2529689"/>
                  <a:pt x="2553548" y="2539695"/>
                  <a:pt x="2566127" y="2539695"/>
                </a:cubicBezTo>
                <a:lnTo>
                  <a:pt x="2659327" y="2539695"/>
                </a:lnTo>
                <a:lnTo>
                  <a:pt x="2659327" y="2494811"/>
                </a:lnTo>
                <a:lnTo>
                  <a:pt x="2659327" y="2494525"/>
                </a:lnTo>
                <a:close/>
                <a:moveTo>
                  <a:pt x="1865987" y="2474798"/>
                </a:moveTo>
                <a:lnTo>
                  <a:pt x="1814526" y="2527972"/>
                </a:lnTo>
                <a:cubicBezTo>
                  <a:pt x="1747343" y="2596872"/>
                  <a:pt x="1748772" y="2706939"/>
                  <a:pt x="1817672" y="2773837"/>
                </a:cubicBezTo>
                <a:lnTo>
                  <a:pt x="1902294" y="2856173"/>
                </a:lnTo>
                <a:lnTo>
                  <a:pt x="1963760" y="2792992"/>
                </a:lnTo>
                <a:cubicBezTo>
                  <a:pt x="2025226" y="2729811"/>
                  <a:pt x="2023797" y="2628606"/>
                  <a:pt x="1960902" y="2567140"/>
                </a:cubicBezTo>
                <a:close/>
                <a:moveTo>
                  <a:pt x="1423720" y="2414476"/>
                </a:moveTo>
                <a:lnTo>
                  <a:pt x="1507771" y="2495954"/>
                </a:lnTo>
                <a:lnTo>
                  <a:pt x="1392557" y="2613740"/>
                </a:lnTo>
                <a:lnTo>
                  <a:pt x="1514345" y="2732955"/>
                </a:lnTo>
                <a:lnTo>
                  <a:pt x="1427435" y="2823295"/>
                </a:lnTo>
                <a:lnTo>
                  <a:pt x="1305646" y="2703795"/>
                </a:lnTo>
                <a:lnTo>
                  <a:pt x="1191007" y="2821008"/>
                </a:lnTo>
                <a:lnTo>
                  <a:pt x="1107240" y="2739817"/>
                </a:lnTo>
                <a:lnTo>
                  <a:pt x="1221596" y="2622602"/>
                </a:lnTo>
                <a:lnTo>
                  <a:pt x="1102094" y="2506818"/>
                </a:lnTo>
                <a:lnTo>
                  <a:pt x="1189291" y="2416477"/>
                </a:lnTo>
                <a:lnTo>
                  <a:pt x="1308506" y="2532262"/>
                </a:lnTo>
                <a:close/>
                <a:moveTo>
                  <a:pt x="2566127" y="2387603"/>
                </a:moveTo>
                <a:cubicBezTo>
                  <a:pt x="2553834" y="2387603"/>
                  <a:pt x="2543542" y="2397895"/>
                  <a:pt x="2543542" y="2410188"/>
                </a:cubicBezTo>
                <a:cubicBezTo>
                  <a:pt x="2543542" y="2422767"/>
                  <a:pt x="2553548" y="2432772"/>
                  <a:pt x="2566127" y="2432772"/>
                </a:cubicBezTo>
                <a:lnTo>
                  <a:pt x="2659327" y="2432772"/>
                </a:lnTo>
                <a:lnTo>
                  <a:pt x="2659327" y="2387889"/>
                </a:lnTo>
                <a:lnTo>
                  <a:pt x="2659327" y="2387603"/>
                </a:lnTo>
                <a:close/>
                <a:moveTo>
                  <a:pt x="715001" y="2382742"/>
                </a:moveTo>
                <a:lnTo>
                  <a:pt x="653534" y="2445924"/>
                </a:lnTo>
                <a:cubicBezTo>
                  <a:pt x="592069" y="2509105"/>
                  <a:pt x="593498" y="2610308"/>
                  <a:pt x="656680" y="2671775"/>
                </a:cubicBezTo>
                <a:lnTo>
                  <a:pt x="751309" y="2764117"/>
                </a:lnTo>
                <a:lnTo>
                  <a:pt x="803054" y="2710942"/>
                </a:lnTo>
                <a:cubicBezTo>
                  <a:pt x="869952" y="2642042"/>
                  <a:pt x="868522" y="2531975"/>
                  <a:pt x="799624" y="2465078"/>
                </a:cubicBezTo>
                <a:close/>
                <a:moveTo>
                  <a:pt x="4129935" y="2379311"/>
                </a:moveTo>
                <a:lnTo>
                  <a:pt x="4129935" y="2514536"/>
                </a:lnTo>
                <a:lnTo>
                  <a:pt x="4270306" y="2514822"/>
                </a:lnTo>
                <a:lnTo>
                  <a:pt x="4270878" y="2618028"/>
                </a:lnTo>
                <a:lnTo>
                  <a:pt x="4130507" y="2617741"/>
                </a:lnTo>
                <a:lnTo>
                  <a:pt x="4130507" y="2752395"/>
                </a:lnTo>
                <a:lnTo>
                  <a:pt x="4034449" y="2752681"/>
                </a:lnTo>
                <a:lnTo>
                  <a:pt x="4034449" y="2618028"/>
                </a:lnTo>
                <a:lnTo>
                  <a:pt x="3897794" y="2618599"/>
                </a:lnTo>
                <a:lnTo>
                  <a:pt x="3897222" y="2515394"/>
                </a:lnTo>
                <a:lnTo>
                  <a:pt x="4033877" y="2515108"/>
                </a:lnTo>
                <a:lnTo>
                  <a:pt x="4033877" y="2379597"/>
                </a:lnTo>
                <a:close/>
                <a:moveTo>
                  <a:pt x="1424861" y="2366732"/>
                </a:moveTo>
                <a:lnTo>
                  <a:pt x="1306789" y="2487949"/>
                </a:lnTo>
                <a:lnTo>
                  <a:pt x="1185858" y="2370163"/>
                </a:lnTo>
                <a:lnTo>
                  <a:pt x="1055779" y="2503386"/>
                </a:lnTo>
                <a:lnTo>
                  <a:pt x="1176997" y="2621173"/>
                </a:lnTo>
                <a:lnTo>
                  <a:pt x="1059210" y="2742389"/>
                </a:lnTo>
                <a:lnTo>
                  <a:pt x="1192434" y="2871896"/>
                </a:lnTo>
                <a:lnTo>
                  <a:pt x="1310506" y="2750680"/>
                </a:lnTo>
                <a:lnTo>
                  <a:pt x="1431723" y="2868466"/>
                </a:lnTo>
                <a:lnTo>
                  <a:pt x="1561516" y="2735242"/>
                </a:lnTo>
                <a:lnTo>
                  <a:pt x="1440299" y="2617456"/>
                </a:lnTo>
                <a:lnTo>
                  <a:pt x="1558085" y="2496239"/>
                </a:lnTo>
                <a:close/>
                <a:moveTo>
                  <a:pt x="4009004" y="2357869"/>
                </a:moveTo>
                <a:lnTo>
                  <a:pt x="4009004" y="2494524"/>
                </a:lnTo>
                <a:lnTo>
                  <a:pt x="3872349" y="2494524"/>
                </a:lnTo>
                <a:lnTo>
                  <a:pt x="3872349" y="2644615"/>
                </a:lnTo>
                <a:lnTo>
                  <a:pt x="4009004" y="2644615"/>
                </a:lnTo>
                <a:lnTo>
                  <a:pt x="4009004" y="2781270"/>
                </a:lnTo>
                <a:lnTo>
                  <a:pt x="4159095" y="2781270"/>
                </a:lnTo>
                <a:lnTo>
                  <a:pt x="4159095" y="2644615"/>
                </a:lnTo>
                <a:lnTo>
                  <a:pt x="4295750" y="2644615"/>
                </a:lnTo>
                <a:lnTo>
                  <a:pt x="4295750" y="2494524"/>
                </a:lnTo>
                <a:lnTo>
                  <a:pt x="4159095" y="2494524"/>
                </a:lnTo>
                <a:lnTo>
                  <a:pt x="4159095" y="2357869"/>
                </a:lnTo>
                <a:close/>
                <a:moveTo>
                  <a:pt x="5596542" y="2307554"/>
                </a:moveTo>
                <a:lnTo>
                  <a:pt x="5570813" y="2349294"/>
                </a:lnTo>
                <a:cubicBezTo>
                  <a:pt x="5545082" y="2391033"/>
                  <a:pt x="5558233" y="2445637"/>
                  <a:pt x="5600259" y="2471082"/>
                </a:cubicBezTo>
                <a:lnTo>
                  <a:pt x="5662869" y="2509677"/>
                </a:lnTo>
                <a:lnTo>
                  <a:pt x="5684309" y="2474512"/>
                </a:lnTo>
                <a:cubicBezTo>
                  <a:pt x="5712041" y="2429342"/>
                  <a:pt x="5698032" y="2369877"/>
                  <a:pt x="5652576" y="2341861"/>
                </a:cubicBezTo>
                <a:close/>
                <a:moveTo>
                  <a:pt x="2566127" y="2280394"/>
                </a:moveTo>
                <a:cubicBezTo>
                  <a:pt x="2553548" y="2280394"/>
                  <a:pt x="2543542" y="2290687"/>
                  <a:pt x="2543542" y="2302980"/>
                </a:cubicBezTo>
                <a:cubicBezTo>
                  <a:pt x="2543542" y="2315559"/>
                  <a:pt x="2553548" y="2325565"/>
                  <a:pt x="2566127" y="2325565"/>
                </a:cubicBezTo>
                <a:lnTo>
                  <a:pt x="2659327" y="2325565"/>
                </a:lnTo>
                <a:lnTo>
                  <a:pt x="2659327" y="2280680"/>
                </a:lnTo>
                <a:lnTo>
                  <a:pt x="2659327" y="2280394"/>
                </a:lnTo>
                <a:close/>
                <a:moveTo>
                  <a:pt x="3123323" y="2240942"/>
                </a:moveTo>
                <a:cubicBezTo>
                  <a:pt x="2980093" y="2240656"/>
                  <a:pt x="2863451" y="2357012"/>
                  <a:pt x="2863165" y="2500814"/>
                </a:cubicBezTo>
                <a:lnTo>
                  <a:pt x="2862593" y="2752110"/>
                </a:lnTo>
                <a:lnTo>
                  <a:pt x="2903189" y="2752110"/>
                </a:lnTo>
                <a:lnTo>
                  <a:pt x="2903761" y="2541410"/>
                </a:lnTo>
                <a:cubicBezTo>
                  <a:pt x="2904333" y="2397609"/>
                  <a:pt x="3020689" y="2281252"/>
                  <a:pt x="3163919" y="2281538"/>
                </a:cubicBezTo>
                <a:cubicBezTo>
                  <a:pt x="3224813" y="2281824"/>
                  <a:pt x="3281133" y="2303265"/>
                  <a:pt x="3325160" y="2339001"/>
                </a:cubicBezTo>
                <a:cubicBezTo>
                  <a:pt x="3277989" y="2279537"/>
                  <a:pt x="3205087" y="2241227"/>
                  <a:pt x="3123323" y="2240942"/>
                </a:cubicBezTo>
                <a:close/>
                <a:moveTo>
                  <a:pt x="3130470" y="2189482"/>
                </a:moveTo>
                <a:cubicBezTo>
                  <a:pt x="3304290" y="2190054"/>
                  <a:pt x="3444947" y="2331282"/>
                  <a:pt x="3444375" y="2504245"/>
                </a:cubicBezTo>
                <a:lnTo>
                  <a:pt x="3443518" y="2773837"/>
                </a:lnTo>
                <a:lnTo>
                  <a:pt x="3442660" y="3077164"/>
                </a:lnTo>
                <a:cubicBezTo>
                  <a:pt x="3442088" y="3249840"/>
                  <a:pt x="3301145" y="3390212"/>
                  <a:pt x="3128469" y="3390212"/>
                </a:cubicBezTo>
                <a:lnTo>
                  <a:pt x="3127611" y="3390212"/>
                </a:lnTo>
                <a:cubicBezTo>
                  <a:pt x="3043846" y="3389926"/>
                  <a:pt x="2964941" y="3357048"/>
                  <a:pt x="2905762" y="3297584"/>
                </a:cubicBezTo>
                <a:cubicBezTo>
                  <a:pt x="2846869" y="3238405"/>
                  <a:pt x="2814278" y="3159214"/>
                  <a:pt x="2814564" y="3075449"/>
                </a:cubicBezTo>
                <a:lnTo>
                  <a:pt x="2815421" y="2805856"/>
                </a:lnTo>
                <a:lnTo>
                  <a:pt x="2815421" y="2772693"/>
                </a:lnTo>
                <a:lnTo>
                  <a:pt x="2815421" y="2772122"/>
                </a:lnTo>
                <a:lnTo>
                  <a:pt x="2816279" y="2502529"/>
                </a:lnTo>
                <a:cubicBezTo>
                  <a:pt x="2816851" y="2329853"/>
                  <a:pt x="2957794" y="2189482"/>
                  <a:pt x="3130470" y="2189482"/>
                </a:cubicBezTo>
                <a:close/>
                <a:moveTo>
                  <a:pt x="5964765" y="2175187"/>
                </a:moveTo>
                <a:lnTo>
                  <a:pt x="6015081" y="2206635"/>
                </a:lnTo>
                <a:lnTo>
                  <a:pt x="5970197" y="2277820"/>
                </a:lnTo>
                <a:lnTo>
                  <a:pt x="6043671" y="2324134"/>
                </a:lnTo>
                <a:lnTo>
                  <a:pt x="6009935" y="2378454"/>
                </a:lnTo>
                <a:lnTo>
                  <a:pt x="5936463" y="2331854"/>
                </a:lnTo>
                <a:lnTo>
                  <a:pt x="5891864" y="2402183"/>
                </a:lnTo>
                <a:lnTo>
                  <a:pt x="5841261" y="2370449"/>
                </a:lnTo>
                <a:lnTo>
                  <a:pt x="5886147" y="2300120"/>
                </a:lnTo>
                <a:lnTo>
                  <a:pt x="5814388" y="2254950"/>
                </a:lnTo>
                <a:lnTo>
                  <a:pt x="5848123" y="2200918"/>
                </a:lnTo>
                <a:lnTo>
                  <a:pt x="5919881" y="2246087"/>
                </a:lnTo>
                <a:close/>
                <a:moveTo>
                  <a:pt x="2566127" y="2173472"/>
                </a:moveTo>
                <a:cubicBezTo>
                  <a:pt x="2553548" y="2173472"/>
                  <a:pt x="2543542" y="2183764"/>
                  <a:pt x="2543542" y="2196058"/>
                </a:cubicBezTo>
                <a:cubicBezTo>
                  <a:pt x="2543542" y="2208637"/>
                  <a:pt x="2553548" y="2218643"/>
                  <a:pt x="2566127" y="2218357"/>
                </a:cubicBezTo>
                <a:lnTo>
                  <a:pt x="2659327" y="2218357"/>
                </a:lnTo>
                <a:lnTo>
                  <a:pt x="2659327" y="2173472"/>
                </a:lnTo>
                <a:close/>
                <a:moveTo>
                  <a:pt x="4325196" y="2172043"/>
                </a:moveTo>
                <a:lnTo>
                  <a:pt x="4325196" y="2231792"/>
                </a:lnTo>
                <a:cubicBezTo>
                  <a:pt x="4325196" y="2309268"/>
                  <a:pt x="4388092" y="2372164"/>
                  <a:pt x="4465568" y="2372164"/>
                </a:cubicBezTo>
                <a:lnTo>
                  <a:pt x="4561054" y="2372164"/>
                </a:lnTo>
                <a:lnTo>
                  <a:pt x="4561054" y="2300978"/>
                </a:lnTo>
                <a:cubicBezTo>
                  <a:pt x="4561054" y="2229792"/>
                  <a:pt x="4503304" y="2171757"/>
                  <a:pt x="4432119" y="2172043"/>
                </a:cubicBezTo>
                <a:close/>
                <a:moveTo>
                  <a:pt x="3735981" y="2171757"/>
                </a:moveTo>
                <a:cubicBezTo>
                  <a:pt x="3664508" y="2171757"/>
                  <a:pt x="3606759" y="2229792"/>
                  <a:pt x="3607046" y="2300692"/>
                </a:cubicBezTo>
                <a:lnTo>
                  <a:pt x="3607046" y="2407614"/>
                </a:lnTo>
                <a:lnTo>
                  <a:pt x="3666796" y="2407614"/>
                </a:lnTo>
                <a:cubicBezTo>
                  <a:pt x="3744272" y="2407614"/>
                  <a:pt x="3807167" y="2344719"/>
                  <a:pt x="3807167" y="2267243"/>
                </a:cubicBezTo>
                <a:lnTo>
                  <a:pt x="3807167" y="2171757"/>
                </a:lnTo>
                <a:close/>
                <a:moveTo>
                  <a:pt x="5961335" y="2137450"/>
                </a:moveTo>
                <a:lnTo>
                  <a:pt x="5912162" y="2217498"/>
                </a:lnTo>
                <a:lnTo>
                  <a:pt x="5832114" y="2168326"/>
                </a:lnTo>
                <a:lnTo>
                  <a:pt x="5778081" y="2256379"/>
                </a:lnTo>
                <a:lnTo>
                  <a:pt x="5858129" y="2305553"/>
                </a:lnTo>
                <a:lnTo>
                  <a:pt x="5808957" y="2385602"/>
                </a:lnTo>
                <a:lnTo>
                  <a:pt x="5897010" y="2439634"/>
                </a:lnTo>
                <a:lnTo>
                  <a:pt x="5946469" y="2359585"/>
                </a:lnTo>
                <a:lnTo>
                  <a:pt x="6026231" y="2408758"/>
                </a:lnTo>
                <a:lnTo>
                  <a:pt x="6080265" y="2320705"/>
                </a:lnTo>
                <a:lnTo>
                  <a:pt x="6000215" y="2271532"/>
                </a:lnTo>
                <a:lnTo>
                  <a:pt x="6049389" y="2191484"/>
                </a:lnTo>
                <a:close/>
                <a:moveTo>
                  <a:pt x="4000427" y="2085418"/>
                </a:moveTo>
                <a:cubicBezTo>
                  <a:pt x="3957829" y="2085418"/>
                  <a:pt x="3921236" y="2111720"/>
                  <a:pt x="3906084" y="2149171"/>
                </a:cubicBezTo>
                <a:lnTo>
                  <a:pt x="4267447" y="2149171"/>
                </a:lnTo>
                <a:cubicBezTo>
                  <a:pt x="4252581" y="2112006"/>
                  <a:pt x="4215987" y="2085418"/>
                  <a:pt x="4173390" y="2085418"/>
                </a:cubicBezTo>
                <a:close/>
                <a:moveTo>
                  <a:pt x="1549548" y="2083229"/>
                </a:moveTo>
                <a:cubicBezTo>
                  <a:pt x="1537394" y="2084757"/>
                  <a:pt x="1525422" y="2088062"/>
                  <a:pt x="1514058" y="2093137"/>
                </a:cubicBezTo>
                <a:lnTo>
                  <a:pt x="1834539" y="2405042"/>
                </a:lnTo>
                <a:cubicBezTo>
                  <a:pt x="1853407" y="2359014"/>
                  <a:pt x="1843973" y="2304122"/>
                  <a:pt x="1805950" y="2267243"/>
                </a:cubicBezTo>
                <a:lnTo>
                  <a:pt x="1652428" y="2117724"/>
                </a:lnTo>
                <a:cubicBezTo>
                  <a:pt x="1624126" y="2090064"/>
                  <a:pt x="1586013" y="2078646"/>
                  <a:pt x="1549548" y="2083229"/>
                </a:cubicBezTo>
                <a:close/>
                <a:moveTo>
                  <a:pt x="6195477" y="2067408"/>
                </a:moveTo>
                <a:lnTo>
                  <a:pt x="6174036" y="2102572"/>
                </a:lnTo>
                <a:cubicBezTo>
                  <a:pt x="6146019" y="2148029"/>
                  <a:pt x="6160027" y="2207493"/>
                  <a:pt x="6205484" y="2235510"/>
                </a:cubicBezTo>
                <a:lnTo>
                  <a:pt x="6261517" y="2269816"/>
                </a:lnTo>
                <a:lnTo>
                  <a:pt x="6287248" y="2228077"/>
                </a:lnTo>
                <a:cubicBezTo>
                  <a:pt x="6312977" y="2186338"/>
                  <a:pt x="6299827" y="2131732"/>
                  <a:pt x="6258087" y="2106002"/>
                </a:cubicBezTo>
                <a:close/>
                <a:moveTo>
                  <a:pt x="4000427" y="2038533"/>
                </a:moveTo>
                <a:lnTo>
                  <a:pt x="4173390" y="2038533"/>
                </a:lnTo>
                <a:cubicBezTo>
                  <a:pt x="4242289" y="2038533"/>
                  <a:pt x="4300039" y="2085704"/>
                  <a:pt x="4316906" y="2149171"/>
                </a:cubicBezTo>
                <a:lnTo>
                  <a:pt x="4432119" y="2149171"/>
                </a:lnTo>
                <a:cubicBezTo>
                  <a:pt x="4515598" y="2149171"/>
                  <a:pt x="4583926" y="2217212"/>
                  <a:pt x="4583926" y="2300978"/>
                </a:cubicBezTo>
                <a:lnTo>
                  <a:pt x="4583926" y="2838161"/>
                </a:lnTo>
                <a:cubicBezTo>
                  <a:pt x="4583926" y="2921927"/>
                  <a:pt x="4515598" y="2989968"/>
                  <a:pt x="4432119" y="2989968"/>
                </a:cubicBezTo>
                <a:lnTo>
                  <a:pt x="3735981" y="2989968"/>
                </a:lnTo>
                <a:cubicBezTo>
                  <a:pt x="3652215" y="2989968"/>
                  <a:pt x="3584174" y="2921927"/>
                  <a:pt x="3584174" y="2838161"/>
                </a:cubicBezTo>
                <a:lnTo>
                  <a:pt x="3584174" y="2300978"/>
                </a:lnTo>
                <a:cubicBezTo>
                  <a:pt x="3584174" y="2217212"/>
                  <a:pt x="3652215" y="2149171"/>
                  <a:pt x="3735981" y="2149171"/>
                </a:cubicBezTo>
                <a:lnTo>
                  <a:pt x="3856912" y="2149171"/>
                </a:lnTo>
                <a:cubicBezTo>
                  <a:pt x="3873779" y="2085704"/>
                  <a:pt x="3931528" y="2038533"/>
                  <a:pt x="4000427" y="2038533"/>
                </a:cubicBezTo>
                <a:close/>
                <a:moveTo>
                  <a:pt x="5748920" y="2029956"/>
                </a:moveTo>
                <a:cubicBezTo>
                  <a:pt x="5721761" y="2025096"/>
                  <a:pt x="5693172" y="2037104"/>
                  <a:pt x="5677733" y="2061976"/>
                </a:cubicBezTo>
                <a:lnTo>
                  <a:pt x="5615411" y="2163180"/>
                </a:lnTo>
                <a:cubicBezTo>
                  <a:pt x="5599973" y="2188052"/>
                  <a:pt x="5602260" y="2219215"/>
                  <a:pt x="5618841" y="2241514"/>
                </a:cubicBezTo>
                <a:close/>
                <a:moveTo>
                  <a:pt x="2807416" y="1947335"/>
                </a:moveTo>
                <a:cubicBezTo>
                  <a:pt x="2807416" y="1969920"/>
                  <a:pt x="2807416" y="1991362"/>
                  <a:pt x="2807416" y="2010802"/>
                </a:cubicBezTo>
                <a:cubicBezTo>
                  <a:pt x="2807416" y="2060261"/>
                  <a:pt x="2847726" y="2100571"/>
                  <a:pt x="2897185" y="2100571"/>
                </a:cubicBezTo>
                <a:lnTo>
                  <a:pt x="3459527" y="2100571"/>
                </a:lnTo>
                <a:cubicBezTo>
                  <a:pt x="3508986" y="2100571"/>
                  <a:pt x="3549010" y="2060261"/>
                  <a:pt x="3549010" y="2010802"/>
                </a:cubicBezTo>
                <a:cubicBezTo>
                  <a:pt x="3549010" y="1991362"/>
                  <a:pt x="3549010" y="1969920"/>
                  <a:pt x="3549010" y="1947335"/>
                </a:cubicBezTo>
                <a:close/>
                <a:moveTo>
                  <a:pt x="1229600" y="1920997"/>
                </a:moveTo>
                <a:cubicBezTo>
                  <a:pt x="1188646" y="1921533"/>
                  <a:pt x="1147835" y="1937614"/>
                  <a:pt x="1116960" y="1969062"/>
                </a:cubicBezTo>
                <a:lnTo>
                  <a:pt x="1024617" y="2063977"/>
                </a:lnTo>
                <a:lnTo>
                  <a:pt x="1077793" y="2115722"/>
                </a:lnTo>
                <a:cubicBezTo>
                  <a:pt x="1146692" y="2182620"/>
                  <a:pt x="1256758" y="2181191"/>
                  <a:pt x="1323657" y="2112292"/>
                </a:cubicBezTo>
                <a:lnTo>
                  <a:pt x="1406278" y="2027669"/>
                </a:lnTo>
                <a:lnTo>
                  <a:pt x="1343097" y="1966203"/>
                </a:lnTo>
                <a:cubicBezTo>
                  <a:pt x="1311650" y="1935470"/>
                  <a:pt x="1270553" y="1920461"/>
                  <a:pt x="1229600" y="1920997"/>
                </a:cubicBezTo>
                <a:close/>
                <a:moveTo>
                  <a:pt x="5884866" y="1900269"/>
                </a:moveTo>
                <a:cubicBezTo>
                  <a:pt x="5859531" y="1903796"/>
                  <a:pt x="5835973" y="1918139"/>
                  <a:pt x="5821822" y="1941618"/>
                </a:cubicBezTo>
                <a:lnTo>
                  <a:pt x="5783227" y="2004226"/>
                </a:lnTo>
                <a:lnTo>
                  <a:pt x="5818105" y="2025668"/>
                </a:lnTo>
                <a:cubicBezTo>
                  <a:pt x="5863561" y="2053400"/>
                  <a:pt x="5923025" y="2039391"/>
                  <a:pt x="5951043" y="1993934"/>
                </a:cubicBezTo>
                <a:lnTo>
                  <a:pt x="5985351" y="1938186"/>
                </a:lnTo>
                <a:lnTo>
                  <a:pt x="5943610" y="1912457"/>
                </a:lnTo>
                <a:cubicBezTo>
                  <a:pt x="5933175" y="1906095"/>
                  <a:pt x="5921918" y="1902128"/>
                  <a:pt x="5910509" y="1900409"/>
                </a:cubicBezTo>
                <a:cubicBezTo>
                  <a:pt x="5901953" y="1899119"/>
                  <a:pt x="5893311" y="1899093"/>
                  <a:pt x="5884866" y="1900269"/>
                </a:cubicBezTo>
                <a:close/>
                <a:moveTo>
                  <a:pt x="5174531" y="1893544"/>
                </a:moveTo>
                <a:cubicBezTo>
                  <a:pt x="5139710" y="1890765"/>
                  <a:pt x="5103885" y="1894517"/>
                  <a:pt x="5068792" y="1905596"/>
                </a:cubicBezTo>
                <a:lnTo>
                  <a:pt x="5075939" y="1923892"/>
                </a:lnTo>
                <a:cubicBezTo>
                  <a:pt x="5209735" y="1893588"/>
                  <a:pt x="5348962" y="1965632"/>
                  <a:pt x="5398993" y="2097712"/>
                </a:cubicBezTo>
                <a:cubicBezTo>
                  <a:pt x="5429297" y="2177760"/>
                  <a:pt x="5420149" y="2263241"/>
                  <a:pt x="5381554" y="2332712"/>
                </a:cubicBezTo>
                <a:cubicBezTo>
                  <a:pt x="5432728" y="2259811"/>
                  <a:pt x="5448165" y="2163466"/>
                  <a:pt x="5413859" y="2073412"/>
                </a:cubicBezTo>
                <a:cubicBezTo>
                  <a:pt x="5374408" y="1968991"/>
                  <a:pt x="5278992" y="1901879"/>
                  <a:pt x="5174531" y="1893544"/>
                </a:cubicBezTo>
                <a:close/>
                <a:moveTo>
                  <a:pt x="5005038" y="1893016"/>
                </a:moveTo>
                <a:lnTo>
                  <a:pt x="5234321" y="2499384"/>
                </a:lnTo>
                <a:cubicBezTo>
                  <a:pt x="5071079" y="2550844"/>
                  <a:pt x="4894400" y="2466221"/>
                  <a:pt x="4833220" y="2304408"/>
                </a:cubicBezTo>
                <a:cubicBezTo>
                  <a:pt x="4772040" y="2142596"/>
                  <a:pt x="4848658" y="1962486"/>
                  <a:pt x="5005038" y="1893016"/>
                </a:cubicBezTo>
                <a:close/>
                <a:moveTo>
                  <a:pt x="1228885" y="1892766"/>
                </a:moveTo>
                <a:cubicBezTo>
                  <a:pt x="1276986" y="1892086"/>
                  <a:pt x="1325373" y="1909740"/>
                  <a:pt x="1362538" y="1945905"/>
                </a:cubicBezTo>
                <a:lnTo>
                  <a:pt x="1470031" y="2050540"/>
                </a:lnTo>
                <a:cubicBezTo>
                  <a:pt x="1539788" y="2008800"/>
                  <a:pt x="1631558" y="2016806"/>
                  <a:pt x="1692738" y="2076270"/>
                </a:cubicBezTo>
                <a:lnTo>
                  <a:pt x="1846260" y="2225790"/>
                </a:lnTo>
                <a:cubicBezTo>
                  <a:pt x="1907154" y="2285254"/>
                  <a:pt x="1918018" y="2376738"/>
                  <a:pt x="1877993" y="2447638"/>
                </a:cubicBezTo>
                <a:lnTo>
                  <a:pt x="1980342" y="2547127"/>
                </a:lnTo>
                <a:cubicBezTo>
                  <a:pt x="2054672" y="2619171"/>
                  <a:pt x="2056388" y="2738386"/>
                  <a:pt x="1984058" y="2812432"/>
                </a:cubicBezTo>
                <a:lnTo>
                  <a:pt x="1969027" y="2827870"/>
                </a:lnTo>
                <a:lnTo>
                  <a:pt x="2263657" y="2827870"/>
                </a:lnTo>
                <a:cubicBezTo>
                  <a:pt x="2272520" y="2827870"/>
                  <a:pt x="2279667" y="2835017"/>
                  <a:pt x="2279667" y="2843880"/>
                </a:cubicBezTo>
                <a:lnTo>
                  <a:pt x="2279667" y="2992541"/>
                </a:lnTo>
                <a:lnTo>
                  <a:pt x="2267660" y="2992541"/>
                </a:lnTo>
                <a:cubicBezTo>
                  <a:pt x="2268517" y="3014555"/>
                  <a:pt x="2274235" y="3061440"/>
                  <a:pt x="2303682" y="3085169"/>
                </a:cubicBezTo>
                <a:cubicBezTo>
                  <a:pt x="2346279" y="3119190"/>
                  <a:pt x="2372866" y="3174081"/>
                  <a:pt x="2376583" y="3235546"/>
                </a:cubicBezTo>
                <a:cubicBezTo>
                  <a:pt x="2376869" y="3236976"/>
                  <a:pt x="2377155" y="3359050"/>
                  <a:pt x="2377155" y="3597195"/>
                </a:cubicBezTo>
                <a:cubicBezTo>
                  <a:pt x="2377155" y="3640649"/>
                  <a:pt x="2341705" y="3676100"/>
                  <a:pt x="2298250" y="3676100"/>
                </a:cubicBezTo>
                <a:lnTo>
                  <a:pt x="1921735" y="3676100"/>
                </a:lnTo>
                <a:cubicBezTo>
                  <a:pt x="1878280" y="3676100"/>
                  <a:pt x="1842830" y="3640649"/>
                  <a:pt x="1842830" y="3597195"/>
                </a:cubicBezTo>
                <a:cubicBezTo>
                  <a:pt x="1842830" y="3360193"/>
                  <a:pt x="1843116" y="3239263"/>
                  <a:pt x="1843116" y="3237833"/>
                </a:cubicBezTo>
                <a:cubicBezTo>
                  <a:pt x="1845974" y="3173222"/>
                  <a:pt x="1870561" y="3121763"/>
                  <a:pt x="1916303" y="3085169"/>
                </a:cubicBezTo>
                <a:cubicBezTo>
                  <a:pt x="1946035" y="3061440"/>
                  <a:pt x="1951468" y="3014269"/>
                  <a:pt x="1952611" y="2992541"/>
                </a:cubicBezTo>
                <a:lnTo>
                  <a:pt x="1940318" y="2992541"/>
                </a:lnTo>
                <a:lnTo>
                  <a:pt x="1940318" y="2857358"/>
                </a:lnTo>
                <a:lnTo>
                  <a:pt x="1520062" y="3289007"/>
                </a:lnTo>
                <a:cubicBezTo>
                  <a:pt x="1448018" y="3363338"/>
                  <a:pt x="1328803" y="3365053"/>
                  <a:pt x="1254471" y="3292724"/>
                </a:cubicBezTo>
                <a:lnTo>
                  <a:pt x="636954" y="2691787"/>
                </a:lnTo>
                <a:cubicBezTo>
                  <a:pt x="562622" y="2619743"/>
                  <a:pt x="560907" y="2500528"/>
                  <a:pt x="633236" y="2426197"/>
                </a:cubicBezTo>
                <a:lnTo>
                  <a:pt x="1096947" y="1949622"/>
                </a:lnTo>
                <a:cubicBezTo>
                  <a:pt x="1132969" y="1912456"/>
                  <a:pt x="1180784" y="1893445"/>
                  <a:pt x="1228885" y="1892766"/>
                </a:cubicBezTo>
                <a:close/>
                <a:moveTo>
                  <a:pt x="5882779" y="1884768"/>
                </a:moveTo>
                <a:cubicBezTo>
                  <a:pt x="5892719" y="1883387"/>
                  <a:pt x="5902885" y="1883424"/>
                  <a:pt x="5912949" y="1884963"/>
                </a:cubicBezTo>
                <a:cubicBezTo>
                  <a:pt x="5926367" y="1887013"/>
                  <a:pt x="5939607" y="1891730"/>
                  <a:pt x="5951901" y="1899306"/>
                </a:cubicBezTo>
                <a:lnTo>
                  <a:pt x="6266663" y="2092852"/>
                </a:lnTo>
                <a:cubicBezTo>
                  <a:pt x="6315551" y="2122870"/>
                  <a:pt x="6330989" y="2187481"/>
                  <a:pt x="6300685" y="2236367"/>
                </a:cubicBezTo>
                <a:lnTo>
                  <a:pt x="6049960" y="2644044"/>
                </a:lnTo>
                <a:cubicBezTo>
                  <a:pt x="6019941" y="2692930"/>
                  <a:pt x="5955332" y="2708083"/>
                  <a:pt x="5906445" y="2678064"/>
                </a:cubicBezTo>
                <a:lnTo>
                  <a:pt x="5591682" y="2484518"/>
                </a:lnTo>
                <a:cubicBezTo>
                  <a:pt x="5542509" y="2454500"/>
                  <a:pt x="5527357" y="2389889"/>
                  <a:pt x="5557375" y="2341002"/>
                </a:cubicBezTo>
                <a:lnTo>
                  <a:pt x="5601116" y="2270103"/>
                </a:lnTo>
                <a:cubicBezTo>
                  <a:pt x="5569954" y="2237512"/>
                  <a:pt x="5563093" y="2186624"/>
                  <a:pt x="5587966" y="2146313"/>
                </a:cubicBezTo>
                <a:lnTo>
                  <a:pt x="5650289" y="2044823"/>
                </a:lnTo>
                <a:cubicBezTo>
                  <a:pt x="5674875" y="2004799"/>
                  <a:pt x="5723477" y="1987646"/>
                  <a:pt x="5766645" y="2000796"/>
                </a:cubicBezTo>
                <a:lnTo>
                  <a:pt x="5808099" y="1933326"/>
                </a:lnTo>
                <a:cubicBezTo>
                  <a:pt x="5825145" y="1905827"/>
                  <a:pt x="5852956" y="1888912"/>
                  <a:pt x="5882779" y="1884768"/>
                </a:cubicBezTo>
                <a:close/>
                <a:moveTo>
                  <a:pt x="5162569" y="1865580"/>
                </a:moveTo>
                <a:cubicBezTo>
                  <a:pt x="5283995" y="1875255"/>
                  <a:pt x="5394848" y="1953195"/>
                  <a:pt x="5440733" y="2074555"/>
                </a:cubicBezTo>
                <a:cubicBezTo>
                  <a:pt x="5501912" y="2236653"/>
                  <a:pt x="5425295" y="2416763"/>
                  <a:pt x="5268913" y="2485948"/>
                </a:cubicBezTo>
                <a:lnTo>
                  <a:pt x="5039632" y="1879579"/>
                </a:lnTo>
                <a:cubicBezTo>
                  <a:pt x="5080442" y="1866714"/>
                  <a:pt x="5122093" y="1862355"/>
                  <a:pt x="5162569" y="1865580"/>
                </a:cubicBezTo>
                <a:close/>
                <a:moveTo>
                  <a:pt x="759601" y="1705474"/>
                </a:moveTo>
                <a:lnTo>
                  <a:pt x="721577" y="1712621"/>
                </a:lnTo>
                <a:cubicBezTo>
                  <a:pt x="726438" y="1720054"/>
                  <a:pt x="731869" y="1727487"/>
                  <a:pt x="737873" y="1734348"/>
                </a:cubicBezTo>
                <a:cubicBezTo>
                  <a:pt x="809916" y="1814397"/>
                  <a:pt x="837934" y="1887013"/>
                  <a:pt x="819352" y="1944191"/>
                </a:cubicBezTo>
                <a:cubicBezTo>
                  <a:pt x="800483" y="2001654"/>
                  <a:pt x="734443" y="2043966"/>
                  <a:pt x="632667" y="2063120"/>
                </a:cubicBezTo>
                <a:cubicBezTo>
                  <a:pt x="480002" y="2091995"/>
                  <a:pt x="436547" y="2010516"/>
                  <a:pt x="383372" y="1873290"/>
                </a:cubicBezTo>
                <a:cubicBezTo>
                  <a:pt x="360788" y="1814969"/>
                  <a:pt x="337630" y="1755505"/>
                  <a:pt x="297320" y="1716052"/>
                </a:cubicBezTo>
                <a:cubicBezTo>
                  <a:pt x="291887" y="1726629"/>
                  <a:pt x="284739" y="1736350"/>
                  <a:pt x="276164" y="1744640"/>
                </a:cubicBezTo>
                <a:cubicBezTo>
                  <a:pt x="309041" y="1778375"/>
                  <a:pt x="329339" y="1829835"/>
                  <a:pt x="351067" y="1886155"/>
                </a:cubicBezTo>
                <a:cubicBezTo>
                  <a:pt x="396237" y="2002512"/>
                  <a:pt x="447126" y="2134306"/>
                  <a:pt x="639528" y="2097998"/>
                </a:cubicBezTo>
                <a:cubicBezTo>
                  <a:pt x="754169" y="2076271"/>
                  <a:pt x="829928" y="2025668"/>
                  <a:pt x="852801" y="1955340"/>
                </a:cubicBezTo>
                <a:cubicBezTo>
                  <a:pt x="868810" y="1906167"/>
                  <a:pt x="866237" y="1824117"/>
                  <a:pt x="763602" y="1710619"/>
                </a:cubicBezTo>
                <a:cubicBezTo>
                  <a:pt x="762174" y="1708905"/>
                  <a:pt x="760744" y="1707189"/>
                  <a:pt x="759601" y="1705474"/>
                </a:cubicBezTo>
                <a:close/>
                <a:moveTo>
                  <a:pt x="1248183" y="1639719"/>
                </a:moveTo>
                <a:lnTo>
                  <a:pt x="1235031" y="1643150"/>
                </a:lnTo>
                <a:lnTo>
                  <a:pt x="1233317" y="1645151"/>
                </a:lnTo>
                <a:lnTo>
                  <a:pt x="1232744" y="1643722"/>
                </a:lnTo>
                <a:lnTo>
                  <a:pt x="1225597" y="1645723"/>
                </a:lnTo>
                <a:lnTo>
                  <a:pt x="1226169" y="1658017"/>
                </a:lnTo>
                <a:cubicBezTo>
                  <a:pt x="1226169" y="1664306"/>
                  <a:pt x="1231029" y="1669166"/>
                  <a:pt x="1237034" y="1669166"/>
                </a:cubicBezTo>
                <a:cubicBezTo>
                  <a:pt x="1243037" y="1669166"/>
                  <a:pt x="1247898" y="1664306"/>
                  <a:pt x="1247611" y="1658588"/>
                </a:cubicBezTo>
                <a:close/>
                <a:moveTo>
                  <a:pt x="3207945" y="1630571"/>
                </a:moveTo>
                <a:lnTo>
                  <a:pt x="3208231" y="1718053"/>
                </a:lnTo>
                <a:lnTo>
                  <a:pt x="3299144" y="1718053"/>
                </a:lnTo>
                <a:lnTo>
                  <a:pt x="3299716" y="1784664"/>
                </a:lnTo>
                <a:lnTo>
                  <a:pt x="3208517" y="1784664"/>
                </a:lnTo>
                <a:lnTo>
                  <a:pt x="3208803" y="1871574"/>
                </a:lnTo>
                <a:lnTo>
                  <a:pt x="3146194" y="1871860"/>
                </a:lnTo>
                <a:lnTo>
                  <a:pt x="3146194" y="1784950"/>
                </a:lnTo>
                <a:lnTo>
                  <a:pt x="3057282" y="1785521"/>
                </a:lnTo>
                <a:lnTo>
                  <a:pt x="3056711" y="1718910"/>
                </a:lnTo>
                <a:lnTo>
                  <a:pt x="3145621" y="1718339"/>
                </a:lnTo>
                <a:lnTo>
                  <a:pt x="3145336" y="1630857"/>
                </a:lnTo>
                <a:close/>
                <a:moveTo>
                  <a:pt x="2001497" y="1615705"/>
                </a:moveTo>
                <a:lnTo>
                  <a:pt x="2173030" y="1615705"/>
                </a:lnTo>
                <a:cubicBezTo>
                  <a:pt x="2129004" y="1681459"/>
                  <a:pt x="2062105" y="1752931"/>
                  <a:pt x="1966619" y="1827548"/>
                </a:cubicBezTo>
                <a:close/>
                <a:moveTo>
                  <a:pt x="3125895" y="1604270"/>
                </a:moveTo>
                <a:lnTo>
                  <a:pt x="3125895" y="1699185"/>
                </a:lnTo>
                <a:lnTo>
                  <a:pt x="3030981" y="1699185"/>
                </a:lnTo>
                <a:lnTo>
                  <a:pt x="3030981" y="1803534"/>
                </a:lnTo>
                <a:lnTo>
                  <a:pt x="3125895" y="1803534"/>
                </a:lnTo>
                <a:lnTo>
                  <a:pt x="3125895" y="1898448"/>
                </a:lnTo>
                <a:lnTo>
                  <a:pt x="3230530" y="1898448"/>
                </a:lnTo>
                <a:lnTo>
                  <a:pt x="3230530" y="1803534"/>
                </a:lnTo>
                <a:lnTo>
                  <a:pt x="3325445" y="1803534"/>
                </a:lnTo>
                <a:lnTo>
                  <a:pt x="3325445" y="1699185"/>
                </a:lnTo>
                <a:lnTo>
                  <a:pt x="3230530" y="1699185"/>
                </a:lnTo>
                <a:lnTo>
                  <a:pt x="3230530" y="1604270"/>
                </a:lnTo>
                <a:close/>
                <a:moveTo>
                  <a:pt x="1234460" y="1516215"/>
                </a:moveTo>
                <a:cubicBezTo>
                  <a:pt x="1229314" y="1520790"/>
                  <a:pt x="1225025" y="1526222"/>
                  <a:pt x="1222168" y="1532797"/>
                </a:cubicBezTo>
                <a:lnTo>
                  <a:pt x="1224454" y="1602554"/>
                </a:lnTo>
                <a:cubicBezTo>
                  <a:pt x="1228742" y="1615705"/>
                  <a:pt x="1233317" y="1625997"/>
                  <a:pt x="1235604" y="1630285"/>
                </a:cubicBezTo>
                <a:lnTo>
                  <a:pt x="1246467" y="1618278"/>
                </a:lnTo>
                <a:cubicBezTo>
                  <a:pt x="1246753" y="1617991"/>
                  <a:pt x="1247898" y="1616849"/>
                  <a:pt x="1249326" y="1615133"/>
                </a:cubicBezTo>
                <a:lnTo>
                  <a:pt x="1252185" y="1525936"/>
                </a:lnTo>
                <a:cubicBezTo>
                  <a:pt x="1251900" y="1525936"/>
                  <a:pt x="1251613" y="1525650"/>
                  <a:pt x="1251327" y="1525650"/>
                </a:cubicBezTo>
                <a:cubicBezTo>
                  <a:pt x="1245610" y="1522505"/>
                  <a:pt x="1239891" y="1519360"/>
                  <a:pt x="1234460" y="1516215"/>
                </a:cubicBezTo>
                <a:close/>
                <a:moveTo>
                  <a:pt x="4126504" y="1487626"/>
                </a:moveTo>
                <a:cubicBezTo>
                  <a:pt x="4117927" y="1498491"/>
                  <a:pt x="4107921" y="1507925"/>
                  <a:pt x="4096200" y="1515644"/>
                </a:cubicBezTo>
                <a:cubicBezTo>
                  <a:pt x="4126504" y="1560815"/>
                  <a:pt x="4138226" y="1623996"/>
                  <a:pt x="4151091" y="1692609"/>
                </a:cubicBezTo>
                <a:cubicBezTo>
                  <a:pt x="4177392" y="1834981"/>
                  <a:pt x="4207410" y="1995936"/>
                  <a:pt x="4434120" y="1995936"/>
                </a:cubicBezTo>
                <a:cubicBezTo>
                  <a:pt x="4569059" y="1995936"/>
                  <a:pt x="4666262" y="1954482"/>
                  <a:pt x="4707429" y="1879294"/>
                </a:cubicBezTo>
                <a:cubicBezTo>
                  <a:pt x="4736304" y="1827262"/>
                  <a:pt x="4750884" y="1732919"/>
                  <a:pt x="4658542" y="1581112"/>
                </a:cubicBezTo>
                <a:cubicBezTo>
                  <a:pt x="4657398" y="1579111"/>
                  <a:pt x="4656255" y="1576824"/>
                  <a:pt x="4655112" y="1574537"/>
                </a:cubicBezTo>
                <a:lnTo>
                  <a:pt x="4610227" y="1574537"/>
                </a:lnTo>
                <a:cubicBezTo>
                  <a:pt x="4614229" y="1584257"/>
                  <a:pt x="4618518" y="1593691"/>
                  <a:pt x="4624235" y="1602840"/>
                </a:cubicBezTo>
                <a:cubicBezTo>
                  <a:pt x="4689132" y="1709476"/>
                  <a:pt x="4705714" y="1798101"/>
                  <a:pt x="4671979" y="1859282"/>
                </a:cubicBezTo>
                <a:cubicBezTo>
                  <a:pt x="4638244" y="1921033"/>
                  <a:pt x="4553621" y="1954768"/>
                  <a:pt x="4433834" y="1954768"/>
                </a:cubicBezTo>
                <a:cubicBezTo>
                  <a:pt x="4254011" y="1954768"/>
                  <a:pt x="4221990" y="1852992"/>
                  <a:pt x="4190829" y="1685176"/>
                </a:cubicBezTo>
                <a:cubicBezTo>
                  <a:pt x="4177678" y="1613704"/>
                  <a:pt x="4163955" y="1541089"/>
                  <a:pt x="4126504" y="1487626"/>
                </a:cubicBezTo>
                <a:close/>
                <a:moveTo>
                  <a:pt x="1678158" y="1471617"/>
                </a:moveTo>
                <a:lnTo>
                  <a:pt x="1725615" y="1796671"/>
                </a:lnTo>
                <a:cubicBezTo>
                  <a:pt x="1726187" y="1801818"/>
                  <a:pt x="1730761" y="1805248"/>
                  <a:pt x="1736765" y="1805248"/>
                </a:cubicBezTo>
                <a:cubicBezTo>
                  <a:pt x="1742483" y="1805248"/>
                  <a:pt x="1747343" y="1801818"/>
                  <a:pt x="1748200" y="1796958"/>
                </a:cubicBezTo>
                <a:lnTo>
                  <a:pt x="1777075" y="1660589"/>
                </a:lnTo>
                <a:lnTo>
                  <a:pt x="1779362" y="1680887"/>
                </a:lnTo>
                <a:cubicBezTo>
                  <a:pt x="1779934" y="1686891"/>
                  <a:pt x="1785365" y="1691465"/>
                  <a:pt x="1791370" y="1691465"/>
                </a:cubicBezTo>
                <a:cubicBezTo>
                  <a:pt x="1796516" y="1691465"/>
                  <a:pt x="1800804" y="1688320"/>
                  <a:pt x="1802519" y="1683745"/>
                </a:cubicBezTo>
                <a:lnTo>
                  <a:pt x="1871990" y="1491629"/>
                </a:lnTo>
                <a:lnTo>
                  <a:pt x="1926881" y="1857566"/>
                </a:lnTo>
                <a:cubicBezTo>
                  <a:pt x="1900865" y="1876435"/>
                  <a:pt x="1873133" y="1895589"/>
                  <a:pt x="1843401" y="1915030"/>
                </a:cubicBezTo>
                <a:cubicBezTo>
                  <a:pt x="1678729" y="1808393"/>
                  <a:pt x="1574382" y="1706617"/>
                  <a:pt x="1513487" y="1615418"/>
                </a:cubicBezTo>
                <a:lnTo>
                  <a:pt x="1621553" y="1615418"/>
                </a:lnTo>
                <a:cubicBezTo>
                  <a:pt x="1626985" y="1615418"/>
                  <a:pt x="1631559" y="1612274"/>
                  <a:pt x="1632988" y="1607414"/>
                </a:cubicBezTo>
                <a:close/>
                <a:moveTo>
                  <a:pt x="6065685" y="1429878"/>
                </a:moveTo>
                <a:cubicBezTo>
                  <a:pt x="6063111" y="1445030"/>
                  <a:pt x="6060539" y="1459038"/>
                  <a:pt x="6058537" y="1471903"/>
                </a:cubicBezTo>
                <a:cubicBezTo>
                  <a:pt x="6053105" y="1504494"/>
                  <a:pt x="6075119" y="1535656"/>
                  <a:pt x="6107710" y="1541089"/>
                </a:cubicBezTo>
                <a:lnTo>
                  <a:pt x="6478793" y="1603983"/>
                </a:lnTo>
                <a:cubicBezTo>
                  <a:pt x="6511385" y="1609701"/>
                  <a:pt x="6542545" y="1587402"/>
                  <a:pt x="6548263" y="1554810"/>
                </a:cubicBezTo>
                <a:cubicBezTo>
                  <a:pt x="6550551" y="1541946"/>
                  <a:pt x="6552837" y="1527651"/>
                  <a:pt x="6555411" y="1512785"/>
                </a:cubicBezTo>
                <a:close/>
                <a:moveTo>
                  <a:pt x="1230744" y="1380704"/>
                </a:moveTo>
                <a:cubicBezTo>
                  <a:pt x="1229314" y="1383277"/>
                  <a:pt x="1228458" y="1386137"/>
                  <a:pt x="1228458" y="1388710"/>
                </a:cubicBezTo>
                <a:lnTo>
                  <a:pt x="1228170" y="1391283"/>
                </a:lnTo>
                <a:cubicBezTo>
                  <a:pt x="1227884" y="1391568"/>
                  <a:pt x="1225312" y="1404719"/>
                  <a:pt x="1240464" y="1425303"/>
                </a:cubicBezTo>
                <a:cubicBezTo>
                  <a:pt x="1247611" y="1405004"/>
                  <a:pt x="1238750" y="1389853"/>
                  <a:pt x="1230744" y="1380704"/>
                </a:cubicBezTo>
                <a:close/>
                <a:moveTo>
                  <a:pt x="1228743" y="1349543"/>
                </a:moveTo>
                <a:lnTo>
                  <a:pt x="1236462" y="1355261"/>
                </a:lnTo>
                <a:cubicBezTo>
                  <a:pt x="1241893" y="1359263"/>
                  <a:pt x="1288493" y="1397000"/>
                  <a:pt x="1252471" y="1452177"/>
                </a:cubicBezTo>
                <a:lnTo>
                  <a:pt x="1244753" y="1464184"/>
                </a:lnTo>
                <a:lnTo>
                  <a:pt x="1234746" y="1453892"/>
                </a:lnTo>
                <a:cubicBezTo>
                  <a:pt x="1200725" y="1419013"/>
                  <a:pt x="1204442" y="1392140"/>
                  <a:pt x="1205585" y="1386994"/>
                </a:cubicBezTo>
                <a:cubicBezTo>
                  <a:pt x="1205585" y="1376703"/>
                  <a:pt x="1211304" y="1366124"/>
                  <a:pt x="1221881" y="1356118"/>
                </a:cubicBezTo>
                <a:close/>
                <a:moveTo>
                  <a:pt x="2324265" y="1325529"/>
                </a:moveTo>
                <a:cubicBezTo>
                  <a:pt x="2305683" y="1325529"/>
                  <a:pt x="2289673" y="1341824"/>
                  <a:pt x="2289673" y="1360121"/>
                </a:cubicBezTo>
                <a:cubicBezTo>
                  <a:pt x="2289959" y="1379276"/>
                  <a:pt x="2305111" y="1394713"/>
                  <a:pt x="2324265" y="1394713"/>
                </a:cubicBezTo>
                <a:lnTo>
                  <a:pt x="2461492" y="1394713"/>
                </a:lnTo>
                <a:lnTo>
                  <a:pt x="2461492" y="1676027"/>
                </a:lnTo>
                <a:lnTo>
                  <a:pt x="2408888" y="1676027"/>
                </a:lnTo>
                <a:cubicBezTo>
                  <a:pt x="2394880" y="1676027"/>
                  <a:pt x="2381443" y="1679172"/>
                  <a:pt x="2369150" y="1685747"/>
                </a:cubicBezTo>
                <a:cubicBezTo>
                  <a:pt x="2341133" y="1700327"/>
                  <a:pt x="2323408" y="1729488"/>
                  <a:pt x="2323408" y="1761222"/>
                </a:cubicBezTo>
                <a:lnTo>
                  <a:pt x="2323408" y="2120297"/>
                </a:lnTo>
                <a:lnTo>
                  <a:pt x="2658754" y="2120297"/>
                </a:lnTo>
                <a:lnTo>
                  <a:pt x="2658754" y="2112864"/>
                </a:lnTo>
                <a:lnTo>
                  <a:pt x="2565555" y="2112864"/>
                </a:lnTo>
                <a:cubicBezTo>
                  <a:pt x="2552976" y="2113150"/>
                  <a:pt x="2542971" y="2102858"/>
                  <a:pt x="2542971" y="2090565"/>
                </a:cubicBezTo>
                <a:cubicBezTo>
                  <a:pt x="2542971" y="2077986"/>
                  <a:pt x="2552976" y="2067980"/>
                  <a:pt x="2565555" y="2067980"/>
                </a:cubicBezTo>
                <a:lnTo>
                  <a:pt x="2659041" y="2067980"/>
                </a:lnTo>
                <a:lnTo>
                  <a:pt x="2659041" y="2005656"/>
                </a:lnTo>
                <a:lnTo>
                  <a:pt x="2565841" y="2005656"/>
                </a:lnTo>
                <a:cubicBezTo>
                  <a:pt x="2553262" y="2005656"/>
                  <a:pt x="2543256" y="1995364"/>
                  <a:pt x="2543256" y="1983071"/>
                </a:cubicBezTo>
                <a:cubicBezTo>
                  <a:pt x="2543256" y="1970492"/>
                  <a:pt x="2553262" y="1960485"/>
                  <a:pt x="2565841" y="1960485"/>
                </a:cubicBezTo>
                <a:lnTo>
                  <a:pt x="2659327" y="1960485"/>
                </a:lnTo>
                <a:lnTo>
                  <a:pt x="2659327" y="1898448"/>
                </a:lnTo>
                <a:lnTo>
                  <a:pt x="2566127" y="1898448"/>
                </a:lnTo>
                <a:cubicBezTo>
                  <a:pt x="2553548" y="1898448"/>
                  <a:pt x="2543542" y="1888157"/>
                  <a:pt x="2543542" y="1875863"/>
                </a:cubicBezTo>
                <a:cubicBezTo>
                  <a:pt x="2543542" y="1863283"/>
                  <a:pt x="2553834" y="1853278"/>
                  <a:pt x="2566127" y="1853278"/>
                </a:cubicBezTo>
                <a:lnTo>
                  <a:pt x="2659613" y="1853278"/>
                </a:lnTo>
                <a:lnTo>
                  <a:pt x="2659613" y="1790954"/>
                </a:lnTo>
                <a:lnTo>
                  <a:pt x="2566127" y="1790954"/>
                </a:lnTo>
                <a:cubicBezTo>
                  <a:pt x="2553548" y="1790954"/>
                  <a:pt x="2543542" y="1780948"/>
                  <a:pt x="2543542" y="1768369"/>
                </a:cubicBezTo>
                <a:cubicBezTo>
                  <a:pt x="2543542" y="1755790"/>
                  <a:pt x="2553834" y="1745784"/>
                  <a:pt x="2566127" y="1745784"/>
                </a:cubicBezTo>
                <a:lnTo>
                  <a:pt x="2657897" y="1745784"/>
                </a:lnTo>
                <a:cubicBezTo>
                  <a:pt x="2654753" y="1729202"/>
                  <a:pt x="2646747" y="1713765"/>
                  <a:pt x="2634454" y="1701472"/>
                </a:cubicBezTo>
                <a:cubicBezTo>
                  <a:pt x="2618445" y="1685176"/>
                  <a:pt x="2597003" y="1676313"/>
                  <a:pt x="2574132" y="1676313"/>
                </a:cubicBezTo>
                <a:lnTo>
                  <a:pt x="2521814" y="1676313"/>
                </a:lnTo>
                <a:lnTo>
                  <a:pt x="2521814" y="1394713"/>
                </a:lnTo>
                <a:lnTo>
                  <a:pt x="2659041" y="1394713"/>
                </a:lnTo>
                <a:cubicBezTo>
                  <a:pt x="2664759" y="1394713"/>
                  <a:pt x="2670190" y="1393284"/>
                  <a:pt x="2675050" y="1390710"/>
                </a:cubicBezTo>
                <a:cubicBezTo>
                  <a:pt x="2686486" y="1384707"/>
                  <a:pt x="2693633" y="1372986"/>
                  <a:pt x="2693633" y="1360121"/>
                </a:cubicBezTo>
                <a:cubicBezTo>
                  <a:pt x="2693633" y="1340967"/>
                  <a:pt x="2678195" y="1325529"/>
                  <a:pt x="2659041" y="1325529"/>
                </a:cubicBezTo>
                <a:close/>
                <a:moveTo>
                  <a:pt x="3671656" y="1316381"/>
                </a:moveTo>
                <a:lnTo>
                  <a:pt x="3659649" y="1319526"/>
                </a:lnTo>
                <a:lnTo>
                  <a:pt x="3658220" y="1321241"/>
                </a:lnTo>
                <a:lnTo>
                  <a:pt x="3657648" y="1320097"/>
                </a:lnTo>
                <a:lnTo>
                  <a:pt x="3650787" y="1321813"/>
                </a:lnTo>
                <a:lnTo>
                  <a:pt x="3651073" y="1333249"/>
                </a:lnTo>
                <a:cubicBezTo>
                  <a:pt x="3651073" y="1338966"/>
                  <a:pt x="3655647" y="1343540"/>
                  <a:pt x="3661079" y="1343540"/>
                </a:cubicBezTo>
                <a:cubicBezTo>
                  <a:pt x="3666796" y="1343540"/>
                  <a:pt x="3671085" y="1338966"/>
                  <a:pt x="3671085" y="1333820"/>
                </a:cubicBezTo>
                <a:close/>
                <a:moveTo>
                  <a:pt x="5094906" y="1289930"/>
                </a:moveTo>
                <a:cubicBezTo>
                  <a:pt x="5067773" y="1287755"/>
                  <a:pt x="5039846" y="1290649"/>
                  <a:pt x="5012472" y="1299226"/>
                </a:cubicBezTo>
                <a:lnTo>
                  <a:pt x="5017904" y="1313521"/>
                </a:lnTo>
                <a:cubicBezTo>
                  <a:pt x="5122253" y="1289792"/>
                  <a:pt x="5230604" y="1345826"/>
                  <a:pt x="5269485" y="1448745"/>
                </a:cubicBezTo>
                <a:cubicBezTo>
                  <a:pt x="5293214" y="1511355"/>
                  <a:pt x="5286067" y="1577967"/>
                  <a:pt x="5255763" y="1632000"/>
                </a:cubicBezTo>
                <a:cubicBezTo>
                  <a:pt x="5295787" y="1574823"/>
                  <a:pt x="5307794" y="1499920"/>
                  <a:pt x="5281207" y="1429878"/>
                </a:cubicBezTo>
                <a:cubicBezTo>
                  <a:pt x="5250546" y="1348613"/>
                  <a:pt x="5176304" y="1296457"/>
                  <a:pt x="5094906" y="1289930"/>
                </a:cubicBezTo>
                <a:close/>
                <a:moveTo>
                  <a:pt x="4962442" y="1289221"/>
                </a:moveTo>
                <a:lnTo>
                  <a:pt x="5140835" y="1761507"/>
                </a:lnTo>
                <a:cubicBezTo>
                  <a:pt x="5013901" y="1801533"/>
                  <a:pt x="4876388" y="1735778"/>
                  <a:pt x="4828646" y="1609702"/>
                </a:cubicBezTo>
                <a:cubicBezTo>
                  <a:pt x="4780902" y="1483625"/>
                  <a:pt x="4840653" y="1343254"/>
                  <a:pt x="4962442" y="1289221"/>
                </a:cubicBezTo>
                <a:close/>
                <a:moveTo>
                  <a:pt x="2324838" y="1286934"/>
                </a:moveTo>
                <a:lnTo>
                  <a:pt x="2659613" y="1286934"/>
                </a:lnTo>
                <a:cubicBezTo>
                  <a:pt x="2699637" y="1286934"/>
                  <a:pt x="2732228" y="1319525"/>
                  <a:pt x="2732228" y="1359549"/>
                </a:cubicBezTo>
                <a:cubicBezTo>
                  <a:pt x="2732228" y="1386708"/>
                  <a:pt x="2717076" y="1411295"/>
                  <a:pt x="2693062" y="1423874"/>
                </a:cubicBezTo>
                <a:cubicBezTo>
                  <a:pt x="2682769" y="1429305"/>
                  <a:pt x="2671048" y="1432165"/>
                  <a:pt x="2659327" y="1432165"/>
                </a:cubicBezTo>
                <a:lnTo>
                  <a:pt x="2560124" y="1432165"/>
                </a:lnTo>
                <a:lnTo>
                  <a:pt x="2560124" y="1637432"/>
                </a:lnTo>
                <a:lnTo>
                  <a:pt x="2574418" y="1637432"/>
                </a:lnTo>
                <a:cubicBezTo>
                  <a:pt x="2607295" y="1637432"/>
                  <a:pt x="2638457" y="1650011"/>
                  <a:pt x="2661614" y="1673454"/>
                </a:cubicBezTo>
                <a:cubicBezTo>
                  <a:pt x="2685056" y="1696611"/>
                  <a:pt x="2697922" y="1727773"/>
                  <a:pt x="2697922" y="1760650"/>
                </a:cubicBezTo>
                <a:lnTo>
                  <a:pt x="2697635" y="2549129"/>
                </a:lnTo>
                <a:cubicBezTo>
                  <a:pt x="2697635" y="2625747"/>
                  <a:pt x="2655324" y="2695503"/>
                  <a:pt x="2587569" y="2731239"/>
                </a:cubicBezTo>
                <a:cubicBezTo>
                  <a:pt x="2562697" y="2744391"/>
                  <a:pt x="2534965" y="2751824"/>
                  <a:pt x="2506948" y="2753825"/>
                </a:cubicBezTo>
                <a:lnTo>
                  <a:pt x="2506948" y="3062584"/>
                </a:lnTo>
                <a:lnTo>
                  <a:pt x="2475501" y="3119761"/>
                </a:lnTo>
                <a:lnTo>
                  <a:pt x="2475501" y="2754111"/>
                </a:lnTo>
                <a:cubicBezTo>
                  <a:pt x="2376297" y="2746106"/>
                  <a:pt x="2296534" y="2667487"/>
                  <a:pt x="2288530" y="2568284"/>
                </a:cubicBezTo>
                <a:lnTo>
                  <a:pt x="2287672" y="2568284"/>
                </a:lnTo>
                <a:lnTo>
                  <a:pt x="2286243" y="2549415"/>
                </a:lnTo>
                <a:lnTo>
                  <a:pt x="2286243" y="1760935"/>
                </a:lnTo>
                <a:cubicBezTo>
                  <a:pt x="2286243" y="1714622"/>
                  <a:pt x="2311400" y="1672883"/>
                  <a:pt x="2352283" y="1651441"/>
                </a:cubicBezTo>
                <a:cubicBezTo>
                  <a:pt x="2370007" y="1642292"/>
                  <a:pt x="2389734" y="1637432"/>
                  <a:pt x="2409746" y="1637432"/>
                </a:cubicBezTo>
                <a:lnTo>
                  <a:pt x="2424041" y="1637432"/>
                </a:lnTo>
                <a:lnTo>
                  <a:pt x="2424041" y="1432165"/>
                </a:lnTo>
                <a:lnTo>
                  <a:pt x="2324838" y="1432165"/>
                </a:lnTo>
                <a:cubicBezTo>
                  <a:pt x="2284813" y="1432165"/>
                  <a:pt x="2252222" y="1399573"/>
                  <a:pt x="2252222" y="1359549"/>
                </a:cubicBezTo>
                <a:cubicBezTo>
                  <a:pt x="2252222" y="1332389"/>
                  <a:pt x="2267088" y="1307803"/>
                  <a:pt x="2291103" y="1295224"/>
                </a:cubicBezTo>
                <a:cubicBezTo>
                  <a:pt x="2301395" y="1289792"/>
                  <a:pt x="2313116" y="1286934"/>
                  <a:pt x="2324838" y="1286934"/>
                </a:cubicBezTo>
                <a:close/>
                <a:moveTo>
                  <a:pt x="5085218" y="1268033"/>
                </a:moveTo>
                <a:cubicBezTo>
                  <a:pt x="5179681" y="1275551"/>
                  <a:pt x="5265984" y="1336177"/>
                  <a:pt x="5301791" y="1430735"/>
                </a:cubicBezTo>
                <a:cubicBezTo>
                  <a:pt x="5349534" y="1556811"/>
                  <a:pt x="5289784" y="1697182"/>
                  <a:pt x="5168281" y="1751215"/>
                </a:cubicBezTo>
                <a:lnTo>
                  <a:pt x="4989601" y="1278928"/>
                </a:lnTo>
                <a:cubicBezTo>
                  <a:pt x="5021335" y="1268922"/>
                  <a:pt x="5053729" y="1265527"/>
                  <a:pt x="5085218" y="1268033"/>
                </a:cubicBezTo>
                <a:close/>
                <a:moveTo>
                  <a:pt x="6325269" y="1258630"/>
                </a:moveTo>
                <a:lnTo>
                  <a:pt x="6365867" y="1265206"/>
                </a:lnTo>
                <a:lnTo>
                  <a:pt x="6356431" y="1322669"/>
                </a:lnTo>
                <a:lnTo>
                  <a:pt x="6415611" y="1332389"/>
                </a:lnTo>
                <a:lnTo>
                  <a:pt x="6408749" y="1376130"/>
                </a:lnTo>
                <a:lnTo>
                  <a:pt x="6349571" y="1366123"/>
                </a:lnTo>
                <a:lnTo>
                  <a:pt x="6339851" y="1423016"/>
                </a:lnTo>
                <a:lnTo>
                  <a:pt x="6299254" y="1416440"/>
                </a:lnTo>
                <a:lnTo>
                  <a:pt x="6308689" y="1359549"/>
                </a:lnTo>
                <a:lnTo>
                  <a:pt x="6250939" y="1350114"/>
                </a:lnTo>
                <a:lnTo>
                  <a:pt x="6257801" y="1306374"/>
                </a:lnTo>
                <a:lnTo>
                  <a:pt x="6315836" y="1315808"/>
                </a:lnTo>
                <a:close/>
                <a:moveTo>
                  <a:pt x="6314121" y="1239190"/>
                </a:moveTo>
                <a:lnTo>
                  <a:pt x="6303543" y="1301800"/>
                </a:lnTo>
                <a:lnTo>
                  <a:pt x="6240934" y="1291221"/>
                </a:lnTo>
                <a:lnTo>
                  <a:pt x="6229212" y="1360121"/>
                </a:lnTo>
                <a:lnTo>
                  <a:pt x="6291822" y="1370698"/>
                </a:lnTo>
                <a:lnTo>
                  <a:pt x="6281243" y="1433308"/>
                </a:lnTo>
                <a:lnTo>
                  <a:pt x="6350143" y="1445030"/>
                </a:lnTo>
                <a:lnTo>
                  <a:pt x="6360721" y="1382420"/>
                </a:lnTo>
                <a:lnTo>
                  <a:pt x="6423330" y="1392997"/>
                </a:lnTo>
                <a:lnTo>
                  <a:pt x="6435052" y="1324099"/>
                </a:lnTo>
                <a:lnTo>
                  <a:pt x="6372442" y="1313521"/>
                </a:lnTo>
                <a:lnTo>
                  <a:pt x="6383021" y="1250912"/>
                </a:lnTo>
                <a:close/>
                <a:moveTo>
                  <a:pt x="1623087" y="1223728"/>
                </a:moveTo>
                <a:cubicBezTo>
                  <a:pt x="1705153" y="1220884"/>
                  <a:pt x="1794658" y="1270495"/>
                  <a:pt x="1843116" y="1390139"/>
                </a:cubicBezTo>
                <a:cubicBezTo>
                  <a:pt x="1972337" y="1071088"/>
                  <a:pt x="2393451" y="1250054"/>
                  <a:pt x="2187039" y="1593691"/>
                </a:cubicBezTo>
                <a:lnTo>
                  <a:pt x="1991492" y="1593691"/>
                </a:lnTo>
                <a:cubicBezTo>
                  <a:pt x="1986346" y="1593691"/>
                  <a:pt x="1980628" y="1597122"/>
                  <a:pt x="1979770" y="1602268"/>
                </a:cubicBezTo>
                <a:lnTo>
                  <a:pt x="1944321" y="1816969"/>
                </a:lnTo>
                <a:lnTo>
                  <a:pt x="1887714" y="1442171"/>
                </a:lnTo>
                <a:cubicBezTo>
                  <a:pt x="1887143" y="1437025"/>
                  <a:pt x="1882854" y="1433593"/>
                  <a:pt x="1877137" y="1433593"/>
                </a:cubicBezTo>
                <a:cubicBezTo>
                  <a:pt x="1871705" y="1433593"/>
                  <a:pt x="1866845" y="1436738"/>
                  <a:pt x="1865129" y="1441312"/>
                </a:cubicBezTo>
                <a:lnTo>
                  <a:pt x="1797088" y="1629141"/>
                </a:lnTo>
                <a:lnTo>
                  <a:pt x="1792514" y="1585686"/>
                </a:lnTo>
                <a:cubicBezTo>
                  <a:pt x="1791942" y="1579111"/>
                  <a:pt x="1785366" y="1575108"/>
                  <a:pt x="1779649" y="1575108"/>
                </a:cubicBezTo>
                <a:cubicBezTo>
                  <a:pt x="1774503" y="1575108"/>
                  <a:pt x="1770500" y="1578253"/>
                  <a:pt x="1769357" y="1583399"/>
                </a:cubicBezTo>
                <a:lnTo>
                  <a:pt x="1738767" y="1727773"/>
                </a:lnTo>
                <a:lnTo>
                  <a:pt x="1693882" y="1419013"/>
                </a:lnTo>
                <a:cubicBezTo>
                  <a:pt x="1693310" y="1413867"/>
                  <a:pt x="1689022" y="1410437"/>
                  <a:pt x="1683304" y="1410437"/>
                </a:cubicBezTo>
                <a:cubicBezTo>
                  <a:pt x="1677587" y="1410437"/>
                  <a:pt x="1672727" y="1413582"/>
                  <a:pt x="1671011" y="1418156"/>
                </a:cubicBezTo>
                <a:lnTo>
                  <a:pt x="1612692" y="1593691"/>
                </a:lnTo>
                <a:lnTo>
                  <a:pt x="1499193" y="1593691"/>
                </a:lnTo>
                <a:cubicBezTo>
                  <a:pt x="1370187" y="1378918"/>
                  <a:pt x="1486306" y="1228469"/>
                  <a:pt x="1623087" y="1223728"/>
                </a:cubicBezTo>
                <a:close/>
                <a:moveTo>
                  <a:pt x="3658792" y="1200882"/>
                </a:moveTo>
                <a:cubicBezTo>
                  <a:pt x="3653932" y="1204885"/>
                  <a:pt x="3650215" y="1210031"/>
                  <a:pt x="3647070" y="1216034"/>
                </a:cubicBezTo>
                <a:lnTo>
                  <a:pt x="3649071" y="1281216"/>
                </a:lnTo>
                <a:cubicBezTo>
                  <a:pt x="3653074" y="1293510"/>
                  <a:pt x="3657648" y="1303230"/>
                  <a:pt x="3659649" y="1307232"/>
                </a:cubicBezTo>
                <a:lnTo>
                  <a:pt x="3669941" y="1296082"/>
                </a:lnTo>
                <a:cubicBezTo>
                  <a:pt x="3670227" y="1295511"/>
                  <a:pt x="3671085" y="1294653"/>
                  <a:pt x="3672515" y="1292938"/>
                </a:cubicBezTo>
                <a:lnTo>
                  <a:pt x="3675087" y="1209745"/>
                </a:lnTo>
                <a:cubicBezTo>
                  <a:pt x="3674801" y="1209745"/>
                  <a:pt x="3674801" y="1209459"/>
                  <a:pt x="3674515" y="1209459"/>
                </a:cubicBezTo>
                <a:cubicBezTo>
                  <a:pt x="3669369" y="1206600"/>
                  <a:pt x="3663937" y="1203741"/>
                  <a:pt x="3658792" y="1200882"/>
                </a:cubicBezTo>
                <a:close/>
                <a:moveTo>
                  <a:pt x="1235890" y="1151423"/>
                </a:moveTo>
                <a:cubicBezTo>
                  <a:pt x="1223883" y="1165718"/>
                  <a:pt x="1219023" y="1180012"/>
                  <a:pt x="1221596" y="1193163"/>
                </a:cubicBezTo>
                <a:cubicBezTo>
                  <a:pt x="1226170" y="1218320"/>
                  <a:pt x="1257045" y="1236903"/>
                  <a:pt x="1267624" y="1242907"/>
                </a:cubicBezTo>
                <a:cubicBezTo>
                  <a:pt x="1280202" y="1232043"/>
                  <a:pt x="1286206" y="1220322"/>
                  <a:pt x="1285634" y="1207743"/>
                </a:cubicBezTo>
                <a:cubicBezTo>
                  <a:pt x="1284777" y="1187731"/>
                  <a:pt x="1267338" y="1168862"/>
                  <a:pt x="1251043" y="1159999"/>
                </a:cubicBezTo>
                <a:cubicBezTo>
                  <a:pt x="1248183" y="1158285"/>
                  <a:pt x="1244466" y="1155997"/>
                  <a:pt x="1239892" y="1153710"/>
                </a:cubicBezTo>
                <a:close/>
                <a:moveTo>
                  <a:pt x="402527" y="1145419"/>
                </a:moveTo>
                <a:cubicBezTo>
                  <a:pt x="397094" y="1149136"/>
                  <a:pt x="391091" y="1151709"/>
                  <a:pt x="384515" y="1152852"/>
                </a:cubicBezTo>
                <a:cubicBezTo>
                  <a:pt x="379083" y="1153710"/>
                  <a:pt x="373652" y="1153710"/>
                  <a:pt x="368506" y="1152852"/>
                </a:cubicBezTo>
                <a:cubicBezTo>
                  <a:pt x="388518" y="1228899"/>
                  <a:pt x="422538" y="1296654"/>
                  <a:pt x="464849" y="1350115"/>
                </a:cubicBezTo>
                <a:lnTo>
                  <a:pt x="503159" y="1342968"/>
                </a:lnTo>
                <a:cubicBezTo>
                  <a:pt x="459133" y="1292366"/>
                  <a:pt x="423396" y="1224038"/>
                  <a:pt x="402527" y="1145419"/>
                </a:cubicBezTo>
                <a:close/>
                <a:moveTo>
                  <a:pt x="1231316" y="1122834"/>
                </a:moveTo>
                <a:lnTo>
                  <a:pt x="1248469" y="1131982"/>
                </a:lnTo>
                <a:cubicBezTo>
                  <a:pt x="1254472" y="1135127"/>
                  <a:pt x="1259332" y="1137700"/>
                  <a:pt x="1262764" y="1140559"/>
                </a:cubicBezTo>
                <a:cubicBezTo>
                  <a:pt x="1284492" y="1153138"/>
                  <a:pt x="1307077" y="1178582"/>
                  <a:pt x="1308506" y="1207171"/>
                </a:cubicBezTo>
                <a:cubicBezTo>
                  <a:pt x="1309649" y="1229756"/>
                  <a:pt x="1298213" y="1249768"/>
                  <a:pt x="1274485" y="1266921"/>
                </a:cubicBezTo>
                <a:lnTo>
                  <a:pt x="1273341" y="1267779"/>
                </a:lnTo>
                <a:lnTo>
                  <a:pt x="1271054" y="1268065"/>
                </a:lnTo>
                <a:lnTo>
                  <a:pt x="1263907" y="1266921"/>
                </a:lnTo>
                <a:cubicBezTo>
                  <a:pt x="1258189" y="1264063"/>
                  <a:pt x="1207301" y="1240048"/>
                  <a:pt x="1199010" y="1197737"/>
                </a:cubicBezTo>
                <a:cubicBezTo>
                  <a:pt x="1194436" y="1174865"/>
                  <a:pt x="1203298" y="1151709"/>
                  <a:pt x="1225312" y="1129124"/>
                </a:cubicBezTo>
                <a:close/>
                <a:moveTo>
                  <a:pt x="2970944" y="1107397"/>
                </a:moveTo>
                <a:cubicBezTo>
                  <a:pt x="2969515" y="1143990"/>
                  <a:pt x="2960366" y="1224610"/>
                  <a:pt x="2906334" y="1267779"/>
                </a:cubicBezTo>
                <a:cubicBezTo>
                  <a:pt x="2843724" y="1317809"/>
                  <a:pt x="2811418" y="1385850"/>
                  <a:pt x="2807702" y="1475619"/>
                </a:cubicBezTo>
                <a:cubicBezTo>
                  <a:pt x="2807702" y="1477906"/>
                  <a:pt x="2807702" y="1508497"/>
                  <a:pt x="2807702" y="1554811"/>
                </a:cubicBezTo>
                <a:lnTo>
                  <a:pt x="3548725" y="1554811"/>
                </a:lnTo>
                <a:cubicBezTo>
                  <a:pt x="3548725" y="1506781"/>
                  <a:pt x="3548438" y="1475047"/>
                  <a:pt x="3548438" y="1471903"/>
                </a:cubicBezTo>
                <a:cubicBezTo>
                  <a:pt x="3543292" y="1388138"/>
                  <a:pt x="3507557" y="1313522"/>
                  <a:pt x="3450093" y="1267779"/>
                </a:cubicBezTo>
                <a:cubicBezTo>
                  <a:pt x="3396060" y="1224324"/>
                  <a:pt x="3386912" y="1143704"/>
                  <a:pt x="3385482" y="1107397"/>
                </a:cubicBezTo>
                <a:close/>
                <a:moveTo>
                  <a:pt x="3655074" y="1074519"/>
                </a:moveTo>
                <a:cubicBezTo>
                  <a:pt x="3653360" y="1077092"/>
                  <a:pt x="3652787" y="1079379"/>
                  <a:pt x="3652787" y="1081952"/>
                </a:cubicBezTo>
                <a:lnTo>
                  <a:pt x="3652501" y="1084239"/>
                </a:lnTo>
                <a:cubicBezTo>
                  <a:pt x="3652501" y="1084525"/>
                  <a:pt x="3649929" y="1096818"/>
                  <a:pt x="3664223" y="1115972"/>
                </a:cubicBezTo>
                <a:cubicBezTo>
                  <a:pt x="3671084" y="1097104"/>
                  <a:pt x="3662794" y="1082809"/>
                  <a:pt x="3655074" y="1074519"/>
                </a:cubicBezTo>
                <a:close/>
                <a:moveTo>
                  <a:pt x="896256" y="1045930"/>
                </a:moveTo>
                <a:cubicBezTo>
                  <a:pt x="906834" y="1129124"/>
                  <a:pt x="898542" y="1207743"/>
                  <a:pt x="875385" y="1272640"/>
                </a:cubicBezTo>
                <a:lnTo>
                  <a:pt x="913981" y="1265493"/>
                </a:lnTo>
                <a:cubicBezTo>
                  <a:pt x="933992" y="1201167"/>
                  <a:pt x="940854" y="1126837"/>
                  <a:pt x="931705" y="1048789"/>
                </a:cubicBezTo>
                <a:cubicBezTo>
                  <a:pt x="930562" y="1049074"/>
                  <a:pt x="929132" y="1049647"/>
                  <a:pt x="927703" y="1049933"/>
                </a:cubicBezTo>
                <a:cubicBezTo>
                  <a:pt x="916553" y="1052220"/>
                  <a:pt x="905689" y="1050504"/>
                  <a:pt x="896256" y="1045930"/>
                </a:cubicBezTo>
                <a:close/>
                <a:moveTo>
                  <a:pt x="3653360" y="1045358"/>
                </a:moveTo>
                <a:lnTo>
                  <a:pt x="3660507" y="1050790"/>
                </a:lnTo>
                <a:cubicBezTo>
                  <a:pt x="3665653" y="1054507"/>
                  <a:pt x="3709108" y="1089670"/>
                  <a:pt x="3675659" y="1141131"/>
                </a:cubicBezTo>
                <a:lnTo>
                  <a:pt x="3668511" y="1152280"/>
                </a:lnTo>
                <a:lnTo>
                  <a:pt x="3659077" y="1142560"/>
                </a:lnTo>
                <a:cubicBezTo>
                  <a:pt x="3627344" y="1109969"/>
                  <a:pt x="3630774" y="1084810"/>
                  <a:pt x="3631918" y="1080236"/>
                </a:cubicBezTo>
                <a:cubicBezTo>
                  <a:pt x="3631918" y="1070516"/>
                  <a:pt x="3637064" y="1060510"/>
                  <a:pt x="3647070" y="1051361"/>
                </a:cubicBezTo>
                <a:close/>
                <a:moveTo>
                  <a:pt x="1232173" y="912420"/>
                </a:moveTo>
                <a:cubicBezTo>
                  <a:pt x="1213019" y="926143"/>
                  <a:pt x="1203870" y="943581"/>
                  <a:pt x="1203870" y="965881"/>
                </a:cubicBezTo>
                <a:cubicBezTo>
                  <a:pt x="1203870" y="978746"/>
                  <a:pt x="1209588" y="990753"/>
                  <a:pt x="1222453" y="1003618"/>
                </a:cubicBezTo>
                <a:cubicBezTo>
                  <a:pt x="1251327" y="993041"/>
                  <a:pt x="1281918" y="971313"/>
                  <a:pt x="1282489" y="953016"/>
                </a:cubicBezTo>
                <a:cubicBezTo>
                  <a:pt x="1283061" y="939579"/>
                  <a:pt x="1266479" y="925857"/>
                  <a:pt x="1236177" y="914135"/>
                </a:cubicBezTo>
                <a:cubicBezTo>
                  <a:pt x="1234746" y="913564"/>
                  <a:pt x="1233603" y="912992"/>
                  <a:pt x="1232173" y="912420"/>
                </a:cubicBezTo>
                <a:close/>
                <a:moveTo>
                  <a:pt x="6267807" y="894124"/>
                </a:moveTo>
                <a:cubicBezTo>
                  <a:pt x="6262661" y="918138"/>
                  <a:pt x="6247795" y="970169"/>
                  <a:pt x="6207199" y="992754"/>
                </a:cubicBezTo>
                <a:cubicBezTo>
                  <a:pt x="6160027" y="1018770"/>
                  <a:pt x="6131153" y="1059938"/>
                  <a:pt x="6118573" y="1118831"/>
                </a:cubicBezTo>
                <a:cubicBezTo>
                  <a:pt x="6118287" y="1120261"/>
                  <a:pt x="6114857" y="1140558"/>
                  <a:pt x="6109711" y="1171149"/>
                </a:cubicBezTo>
                <a:lnTo>
                  <a:pt x="6598865" y="1254056"/>
                </a:lnTo>
                <a:cubicBezTo>
                  <a:pt x="6604297" y="1222323"/>
                  <a:pt x="6607728" y="1201167"/>
                  <a:pt x="6608014" y="1199166"/>
                </a:cubicBezTo>
                <a:cubicBezTo>
                  <a:pt x="6614017" y="1143132"/>
                  <a:pt x="6598865" y="1089957"/>
                  <a:pt x="6565989" y="1053362"/>
                </a:cubicBezTo>
                <a:cubicBezTo>
                  <a:pt x="6535399" y="1018770"/>
                  <a:pt x="6538257" y="964738"/>
                  <a:pt x="6541403" y="940437"/>
                </a:cubicBezTo>
                <a:close/>
                <a:moveTo>
                  <a:pt x="1230173" y="886976"/>
                </a:moveTo>
                <a:lnTo>
                  <a:pt x="1235604" y="889263"/>
                </a:lnTo>
                <a:cubicBezTo>
                  <a:pt x="1238463" y="890406"/>
                  <a:pt x="1241322" y="891550"/>
                  <a:pt x="1244466" y="892693"/>
                </a:cubicBezTo>
                <a:cubicBezTo>
                  <a:pt x="1285634" y="908704"/>
                  <a:pt x="1306504" y="929287"/>
                  <a:pt x="1305074" y="953588"/>
                </a:cubicBezTo>
                <a:cubicBezTo>
                  <a:pt x="1303931" y="989324"/>
                  <a:pt x="1255330" y="1017341"/>
                  <a:pt x="1222738" y="1027347"/>
                </a:cubicBezTo>
                <a:lnTo>
                  <a:pt x="1216736" y="1029348"/>
                </a:lnTo>
                <a:lnTo>
                  <a:pt x="1211875" y="1025060"/>
                </a:lnTo>
                <a:cubicBezTo>
                  <a:pt x="1190719" y="1005905"/>
                  <a:pt x="1181000" y="987037"/>
                  <a:pt x="1181000" y="965881"/>
                </a:cubicBezTo>
                <a:cubicBezTo>
                  <a:pt x="1181000" y="933575"/>
                  <a:pt x="1195579" y="908704"/>
                  <a:pt x="1225026" y="890120"/>
                </a:cubicBezTo>
                <a:close/>
                <a:moveTo>
                  <a:pt x="3399491" y="882688"/>
                </a:moveTo>
                <a:cubicBezTo>
                  <a:pt x="3392629" y="882688"/>
                  <a:pt x="3386912" y="887262"/>
                  <a:pt x="3386912" y="892980"/>
                </a:cubicBezTo>
                <a:lnTo>
                  <a:pt x="3386912" y="1081380"/>
                </a:lnTo>
                <a:cubicBezTo>
                  <a:pt x="3386912" y="1087098"/>
                  <a:pt x="3392629" y="1091672"/>
                  <a:pt x="3399491" y="1091672"/>
                </a:cubicBezTo>
                <a:cubicBezTo>
                  <a:pt x="3406638" y="1091672"/>
                  <a:pt x="3412069" y="1087098"/>
                  <a:pt x="3412069" y="1081380"/>
                </a:cubicBezTo>
                <a:lnTo>
                  <a:pt x="3412069" y="892980"/>
                </a:lnTo>
                <a:cubicBezTo>
                  <a:pt x="3412069" y="887262"/>
                  <a:pt x="3406352" y="882688"/>
                  <a:pt x="3399491" y="882688"/>
                </a:cubicBezTo>
                <a:close/>
                <a:moveTo>
                  <a:pt x="3354892" y="882688"/>
                </a:moveTo>
                <a:cubicBezTo>
                  <a:pt x="3348317" y="882688"/>
                  <a:pt x="3342599" y="887262"/>
                  <a:pt x="3342599" y="892980"/>
                </a:cubicBezTo>
                <a:lnTo>
                  <a:pt x="3342599" y="1081380"/>
                </a:lnTo>
                <a:cubicBezTo>
                  <a:pt x="3342599" y="1087098"/>
                  <a:pt x="3348031" y="1091672"/>
                  <a:pt x="3354892" y="1091672"/>
                </a:cubicBezTo>
                <a:cubicBezTo>
                  <a:pt x="3362040" y="1091672"/>
                  <a:pt x="3367471" y="1087098"/>
                  <a:pt x="3367471" y="1081380"/>
                </a:cubicBezTo>
                <a:lnTo>
                  <a:pt x="3367471" y="892980"/>
                </a:lnTo>
                <a:cubicBezTo>
                  <a:pt x="3367471" y="887262"/>
                  <a:pt x="3361753" y="882688"/>
                  <a:pt x="3354892" y="882688"/>
                </a:cubicBezTo>
                <a:close/>
                <a:moveTo>
                  <a:pt x="3310865" y="882688"/>
                </a:moveTo>
                <a:cubicBezTo>
                  <a:pt x="3304004" y="882688"/>
                  <a:pt x="3298286" y="887262"/>
                  <a:pt x="3298286" y="892980"/>
                </a:cubicBezTo>
                <a:lnTo>
                  <a:pt x="3298286" y="1081380"/>
                </a:lnTo>
                <a:cubicBezTo>
                  <a:pt x="3298286" y="1087098"/>
                  <a:pt x="3304004" y="1091672"/>
                  <a:pt x="3310865" y="1091672"/>
                </a:cubicBezTo>
                <a:cubicBezTo>
                  <a:pt x="3317726" y="1091672"/>
                  <a:pt x="3323445" y="1087098"/>
                  <a:pt x="3323445" y="1081380"/>
                </a:cubicBezTo>
                <a:lnTo>
                  <a:pt x="3323445" y="892980"/>
                </a:lnTo>
                <a:cubicBezTo>
                  <a:pt x="3323445" y="887262"/>
                  <a:pt x="3317726" y="882688"/>
                  <a:pt x="3310865" y="882688"/>
                </a:cubicBezTo>
                <a:close/>
                <a:moveTo>
                  <a:pt x="3266552" y="882688"/>
                </a:moveTo>
                <a:cubicBezTo>
                  <a:pt x="3259691" y="882688"/>
                  <a:pt x="3254259" y="887262"/>
                  <a:pt x="3254259" y="892980"/>
                </a:cubicBezTo>
                <a:lnTo>
                  <a:pt x="3254259" y="1081380"/>
                </a:lnTo>
                <a:cubicBezTo>
                  <a:pt x="3254259" y="1087098"/>
                  <a:pt x="3259691" y="1091672"/>
                  <a:pt x="3266552" y="1091672"/>
                </a:cubicBezTo>
                <a:cubicBezTo>
                  <a:pt x="3273414" y="1091672"/>
                  <a:pt x="3279131" y="1087098"/>
                  <a:pt x="3279131" y="1081380"/>
                </a:cubicBezTo>
                <a:lnTo>
                  <a:pt x="3279131" y="892980"/>
                </a:lnTo>
                <a:cubicBezTo>
                  <a:pt x="3279131" y="887262"/>
                  <a:pt x="3273414" y="882688"/>
                  <a:pt x="3266552" y="882688"/>
                </a:cubicBezTo>
                <a:close/>
                <a:moveTo>
                  <a:pt x="3222240" y="882688"/>
                </a:moveTo>
                <a:cubicBezTo>
                  <a:pt x="3215664" y="882688"/>
                  <a:pt x="3209947" y="887262"/>
                  <a:pt x="3209947" y="892980"/>
                </a:cubicBezTo>
                <a:lnTo>
                  <a:pt x="3209947" y="1081380"/>
                </a:lnTo>
                <a:cubicBezTo>
                  <a:pt x="3209947" y="1087098"/>
                  <a:pt x="3215378" y="1091672"/>
                  <a:pt x="3222240" y="1091672"/>
                </a:cubicBezTo>
                <a:cubicBezTo>
                  <a:pt x="3229102" y="1091672"/>
                  <a:pt x="3234819" y="1087098"/>
                  <a:pt x="3234819" y="1081380"/>
                </a:cubicBezTo>
                <a:lnTo>
                  <a:pt x="3234819" y="892980"/>
                </a:lnTo>
                <a:cubicBezTo>
                  <a:pt x="3234819" y="887262"/>
                  <a:pt x="3229102" y="882688"/>
                  <a:pt x="3222240" y="882688"/>
                </a:cubicBezTo>
                <a:close/>
                <a:moveTo>
                  <a:pt x="3178499" y="882688"/>
                </a:moveTo>
                <a:cubicBezTo>
                  <a:pt x="3171352" y="882688"/>
                  <a:pt x="3165920" y="887262"/>
                  <a:pt x="3165920" y="892980"/>
                </a:cubicBezTo>
                <a:lnTo>
                  <a:pt x="3165920" y="1081380"/>
                </a:lnTo>
                <a:cubicBezTo>
                  <a:pt x="3165920" y="1087098"/>
                  <a:pt x="3171638" y="1091672"/>
                  <a:pt x="3178499" y="1091672"/>
                </a:cubicBezTo>
                <a:cubicBezTo>
                  <a:pt x="3185361" y="1091672"/>
                  <a:pt x="3191078" y="1087098"/>
                  <a:pt x="3191078" y="1081380"/>
                </a:cubicBezTo>
                <a:lnTo>
                  <a:pt x="3191078" y="892980"/>
                </a:lnTo>
                <a:cubicBezTo>
                  <a:pt x="3191078" y="887262"/>
                  <a:pt x="3185361" y="882688"/>
                  <a:pt x="3178499" y="882688"/>
                </a:cubicBezTo>
                <a:close/>
                <a:moveTo>
                  <a:pt x="3133900" y="882688"/>
                </a:moveTo>
                <a:cubicBezTo>
                  <a:pt x="3127325" y="882688"/>
                  <a:pt x="3121607" y="887262"/>
                  <a:pt x="3121607" y="892980"/>
                </a:cubicBezTo>
                <a:lnTo>
                  <a:pt x="3121607" y="1081380"/>
                </a:lnTo>
                <a:cubicBezTo>
                  <a:pt x="3121607" y="1087098"/>
                  <a:pt x="3127040" y="1091672"/>
                  <a:pt x="3133900" y="1091672"/>
                </a:cubicBezTo>
                <a:cubicBezTo>
                  <a:pt x="3141047" y="1091672"/>
                  <a:pt x="3146480" y="1087098"/>
                  <a:pt x="3146480" y="1081380"/>
                </a:cubicBezTo>
                <a:lnTo>
                  <a:pt x="3146480" y="892980"/>
                </a:lnTo>
                <a:cubicBezTo>
                  <a:pt x="3146480" y="887262"/>
                  <a:pt x="3141047" y="882688"/>
                  <a:pt x="3133900" y="882688"/>
                </a:cubicBezTo>
                <a:close/>
                <a:moveTo>
                  <a:pt x="3089873" y="882688"/>
                </a:moveTo>
                <a:cubicBezTo>
                  <a:pt x="3083299" y="882688"/>
                  <a:pt x="3077580" y="887262"/>
                  <a:pt x="3077580" y="892980"/>
                </a:cubicBezTo>
                <a:lnTo>
                  <a:pt x="3077580" y="1081380"/>
                </a:lnTo>
                <a:cubicBezTo>
                  <a:pt x="3077580" y="1087098"/>
                  <a:pt x="3083012" y="1091672"/>
                  <a:pt x="3089873" y="1091672"/>
                </a:cubicBezTo>
                <a:cubicBezTo>
                  <a:pt x="3097021" y="1091672"/>
                  <a:pt x="3102452" y="1087098"/>
                  <a:pt x="3102452" y="1081380"/>
                </a:cubicBezTo>
                <a:lnTo>
                  <a:pt x="3102452" y="892980"/>
                </a:lnTo>
                <a:cubicBezTo>
                  <a:pt x="3102452" y="887262"/>
                  <a:pt x="3096735" y="882688"/>
                  <a:pt x="3089873" y="882688"/>
                </a:cubicBezTo>
                <a:close/>
                <a:moveTo>
                  <a:pt x="3045847" y="882688"/>
                </a:moveTo>
                <a:cubicBezTo>
                  <a:pt x="3038985" y="882688"/>
                  <a:pt x="3033268" y="887262"/>
                  <a:pt x="3033268" y="892980"/>
                </a:cubicBezTo>
                <a:lnTo>
                  <a:pt x="3033268" y="1081380"/>
                </a:lnTo>
                <a:cubicBezTo>
                  <a:pt x="3033268" y="1087098"/>
                  <a:pt x="3038985" y="1091672"/>
                  <a:pt x="3045847" y="1091672"/>
                </a:cubicBezTo>
                <a:cubicBezTo>
                  <a:pt x="3052708" y="1091672"/>
                  <a:pt x="3058426" y="1087098"/>
                  <a:pt x="3058426" y="1081380"/>
                </a:cubicBezTo>
                <a:lnTo>
                  <a:pt x="3058426" y="892980"/>
                </a:lnTo>
                <a:cubicBezTo>
                  <a:pt x="3058426" y="887262"/>
                  <a:pt x="3052708" y="882688"/>
                  <a:pt x="3045847" y="882688"/>
                </a:cubicBezTo>
                <a:close/>
                <a:moveTo>
                  <a:pt x="3001534" y="882688"/>
                </a:moveTo>
                <a:cubicBezTo>
                  <a:pt x="2994673" y="882688"/>
                  <a:pt x="2988956" y="887262"/>
                  <a:pt x="2988956" y="892980"/>
                </a:cubicBezTo>
                <a:lnTo>
                  <a:pt x="2988956" y="1081380"/>
                </a:lnTo>
                <a:cubicBezTo>
                  <a:pt x="2988956" y="1087098"/>
                  <a:pt x="2994673" y="1091672"/>
                  <a:pt x="3001534" y="1091672"/>
                </a:cubicBezTo>
                <a:cubicBezTo>
                  <a:pt x="3008682" y="1091672"/>
                  <a:pt x="3014113" y="1087098"/>
                  <a:pt x="3014113" y="1081380"/>
                </a:cubicBezTo>
                <a:lnTo>
                  <a:pt x="3014113" y="892980"/>
                </a:lnTo>
                <a:cubicBezTo>
                  <a:pt x="3014113" y="887262"/>
                  <a:pt x="3008396" y="882688"/>
                  <a:pt x="3001534" y="882688"/>
                </a:cubicBezTo>
                <a:close/>
                <a:moveTo>
                  <a:pt x="2957508" y="882688"/>
                </a:moveTo>
                <a:cubicBezTo>
                  <a:pt x="2950646" y="882688"/>
                  <a:pt x="2944928" y="887262"/>
                  <a:pt x="2944928" y="892980"/>
                </a:cubicBezTo>
                <a:lnTo>
                  <a:pt x="2944928" y="1081380"/>
                </a:lnTo>
                <a:cubicBezTo>
                  <a:pt x="2944928" y="1087098"/>
                  <a:pt x="2950646" y="1091672"/>
                  <a:pt x="2957508" y="1091672"/>
                </a:cubicBezTo>
                <a:cubicBezTo>
                  <a:pt x="2964369" y="1091672"/>
                  <a:pt x="2969801" y="1087098"/>
                  <a:pt x="2969801" y="1081380"/>
                </a:cubicBezTo>
                <a:lnTo>
                  <a:pt x="2969801" y="892980"/>
                </a:lnTo>
                <a:cubicBezTo>
                  <a:pt x="2969801" y="887262"/>
                  <a:pt x="2964369" y="882688"/>
                  <a:pt x="2957508" y="882688"/>
                </a:cubicBezTo>
                <a:close/>
                <a:moveTo>
                  <a:pt x="2948931" y="861532"/>
                </a:moveTo>
                <a:lnTo>
                  <a:pt x="3407781" y="861532"/>
                </a:lnTo>
                <a:cubicBezTo>
                  <a:pt x="3420932" y="861532"/>
                  <a:pt x="3431796" y="872396"/>
                  <a:pt x="3431796" y="885547"/>
                </a:cubicBezTo>
                <a:lnTo>
                  <a:pt x="3431796" y="1107397"/>
                </a:lnTo>
                <a:lnTo>
                  <a:pt x="3413499" y="1107397"/>
                </a:lnTo>
                <a:cubicBezTo>
                  <a:pt x="3414928" y="1139987"/>
                  <a:pt x="3423220" y="1210315"/>
                  <a:pt x="3467532" y="1245766"/>
                </a:cubicBezTo>
                <a:cubicBezTo>
                  <a:pt x="3531285" y="1296654"/>
                  <a:pt x="3570738" y="1378417"/>
                  <a:pt x="3576455" y="1470474"/>
                </a:cubicBezTo>
                <a:cubicBezTo>
                  <a:pt x="3577027" y="1472761"/>
                  <a:pt x="3577027" y="1654871"/>
                  <a:pt x="3577313" y="2010516"/>
                </a:cubicBezTo>
                <a:cubicBezTo>
                  <a:pt x="3577313" y="2075413"/>
                  <a:pt x="3524424" y="2128302"/>
                  <a:pt x="3459527" y="2128302"/>
                </a:cubicBezTo>
                <a:lnTo>
                  <a:pt x="2896899" y="2128302"/>
                </a:lnTo>
                <a:cubicBezTo>
                  <a:pt x="2832003" y="2128302"/>
                  <a:pt x="2779113" y="2075413"/>
                  <a:pt x="2779113" y="2010516"/>
                </a:cubicBezTo>
                <a:cubicBezTo>
                  <a:pt x="2779399" y="1656587"/>
                  <a:pt x="2779399" y="1476192"/>
                  <a:pt x="2779685" y="1473905"/>
                </a:cubicBezTo>
                <a:cubicBezTo>
                  <a:pt x="2783687" y="1377274"/>
                  <a:pt x="2820567" y="1300370"/>
                  <a:pt x="2888894" y="1245766"/>
                </a:cubicBezTo>
                <a:cubicBezTo>
                  <a:pt x="2933207" y="1210315"/>
                  <a:pt x="2941498" y="1139987"/>
                  <a:pt x="2942927" y="1107397"/>
                </a:cubicBezTo>
                <a:lnTo>
                  <a:pt x="2924916" y="1107397"/>
                </a:lnTo>
                <a:lnTo>
                  <a:pt x="2924916" y="885547"/>
                </a:lnTo>
                <a:cubicBezTo>
                  <a:pt x="2924916" y="872396"/>
                  <a:pt x="2935780" y="861532"/>
                  <a:pt x="2948931" y="861532"/>
                </a:cubicBezTo>
                <a:close/>
                <a:moveTo>
                  <a:pt x="4368652" y="860675"/>
                </a:moveTo>
                <a:cubicBezTo>
                  <a:pt x="4361790" y="863533"/>
                  <a:pt x="4354357" y="865249"/>
                  <a:pt x="4346638" y="865249"/>
                </a:cubicBezTo>
                <a:cubicBezTo>
                  <a:pt x="4340063" y="865249"/>
                  <a:pt x="4334059" y="864105"/>
                  <a:pt x="4328055" y="861818"/>
                </a:cubicBezTo>
                <a:cubicBezTo>
                  <a:pt x="4334345" y="952731"/>
                  <a:pt x="4358360" y="1037353"/>
                  <a:pt x="4395239" y="1107109"/>
                </a:cubicBezTo>
                <a:lnTo>
                  <a:pt x="4440696" y="1107109"/>
                </a:lnTo>
                <a:cubicBezTo>
                  <a:pt x="4401528" y="1039927"/>
                  <a:pt x="4375227" y="954732"/>
                  <a:pt x="4368652" y="860675"/>
                </a:cubicBezTo>
                <a:close/>
                <a:moveTo>
                  <a:pt x="3659935" y="860389"/>
                </a:moveTo>
                <a:cubicBezTo>
                  <a:pt x="3648500" y="874111"/>
                  <a:pt x="3644211" y="887262"/>
                  <a:pt x="3646499" y="899555"/>
                </a:cubicBezTo>
                <a:cubicBezTo>
                  <a:pt x="3651073" y="922998"/>
                  <a:pt x="3679661" y="940437"/>
                  <a:pt x="3689668" y="945869"/>
                </a:cubicBezTo>
                <a:cubicBezTo>
                  <a:pt x="3701389" y="935577"/>
                  <a:pt x="3707107" y="924713"/>
                  <a:pt x="3706535" y="912992"/>
                </a:cubicBezTo>
                <a:cubicBezTo>
                  <a:pt x="3705677" y="894695"/>
                  <a:pt x="3689382" y="876685"/>
                  <a:pt x="3674229" y="868107"/>
                </a:cubicBezTo>
                <a:cubicBezTo>
                  <a:pt x="3671656" y="866678"/>
                  <a:pt x="3667940" y="864676"/>
                  <a:pt x="3663937" y="862390"/>
                </a:cubicBezTo>
                <a:close/>
                <a:moveTo>
                  <a:pt x="4952150" y="853813"/>
                </a:moveTo>
                <a:cubicBezTo>
                  <a:pt x="4946431" y="950729"/>
                  <a:pt x="4920129" y="1038497"/>
                  <a:pt x="4879534" y="1107397"/>
                </a:cubicBezTo>
                <a:lnTo>
                  <a:pt x="4925276" y="1107397"/>
                </a:lnTo>
                <a:cubicBezTo>
                  <a:pt x="4961870" y="1038497"/>
                  <a:pt x="4985598" y="955018"/>
                  <a:pt x="4991888" y="864678"/>
                </a:cubicBezTo>
                <a:cubicBezTo>
                  <a:pt x="4990172" y="864963"/>
                  <a:pt x="4988744" y="865249"/>
                  <a:pt x="4987027" y="865249"/>
                </a:cubicBezTo>
                <a:cubicBezTo>
                  <a:pt x="4974163" y="865249"/>
                  <a:pt x="4961870" y="860960"/>
                  <a:pt x="4952150" y="853813"/>
                </a:cubicBezTo>
                <a:close/>
                <a:moveTo>
                  <a:pt x="3655647" y="833801"/>
                </a:moveTo>
                <a:lnTo>
                  <a:pt x="3671656" y="842377"/>
                </a:lnTo>
                <a:cubicBezTo>
                  <a:pt x="3677375" y="845237"/>
                  <a:pt x="3681948" y="847809"/>
                  <a:pt x="3684808" y="849524"/>
                </a:cubicBezTo>
                <a:cubicBezTo>
                  <a:pt x="3704820" y="861246"/>
                  <a:pt x="3725976" y="885261"/>
                  <a:pt x="3727404" y="911848"/>
                </a:cubicBezTo>
                <a:cubicBezTo>
                  <a:pt x="3728549" y="933004"/>
                  <a:pt x="3717970" y="951586"/>
                  <a:pt x="3695957" y="967596"/>
                </a:cubicBezTo>
                <a:lnTo>
                  <a:pt x="3694814" y="968454"/>
                </a:lnTo>
                <a:lnTo>
                  <a:pt x="3692813" y="968740"/>
                </a:lnTo>
                <a:lnTo>
                  <a:pt x="3685951" y="967882"/>
                </a:lnTo>
                <a:cubicBezTo>
                  <a:pt x="3680519" y="965595"/>
                  <a:pt x="3633061" y="943010"/>
                  <a:pt x="3625343" y="903558"/>
                </a:cubicBezTo>
                <a:cubicBezTo>
                  <a:pt x="3621340" y="882116"/>
                  <a:pt x="3629631" y="860674"/>
                  <a:pt x="3649929" y="839518"/>
                </a:cubicBezTo>
                <a:close/>
                <a:moveTo>
                  <a:pt x="6575137" y="793776"/>
                </a:moveTo>
                <a:cubicBezTo>
                  <a:pt x="6570849" y="793205"/>
                  <a:pt x="6566560" y="795492"/>
                  <a:pt x="6565989" y="799209"/>
                </a:cubicBezTo>
                <a:lnTo>
                  <a:pt x="6544547" y="923570"/>
                </a:lnTo>
                <a:cubicBezTo>
                  <a:pt x="6543975" y="927286"/>
                  <a:pt x="6547120" y="930717"/>
                  <a:pt x="6551694" y="931574"/>
                </a:cubicBezTo>
                <a:cubicBezTo>
                  <a:pt x="6556269" y="932146"/>
                  <a:pt x="6560557" y="929859"/>
                  <a:pt x="6561129" y="926143"/>
                </a:cubicBezTo>
                <a:lnTo>
                  <a:pt x="6582283" y="801782"/>
                </a:lnTo>
                <a:cubicBezTo>
                  <a:pt x="6582856" y="798065"/>
                  <a:pt x="6579711" y="794634"/>
                  <a:pt x="6575137" y="793776"/>
                </a:cubicBezTo>
                <a:close/>
                <a:moveTo>
                  <a:pt x="6546263" y="788630"/>
                </a:moveTo>
                <a:cubicBezTo>
                  <a:pt x="6541688" y="788059"/>
                  <a:pt x="6537400" y="790346"/>
                  <a:pt x="6536828" y="794062"/>
                </a:cubicBezTo>
                <a:lnTo>
                  <a:pt x="6515386" y="918424"/>
                </a:lnTo>
                <a:cubicBezTo>
                  <a:pt x="6514815" y="922140"/>
                  <a:pt x="6517959" y="925571"/>
                  <a:pt x="6522534" y="926429"/>
                </a:cubicBezTo>
                <a:cubicBezTo>
                  <a:pt x="6527108" y="927000"/>
                  <a:pt x="6531395" y="924713"/>
                  <a:pt x="6531968" y="920997"/>
                </a:cubicBezTo>
                <a:lnTo>
                  <a:pt x="6553123" y="796636"/>
                </a:lnTo>
                <a:cubicBezTo>
                  <a:pt x="6553982" y="792919"/>
                  <a:pt x="6550551" y="789489"/>
                  <a:pt x="6546263" y="788630"/>
                </a:cubicBezTo>
                <a:close/>
                <a:moveTo>
                  <a:pt x="6517101" y="783770"/>
                </a:moveTo>
                <a:cubicBezTo>
                  <a:pt x="6512527" y="783199"/>
                  <a:pt x="6508239" y="785486"/>
                  <a:pt x="6507667" y="789203"/>
                </a:cubicBezTo>
                <a:lnTo>
                  <a:pt x="6486512" y="913564"/>
                </a:lnTo>
                <a:cubicBezTo>
                  <a:pt x="6485940" y="917280"/>
                  <a:pt x="6489085" y="920711"/>
                  <a:pt x="6493659" y="921569"/>
                </a:cubicBezTo>
                <a:cubicBezTo>
                  <a:pt x="6498233" y="922140"/>
                  <a:pt x="6502521" y="919853"/>
                  <a:pt x="6503093" y="916137"/>
                </a:cubicBezTo>
                <a:lnTo>
                  <a:pt x="6524249" y="791776"/>
                </a:lnTo>
                <a:cubicBezTo>
                  <a:pt x="6524821" y="788059"/>
                  <a:pt x="6521675" y="784628"/>
                  <a:pt x="6517101" y="783770"/>
                </a:cubicBezTo>
                <a:close/>
                <a:moveTo>
                  <a:pt x="6487941" y="778910"/>
                </a:moveTo>
                <a:cubicBezTo>
                  <a:pt x="6483367" y="778339"/>
                  <a:pt x="6479078" y="780626"/>
                  <a:pt x="6478507" y="784342"/>
                </a:cubicBezTo>
                <a:lnTo>
                  <a:pt x="6457351" y="908704"/>
                </a:lnTo>
                <a:cubicBezTo>
                  <a:pt x="6456779" y="912420"/>
                  <a:pt x="6459924" y="915851"/>
                  <a:pt x="6464498" y="916708"/>
                </a:cubicBezTo>
                <a:cubicBezTo>
                  <a:pt x="6469073" y="917280"/>
                  <a:pt x="6473361" y="914993"/>
                  <a:pt x="6473933" y="911277"/>
                </a:cubicBezTo>
                <a:lnTo>
                  <a:pt x="6495087" y="786915"/>
                </a:lnTo>
                <a:cubicBezTo>
                  <a:pt x="6495660" y="783199"/>
                  <a:pt x="6492515" y="779769"/>
                  <a:pt x="6487941" y="778910"/>
                </a:cubicBezTo>
                <a:close/>
                <a:moveTo>
                  <a:pt x="6458495" y="773764"/>
                </a:moveTo>
                <a:cubicBezTo>
                  <a:pt x="6453921" y="773193"/>
                  <a:pt x="6449918" y="775480"/>
                  <a:pt x="6449061" y="779196"/>
                </a:cubicBezTo>
                <a:lnTo>
                  <a:pt x="6427905" y="903558"/>
                </a:lnTo>
                <a:cubicBezTo>
                  <a:pt x="6427333" y="907274"/>
                  <a:pt x="6430478" y="910705"/>
                  <a:pt x="6435052" y="911563"/>
                </a:cubicBezTo>
                <a:cubicBezTo>
                  <a:pt x="6439626" y="912134"/>
                  <a:pt x="6443915" y="909847"/>
                  <a:pt x="6444486" y="906131"/>
                </a:cubicBezTo>
                <a:lnTo>
                  <a:pt x="6465641" y="781769"/>
                </a:lnTo>
                <a:cubicBezTo>
                  <a:pt x="6466213" y="778053"/>
                  <a:pt x="6462783" y="774622"/>
                  <a:pt x="6458495" y="773764"/>
                </a:cubicBezTo>
                <a:close/>
                <a:moveTo>
                  <a:pt x="6429619" y="768904"/>
                </a:moveTo>
                <a:cubicBezTo>
                  <a:pt x="6424759" y="768333"/>
                  <a:pt x="6420757" y="770620"/>
                  <a:pt x="6420185" y="774336"/>
                </a:cubicBezTo>
                <a:lnTo>
                  <a:pt x="6399030" y="898698"/>
                </a:lnTo>
                <a:cubicBezTo>
                  <a:pt x="6398458" y="902414"/>
                  <a:pt x="6401603" y="905844"/>
                  <a:pt x="6406177" y="906703"/>
                </a:cubicBezTo>
                <a:cubicBezTo>
                  <a:pt x="6410751" y="907274"/>
                  <a:pt x="6415039" y="904987"/>
                  <a:pt x="6415611" y="901271"/>
                </a:cubicBezTo>
                <a:lnTo>
                  <a:pt x="6436481" y="776909"/>
                </a:lnTo>
                <a:cubicBezTo>
                  <a:pt x="6437339" y="773193"/>
                  <a:pt x="6434195" y="769762"/>
                  <a:pt x="6429619" y="768904"/>
                </a:cubicBezTo>
                <a:close/>
                <a:moveTo>
                  <a:pt x="6400173" y="764044"/>
                </a:moveTo>
                <a:cubicBezTo>
                  <a:pt x="6395599" y="763473"/>
                  <a:pt x="6391311" y="765760"/>
                  <a:pt x="6390739" y="769476"/>
                </a:cubicBezTo>
                <a:lnTo>
                  <a:pt x="6369583" y="893838"/>
                </a:lnTo>
                <a:cubicBezTo>
                  <a:pt x="6369011" y="897554"/>
                  <a:pt x="6372157" y="900985"/>
                  <a:pt x="6376731" y="901842"/>
                </a:cubicBezTo>
                <a:cubicBezTo>
                  <a:pt x="6381305" y="902414"/>
                  <a:pt x="6385593" y="900127"/>
                  <a:pt x="6386165" y="896410"/>
                </a:cubicBezTo>
                <a:lnTo>
                  <a:pt x="6407321" y="772049"/>
                </a:lnTo>
                <a:cubicBezTo>
                  <a:pt x="6407893" y="768333"/>
                  <a:pt x="6404747" y="764902"/>
                  <a:pt x="6400173" y="764044"/>
                </a:cubicBezTo>
                <a:close/>
                <a:moveTo>
                  <a:pt x="1582099" y="761757"/>
                </a:moveTo>
                <a:cubicBezTo>
                  <a:pt x="1564376" y="778053"/>
                  <a:pt x="1543791" y="786343"/>
                  <a:pt x="1520063" y="786343"/>
                </a:cubicBezTo>
                <a:cubicBezTo>
                  <a:pt x="1502909" y="786343"/>
                  <a:pt x="1488043" y="781769"/>
                  <a:pt x="1478894" y="778053"/>
                </a:cubicBezTo>
                <a:cubicBezTo>
                  <a:pt x="1475464" y="784056"/>
                  <a:pt x="1472033" y="789775"/>
                  <a:pt x="1467744" y="794920"/>
                </a:cubicBezTo>
                <a:lnTo>
                  <a:pt x="1465457" y="797494"/>
                </a:lnTo>
                <a:cubicBezTo>
                  <a:pt x="1464600" y="798923"/>
                  <a:pt x="1463743" y="799494"/>
                  <a:pt x="1463171" y="800352"/>
                </a:cubicBezTo>
                <a:cubicBezTo>
                  <a:pt x="1456595" y="807785"/>
                  <a:pt x="1449162" y="814075"/>
                  <a:pt x="1441443" y="818649"/>
                </a:cubicBezTo>
                <a:cubicBezTo>
                  <a:pt x="1438870" y="820364"/>
                  <a:pt x="1435726" y="822080"/>
                  <a:pt x="1432866" y="823508"/>
                </a:cubicBezTo>
                <a:cubicBezTo>
                  <a:pt x="1512629" y="892408"/>
                  <a:pt x="1594680" y="927286"/>
                  <a:pt x="1676443" y="927286"/>
                </a:cubicBezTo>
                <a:cubicBezTo>
                  <a:pt x="1735336" y="927286"/>
                  <a:pt x="1781364" y="908704"/>
                  <a:pt x="1807952" y="894410"/>
                </a:cubicBezTo>
                <a:cubicBezTo>
                  <a:pt x="1805950" y="893838"/>
                  <a:pt x="1803949" y="893552"/>
                  <a:pt x="1801662" y="892980"/>
                </a:cubicBezTo>
                <a:lnTo>
                  <a:pt x="1799946" y="892408"/>
                </a:lnTo>
                <a:cubicBezTo>
                  <a:pt x="1794515" y="890978"/>
                  <a:pt x="1788797" y="889264"/>
                  <a:pt x="1783079" y="887548"/>
                </a:cubicBezTo>
                <a:lnTo>
                  <a:pt x="1782222" y="883260"/>
                </a:lnTo>
                <a:lnTo>
                  <a:pt x="1781078" y="887262"/>
                </a:lnTo>
                <a:cubicBezTo>
                  <a:pt x="1749344" y="877256"/>
                  <a:pt x="1716753" y="861246"/>
                  <a:pt x="1683304" y="839804"/>
                </a:cubicBezTo>
                <a:cubicBezTo>
                  <a:pt x="1636133" y="810072"/>
                  <a:pt x="1598681" y="776909"/>
                  <a:pt x="1582099" y="761757"/>
                </a:cubicBezTo>
                <a:close/>
                <a:moveTo>
                  <a:pt x="897112" y="761186"/>
                </a:moveTo>
                <a:cubicBezTo>
                  <a:pt x="880816" y="776337"/>
                  <a:pt x="843079" y="809215"/>
                  <a:pt x="795907" y="839233"/>
                </a:cubicBezTo>
                <a:cubicBezTo>
                  <a:pt x="762458" y="860675"/>
                  <a:pt x="729867" y="876398"/>
                  <a:pt x="698991" y="886405"/>
                </a:cubicBezTo>
                <a:lnTo>
                  <a:pt x="697275" y="886976"/>
                </a:lnTo>
                <a:cubicBezTo>
                  <a:pt x="690415" y="889264"/>
                  <a:pt x="684696" y="890692"/>
                  <a:pt x="679265" y="892122"/>
                </a:cubicBezTo>
                <a:cubicBezTo>
                  <a:pt x="678408" y="892408"/>
                  <a:pt x="677835" y="892694"/>
                  <a:pt x="677263" y="892694"/>
                </a:cubicBezTo>
                <a:cubicBezTo>
                  <a:pt x="674976" y="893265"/>
                  <a:pt x="672975" y="893552"/>
                  <a:pt x="671260" y="893838"/>
                </a:cubicBezTo>
                <a:cubicBezTo>
                  <a:pt x="697848" y="908132"/>
                  <a:pt x="743876" y="926715"/>
                  <a:pt x="802769" y="926715"/>
                </a:cubicBezTo>
                <a:cubicBezTo>
                  <a:pt x="884533" y="926715"/>
                  <a:pt x="966583" y="891837"/>
                  <a:pt x="1046346" y="822937"/>
                </a:cubicBezTo>
                <a:cubicBezTo>
                  <a:pt x="1043486" y="821222"/>
                  <a:pt x="1040342" y="819507"/>
                  <a:pt x="1037483" y="817791"/>
                </a:cubicBezTo>
                <a:cubicBezTo>
                  <a:pt x="1029764" y="813503"/>
                  <a:pt x="1022331" y="807214"/>
                  <a:pt x="1015755" y="799494"/>
                </a:cubicBezTo>
                <a:lnTo>
                  <a:pt x="1013468" y="796922"/>
                </a:lnTo>
                <a:lnTo>
                  <a:pt x="1016041" y="793491"/>
                </a:lnTo>
                <a:lnTo>
                  <a:pt x="1012897" y="796064"/>
                </a:lnTo>
                <a:cubicBezTo>
                  <a:pt x="1012038" y="795206"/>
                  <a:pt x="1011753" y="794920"/>
                  <a:pt x="1011467" y="794349"/>
                </a:cubicBezTo>
                <a:cubicBezTo>
                  <a:pt x="1007178" y="789203"/>
                  <a:pt x="1003462" y="783485"/>
                  <a:pt x="1000317" y="777481"/>
                </a:cubicBezTo>
                <a:cubicBezTo>
                  <a:pt x="991455" y="781198"/>
                  <a:pt x="976303" y="785772"/>
                  <a:pt x="959149" y="785772"/>
                </a:cubicBezTo>
                <a:cubicBezTo>
                  <a:pt x="935421" y="785772"/>
                  <a:pt x="914837" y="777481"/>
                  <a:pt x="897112" y="761186"/>
                </a:cubicBezTo>
                <a:close/>
                <a:moveTo>
                  <a:pt x="6371013" y="758898"/>
                </a:moveTo>
                <a:cubicBezTo>
                  <a:pt x="6366439" y="758327"/>
                  <a:pt x="6362150" y="760614"/>
                  <a:pt x="6361579" y="764330"/>
                </a:cubicBezTo>
                <a:lnTo>
                  <a:pt x="6340423" y="888692"/>
                </a:lnTo>
                <a:cubicBezTo>
                  <a:pt x="6339851" y="892408"/>
                  <a:pt x="6342996" y="895838"/>
                  <a:pt x="6347570" y="896696"/>
                </a:cubicBezTo>
                <a:cubicBezTo>
                  <a:pt x="6352143" y="897268"/>
                  <a:pt x="6356433" y="894981"/>
                  <a:pt x="6357005" y="891265"/>
                </a:cubicBezTo>
                <a:lnTo>
                  <a:pt x="6378161" y="766903"/>
                </a:lnTo>
                <a:cubicBezTo>
                  <a:pt x="6378731" y="763187"/>
                  <a:pt x="6375587" y="759756"/>
                  <a:pt x="6371013" y="758898"/>
                </a:cubicBezTo>
                <a:close/>
                <a:moveTo>
                  <a:pt x="2213912" y="756325"/>
                </a:moveTo>
                <a:lnTo>
                  <a:pt x="2213341" y="958734"/>
                </a:lnTo>
                <a:cubicBezTo>
                  <a:pt x="2213341" y="1015054"/>
                  <a:pt x="2234783" y="1067943"/>
                  <a:pt x="2274521" y="1107682"/>
                </a:cubicBezTo>
                <a:cubicBezTo>
                  <a:pt x="2313973" y="1147420"/>
                  <a:pt x="2366862" y="1169433"/>
                  <a:pt x="2422896" y="1169719"/>
                </a:cubicBezTo>
                <a:lnTo>
                  <a:pt x="2423468" y="1182299"/>
                </a:lnTo>
                <a:lnTo>
                  <a:pt x="2423468" y="1169719"/>
                </a:lnTo>
                <a:cubicBezTo>
                  <a:pt x="2539253" y="1169719"/>
                  <a:pt x="2633596" y="1075662"/>
                  <a:pt x="2633882" y="960163"/>
                </a:cubicBezTo>
                <a:lnTo>
                  <a:pt x="2634453" y="757468"/>
                </a:lnTo>
                <a:lnTo>
                  <a:pt x="2424040" y="756897"/>
                </a:lnTo>
                <a:close/>
                <a:moveTo>
                  <a:pt x="6341853" y="754038"/>
                </a:moveTo>
                <a:cubicBezTo>
                  <a:pt x="6337279" y="753467"/>
                  <a:pt x="6332990" y="755754"/>
                  <a:pt x="6332419" y="759470"/>
                </a:cubicBezTo>
                <a:lnTo>
                  <a:pt x="6311262" y="883831"/>
                </a:lnTo>
                <a:cubicBezTo>
                  <a:pt x="6310691" y="887548"/>
                  <a:pt x="6313835" y="890978"/>
                  <a:pt x="6318409" y="891836"/>
                </a:cubicBezTo>
                <a:cubicBezTo>
                  <a:pt x="6322983" y="892408"/>
                  <a:pt x="6327271" y="890121"/>
                  <a:pt x="6327843" y="886405"/>
                </a:cubicBezTo>
                <a:lnTo>
                  <a:pt x="6348999" y="762043"/>
                </a:lnTo>
                <a:cubicBezTo>
                  <a:pt x="6349571" y="758327"/>
                  <a:pt x="6346427" y="754895"/>
                  <a:pt x="6341853" y="754038"/>
                </a:cubicBezTo>
                <a:close/>
                <a:moveTo>
                  <a:pt x="6312691" y="749178"/>
                </a:moveTo>
                <a:cubicBezTo>
                  <a:pt x="6308117" y="748606"/>
                  <a:pt x="6304115" y="750893"/>
                  <a:pt x="6303257" y="754610"/>
                </a:cubicBezTo>
                <a:lnTo>
                  <a:pt x="6282102" y="878971"/>
                </a:lnTo>
                <a:cubicBezTo>
                  <a:pt x="6281529" y="882688"/>
                  <a:pt x="6284675" y="886118"/>
                  <a:pt x="6289249" y="886976"/>
                </a:cubicBezTo>
                <a:cubicBezTo>
                  <a:pt x="6293823" y="887548"/>
                  <a:pt x="6298111" y="885261"/>
                  <a:pt x="6298683" y="881545"/>
                </a:cubicBezTo>
                <a:lnTo>
                  <a:pt x="6319839" y="757183"/>
                </a:lnTo>
                <a:cubicBezTo>
                  <a:pt x="6320411" y="753752"/>
                  <a:pt x="6317266" y="750035"/>
                  <a:pt x="6312691" y="749178"/>
                </a:cubicBezTo>
                <a:close/>
                <a:moveTo>
                  <a:pt x="5715184" y="748606"/>
                </a:moveTo>
                <a:cubicBezTo>
                  <a:pt x="5690312" y="748606"/>
                  <a:pt x="5670301" y="768904"/>
                  <a:pt x="5670301" y="793490"/>
                </a:cubicBezTo>
                <a:lnTo>
                  <a:pt x="5670301" y="823223"/>
                </a:lnTo>
                <a:lnTo>
                  <a:pt x="5619126" y="823223"/>
                </a:lnTo>
                <a:cubicBezTo>
                  <a:pt x="5609978" y="823223"/>
                  <a:pt x="5602259" y="830942"/>
                  <a:pt x="5602259" y="840090"/>
                </a:cubicBezTo>
                <a:cubicBezTo>
                  <a:pt x="5602259" y="849524"/>
                  <a:pt x="5609692" y="856957"/>
                  <a:pt x="5619126" y="856957"/>
                </a:cubicBezTo>
                <a:lnTo>
                  <a:pt x="5670301" y="856957"/>
                </a:lnTo>
                <a:lnTo>
                  <a:pt x="5670301" y="900413"/>
                </a:lnTo>
                <a:lnTo>
                  <a:pt x="5619126" y="900413"/>
                </a:lnTo>
                <a:cubicBezTo>
                  <a:pt x="5609978" y="900413"/>
                  <a:pt x="5602259" y="908132"/>
                  <a:pt x="5602259" y="917280"/>
                </a:cubicBezTo>
                <a:cubicBezTo>
                  <a:pt x="5602259" y="926714"/>
                  <a:pt x="5609692" y="934147"/>
                  <a:pt x="5619126" y="934147"/>
                </a:cubicBezTo>
                <a:lnTo>
                  <a:pt x="5670301" y="934147"/>
                </a:lnTo>
                <a:lnTo>
                  <a:pt x="5670301" y="977602"/>
                </a:lnTo>
                <a:lnTo>
                  <a:pt x="5619126" y="977602"/>
                </a:lnTo>
                <a:cubicBezTo>
                  <a:pt x="5609978" y="977602"/>
                  <a:pt x="5602259" y="985035"/>
                  <a:pt x="5602259" y="994470"/>
                </a:cubicBezTo>
                <a:cubicBezTo>
                  <a:pt x="5602259" y="1003904"/>
                  <a:pt x="5609692" y="1011337"/>
                  <a:pt x="5619126" y="1011337"/>
                </a:cubicBezTo>
                <a:lnTo>
                  <a:pt x="5670301" y="1011337"/>
                </a:lnTo>
                <a:lnTo>
                  <a:pt x="5670301" y="1054792"/>
                </a:lnTo>
                <a:lnTo>
                  <a:pt x="5619126" y="1054792"/>
                </a:lnTo>
                <a:cubicBezTo>
                  <a:pt x="5609978" y="1054792"/>
                  <a:pt x="5602259" y="1062511"/>
                  <a:pt x="5602259" y="1071660"/>
                </a:cubicBezTo>
                <a:cubicBezTo>
                  <a:pt x="5602259" y="1080808"/>
                  <a:pt x="5609692" y="1088527"/>
                  <a:pt x="5619126" y="1088527"/>
                </a:cubicBezTo>
                <a:lnTo>
                  <a:pt x="5670301" y="1088527"/>
                </a:lnTo>
                <a:lnTo>
                  <a:pt x="5670301" y="1131982"/>
                </a:lnTo>
                <a:lnTo>
                  <a:pt x="5619126" y="1131982"/>
                </a:lnTo>
                <a:cubicBezTo>
                  <a:pt x="5609978" y="1131982"/>
                  <a:pt x="5602259" y="1139701"/>
                  <a:pt x="5602259" y="1148850"/>
                </a:cubicBezTo>
                <a:cubicBezTo>
                  <a:pt x="5602259" y="1158284"/>
                  <a:pt x="5609692" y="1165717"/>
                  <a:pt x="5619126" y="1165717"/>
                </a:cubicBezTo>
                <a:lnTo>
                  <a:pt x="5670301" y="1165717"/>
                </a:lnTo>
                <a:lnTo>
                  <a:pt x="5670301" y="1209172"/>
                </a:lnTo>
                <a:lnTo>
                  <a:pt x="5619126" y="1209172"/>
                </a:lnTo>
                <a:cubicBezTo>
                  <a:pt x="5609978" y="1209172"/>
                  <a:pt x="5602259" y="1216891"/>
                  <a:pt x="5602259" y="1226040"/>
                </a:cubicBezTo>
                <a:cubicBezTo>
                  <a:pt x="5602259" y="1235473"/>
                  <a:pt x="5609692" y="1242907"/>
                  <a:pt x="5619126" y="1242907"/>
                </a:cubicBezTo>
                <a:lnTo>
                  <a:pt x="5670301" y="1242907"/>
                </a:lnTo>
                <a:lnTo>
                  <a:pt x="5670301" y="1286361"/>
                </a:lnTo>
                <a:lnTo>
                  <a:pt x="5619126" y="1286361"/>
                </a:lnTo>
                <a:cubicBezTo>
                  <a:pt x="5609978" y="1286361"/>
                  <a:pt x="5602259" y="1294081"/>
                  <a:pt x="5602259" y="1303229"/>
                </a:cubicBezTo>
                <a:cubicBezTo>
                  <a:pt x="5602259" y="1312663"/>
                  <a:pt x="5609692" y="1320096"/>
                  <a:pt x="5619126" y="1320096"/>
                </a:cubicBezTo>
                <a:lnTo>
                  <a:pt x="5670301" y="1320096"/>
                </a:lnTo>
                <a:lnTo>
                  <a:pt x="5670301" y="1349543"/>
                </a:lnTo>
                <a:cubicBezTo>
                  <a:pt x="5608548" y="1368697"/>
                  <a:pt x="5563664" y="1426161"/>
                  <a:pt x="5563664" y="1494202"/>
                </a:cubicBezTo>
                <a:cubicBezTo>
                  <a:pt x="5563664" y="1577968"/>
                  <a:pt x="5631420" y="1645723"/>
                  <a:pt x="5715184" y="1645723"/>
                </a:cubicBezTo>
                <a:cubicBezTo>
                  <a:pt x="5798949" y="1645723"/>
                  <a:pt x="5866705" y="1577968"/>
                  <a:pt x="5866705" y="1494202"/>
                </a:cubicBezTo>
                <a:cubicBezTo>
                  <a:pt x="5866705" y="1426161"/>
                  <a:pt x="5821821" y="1368697"/>
                  <a:pt x="5760069" y="1349543"/>
                </a:cubicBezTo>
                <a:lnTo>
                  <a:pt x="5760069" y="1320096"/>
                </a:lnTo>
                <a:lnTo>
                  <a:pt x="5811529" y="1320096"/>
                </a:lnTo>
                <a:cubicBezTo>
                  <a:pt x="5820963" y="1320096"/>
                  <a:pt x="5828396" y="1312663"/>
                  <a:pt x="5828396" y="1303229"/>
                </a:cubicBezTo>
                <a:cubicBezTo>
                  <a:pt x="5828396" y="1293795"/>
                  <a:pt x="5820677" y="1286361"/>
                  <a:pt x="5811529" y="1286361"/>
                </a:cubicBezTo>
                <a:lnTo>
                  <a:pt x="5760069" y="1286361"/>
                </a:lnTo>
                <a:lnTo>
                  <a:pt x="5760069" y="1242907"/>
                </a:lnTo>
                <a:lnTo>
                  <a:pt x="5811529" y="1242907"/>
                </a:lnTo>
                <a:cubicBezTo>
                  <a:pt x="5820963" y="1242907"/>
                  <a:pt x="5828396" y="1235473"/>
                  <a:pt x="5828396" y="1226040"/>
                </a:cubicBezTo>
                <a:cubicBezTo>
                  <a:pt x="5828396" y="1216605"/>
                  <a:pt x="5820677" y="1209172"/>
                  <a:pt x="5811529" y="1209172"/>
                </a:cubicBezTo>
                <a:lnTo>
                  <a:pt x="5760069" y="1209172"/>
                </a:lnTo>
                <a:lnTo>
                  <a:pt x="5760069" y="1165717"/>
                </a:lnTo>
                <a:lnTo>
                  <a:pt x="5811529" y="1165717"/>
                </a:lnTo>
                <a:cubicBezTo>
                  <a:pt x="5820963" y="1165717"/>
                  <a:pt x="5828396" y="1158284"/>
                  <a:pt x="5828396" y="1148850"/>
                </a:cubicBezTo>
                <a:cubicBezTo>
                  <a:pt x="5828396" y="1139415"/>
                  <a:pt x="5820677" y="1131982"/>
                  <a:pt x="5811529" y="1131982"/>
                </a:cubicBezTo>
                <a:lnTo>
                  <a:pt x="5760069" y="1131982"/>
                </a:lnTo>
                <a:lnTo>
                  <a:pt x="5760069" y="1088527"/>
                </a:lnTo>
                <a:lnTo>
                  <a:pt x="5811529" y="1088527"/>
                </a:lnTo>
                <a:cubicBezTo>
                  <a:pt x="5820963" y="1088527"/>
                  <a:pt x="5828396" y="1080808"/>
                  <a:pt x="5828396" y="1071660"/>
                </a:cubicBezTo>
                <a:cubicBezTo>
                  <a:pt x="5828396" y="1062226"/>
                  <a:pt x="5820677" y="1054792"/>
                  <a:pt x="5811529" y="1054792"/>
                </a:cubicBezTo>
                <a:lnTo>
                  <a:pt x="5760069" y="1054792"/>
                </a:lnTo>
                <a:lnTo>
                  <a:pt x="5760069" y="1011337"/>
                </a:lnTo>
                <a:lnTo>
                  <a:pt x="5811529" y="1011337"/>
                </a:lnTo>
                <a:cubicBezTo>
                  <a:pt x="5820963" y="1011337"/>
                  <a:pt x="5828396" y="1003904"/>
                  <a:pt x="5828396" y="994470"/>
                </a:cubicBezTo>
                <a:cubicBezTo>
                  <a:pt x="5828396" y="985035"/>
                  <a:pt x="5820677" y="977602"/>
                  <a:pt x="5811529" y="977602"/>
                </a:cubicBezTo>
                <a:lnTo>
                  <a:pt x="5760069" y="977602"/>
                </a:lnTo>
                <a:lnTo>
                  <a:pt x="5760069" y="934147"/>
                </a:lnTo>
                <a:lnTo>
                  <a:pt x="5811529" y="934147"/>
                </a:lnTo>
                <a:cubicBezTo>
                  <a:pt x="5820963" y="934147"/>
                  <a:pt x="5828396" y="926428"/>
                  <a:pt x="5828396" y="917280"/>
                </a:cubicBezTo>
                <a:cubicBezTo>
                  <a:pt x="5828396" y="907845"/>
                  <a:pt x="5820677" y="900413"/>
                  <a:pt x="5811529" y="900413"/>
                </a:cubicBezTo>
                <a:lnTo>
                  <a:pt x="5760069" y="900413"/>
                </a:lnTo>
                <a:lnTo>
                  <a:pt x="5760069" y="856957"/>
                </a:lnTo>
                <a:lnTo>
                  <a:pt x="5811529" y="856957"/>
                </a:lnTo>
                <a:cubicBezTo>
                  <a:pt x="5820963" y="856957"/>
                  <a:pt x="5828396" y="849524"/>
                  <a:pt x="5828396" y="840090"/>
                </a:cubicBezTo>
                <a:cubicBezTo>
                  <a:pt x="5828396" y="830657"/>
                  <a:pt x="5820677" y="823223"/>
                  <a:pt x="5811529" y="823223"/>
                </a:cubicBezTo>
                <a:lnTo>
                  <a:pt x="5760069" y="823223"/>
                </a:lnTo>
                <a:lnTo>
                  <a:pt x="5760069" y="793490"/>
                </a:lnTo>
                <a:cubicBezTo>
                  <a:pt x="5760069" y="768618"/>
                  <a:pt x="5740057" y="748606"/>
                  <a:pt x="5715184" y="748606"/>
                </a:cubicBezTo>
                <a:close/>
                <a:moveTo>
                  <a:pt x="6283531" y="744318"/>
                </a:moveTo>
                <a:cubicBezTo>
                  <a:pt x="6278957" y="743746"/>
                  <a:pt x="6274669" y="746034"/>
                  <a:pt x="6274097" y="749750"/>
                </a:cubicBezTo>
                <a:lnTo>
                  <a:pt x="6252941" y="874111"/>
                </a:lnTo>
                <a:cubicBezTo>
                  <a:pt x="6252369" y="877828"/>
                  <a:pt x="6255514" y="881258"/>
                  <a:pt x="6260089" y="882116"/>
                </a:cubicBezTo>
                <a:cubicBezTo>
                  <a:pt x="6264663" y="882688"/>
                  <a:pt x="6268951" y="880401"/>
                  <a:pt x="6269523" y="876685"/>
                </a:cubicBezTo>
                <a:lnTo>
                  <a:pt x="6290679" y="752323"/>
                </a:lnTo>
                <a:cubicBezTo>
                  <a:pt x="6291251" y="748606"/>
                  <a:pt x="6288105" y="745175"/>
                  <a:pt x="6283531" y="744318"/>
                </a:cubicBezTo>
                <a:close/>
                <a:moveTo>
                  <a:pt x="4550477" y="736028"/>
                </a:moveTo>
                <a:lnTo>
                  <a:pt x="4550191" y="854384"/>
                </a:lnTo>
                <a:cubicBezTo>
                  <a:pt x="4550191" y="887262"/>
                  <a:pt x="4563056" y="918138"/>
                  <a:pt x="4586213" y="941580"/>
                </a:cubicBezTo>
                <a:cubicBezTo>
                  <a:pt x="4609369" y="965023"/>
                  <a:pt x="4640245" y="977888"/>
                  <a:pt x="4673122" y="977888"/>
                </a:cubicBezTo>
                <a:lnTo>
                  <a:pt x="4673409" y="985321"/>
                </a:lnTo>
                <a:lnTo>
                  <a:pt x="4673409" y="977888"/>
                </a:lnTo>
                <a:cubicBezTo>
                  <a:pt x="4741164" y="977888"/>
                  <a:pt x="4796340" y="922998"/>
                  <a:pt x="4796626" y="855242"/>
                </a:cubicBezTo>
                <a:lnTo>
                  <a:pt x="4796626" y="736601"/>
                </a:lnTo>
                <a:lnTo>
                  <a:pt x="4673695" y="736315"/>
                </a:lnTo>
                <a:close/>
                <a:moveTo>
                  <a:pt x="1165276" y="732312"/>
                </a:moveTo>
                <a:cubicBezTo>
                  <a:pt x="1160128" y="733169"/>
                  <a:pt x="1155268" y="733455"/>
                  <a:pt x="1150981" y="733742"/>
                </a:cubicBezTo>
                <a:cubicBezTo>
                  <a:pt x="1154412" y="740316"/>
                  <a:pt x="1159557" y="746892"/>
                  <a:pt x="1166133" y="753180"/>
                </a:cubicBezTo>
                <a:close/>
                <a:moveTo>
                  <a:pt x="6280386" y="729452"/>
                </a:moveTo>
                <a:lnTo>
                  <a:pt x="6583142" y="780912"/>
                </a:lnTo>
                <a:cubicBezTo>
                  <a:pt x="6592005" y="782341"/>
                  <a:pt x="6597722" y="790632"/>
                  <a:pt x="6596293" y="799494"/>
                </a:cubicBezTo>
                <a:lnTo>
                  <a:pt x="6571421" y="945869"/>
                </a:lnTo>
                <a:lnTo>
                  <a:pt x="6559413" y="943868"/>
                </a:lnTo>
                <a:cubicBezTo>
                  <a:pt x="6556840" y="965309"/>
                  <a:pt x="6554553" y="1012767"/>
                  <a:pt x="6579711" y="1041069"/>
                </a:cubicBezTo>
                <a:cubicBezTo>
                  <a:pt x="6615733" y="1081666"/>
                  <a:pt x="6632887" y="1140273"/>
                  <a:pt x="6626311" y="1201453"/>
                </a:cubicBezTo>
                <a:cubicBezTo>
                  <a:pt x="6626311" y="1202882"/>
                  <a:pt x="6606299" y="1323241"/>
                  <a:pt x="6566560" y="1557956"/>
                </a:cubicBezTo>
                <a:cubicBezTo>
                  <a:pt x="6559413" y="1600838"/>
                  <a:pt x="6518531" y="1629713"/>
                  <a:pt x="6475647" y="1622566"/>
                </a:cubicBezTo>
                <a:lnTo>
                  <a:pt x="6104565" y="1559670"/>
                </a:lnTo>
                <a:cubicBezTo>
                  <a:pt x="6061682" y="1552523"/>
                  <a:pt x="6032807" y="1511641"/>
                  <a:pt x="6039954" y="1468759"/>
                </a:cubicBezTo>
                <a:cubicBezTo>
                  <a:pt x="6079693" y="1235187"/>
                  <a:pt x="6099991" y="1115972"/>
                  <a:pt x="6100277" y="1114543"/>
                </a:cubicBezTo>
                <a:cubicBezTo>
                  <a:pt x="6113427" y="1051361"/>
                  <a:pt x="6146591" y="1004476"/>
                  <a:pt x="6197765" y="976174"/>
                </a:cubicBezTo>
                <a:cubicBezTo>
                  <a:pt x="6230927" y="957876"/>
                  <a:pt x="6244364" y="912420"/>
                  <a:pt x="6248939" y="890978"/>
                </a:cubicBezTo>
                <a:lnTo>
                  <a:pt x="6236931" y="888977"/>
                </a:lnTo>
                <a:lnTo>
                  <a:pt x="6261803" y="742602"/>
                </a:lnTo>
                <a:cubicBezTo>
                  <a:pt x="6263519" y="733741"/>
                  <a:pt x="6271809" y="728022"/>
                  <a:pt x="6280386" y="729452"/>
                </a:cubicBezTo>
                <a:close/>
                <a:moveTo>
                  <a:pt x="1301072" y="720590"/>
                </a:moveTo>
                <a:lnTo>
                  <a:pt x="1300500" y="794920"/>
                </a:lnTo>
                <a:cubicBezTo>
                  <a:pt x="1339380" y="783199"/>
                  <a:pt x="1350816" y="753180"/>
                  <a:pt x="1354247" y="732883"/>
                </a:cubicBezTo>
                <a:cubicBezTo>
                  <a:pt x="1338809" y="734313"/>
                  <a:pt x="1323943" y="732312"/>
                  <a:pt x="1311650" y="726879"/>
                </a:cubicBezTo>
                <a:cubicBezTo>
                  <a:pt x="1307934" y="725450"/>
                  <a:pt x="1304502" y="723163"/>
                  <a:pt x="1301072" y="720590"/>
                </a:cubicBezTo>
                <a:close/>
                <a:moveTo>
                  <a:pt x="4987314" y="712300"/>
                </a:moveTo>
                <a:cubicBezTo>
                  <a:pt x="5024193" y="712300"/>
                  <a:pt x="5047636" y="772336"/>
                  <a:pt x="5047636" y="803783"/>
                </a:cubicBezTo>
                <a:cubicBezTo>
                  <a:pt x="5047636" y="824653"/>
                  <a:pt x="5037344" y="843236"/>
                  <a:pt x="5021905" y="854385"/>
                </a:cubicBezTo>
                <a:cubicBezTo>
                  <a:pt x="5008184" y="1101392"/>
                  <a:pt x="4869814" y="1302657"/>
                  <a:pt x="4693992" y="1325242"/>
                </a:cubicBezTo>
                <a:cubicBezTo>
                  <a:pt x="4676267" y="1371270"/>
                  <a:pt x="4637673" y="1491629"/>
                  <a:pt x="4683415" y="1566246"/>
                </a:cubicBezTo>
                <a:cubicBezTo>
                  <a:pt x="4783190" y="1730060"/>
                  <a:pt x="4765178" y="1834695"/>
                  <a:pt x="4732873" y="1893874"/>
                </a:cubicBezTo>
                <a:cubicBezTo>
                  <a:pt x="4686559" y="1978783"/>
                  <a:pt x="4580495" y="2025382"/>
                  <a:pt x="4434406" y="2025382"/>
                </a:cubicBezTo>
                <a:cubicBezTo>
                  <a:pt x="4183968" y="2025382"/>
                  <a:pt x="4148803" y="1836410"/>
                  <a:pt x="4123360" y="1698326"/>
                </a:cubicBezTo>
                <a:cubicBezTo>
                  <a:pt x="4109065" y="1622566"/>
                  <a:pt x="4097058" y="1565961"/>
                  <a:pt x="4070470" y="1528509"/>
                </a:cubicBezTo>
                <a:cubicBezTo>
                  <a:pt x="4058177" y="1532797"/>
                  <a:pt x="4045026" y="1535084"/>
                  <a:pt x="4031304" y="1535084"/>
                </a:cubicBezTo>
                <a:cubicBezTo>
                  <a:pt x="3964406" y="1535084"/>
                  <a:pt x="3910373" y="1480194"/>
                  <a:pt x="3910373" y="1412152"/>
                </a:cubicBezTo>
                <a:cubicBezTo>
                  <a:pt x="3910373" y="1344397"/>
                  <a:pt x="3964406" y="1289221"/>
                  <a:pt x="4031304" y="1289221"/>
                </a:cubicBezTo>
                <a:cubicBezTo>
                  <a:pt x="4098201" y="1289221"/>
                  <a:pt x="4152520" y="1344111"/>
                  <a:pt x="4152520" y="1412152"/>
                </a:cubicBezTo>
                <a:cubicBezTo>
                  <a:pt x="4152520" y="1429591"/>
                  <a:pt x="4148803" y="1445887"/>
                  <a:pt x="4142514" y="1461039"/>
                </a:cubicBezTo>
                <a:cubicBezTo>
                  <a:pt x="4189971" y="1522220"/>
                  <a:pt x="4205696" y="1606270"/>
                  <a:pt x="4219418" y="1679744"/>
                </a:cubicBezTo>
                <a:cubicBezTo>
                  <a:pt x="4248578" y="1836982"/>
                  <a:pt x="4272878" y="1925893"/>
                  <a:pt x="4434406" y="1925893"/>
                </a:cubicBezTo>
                <a:cubicBezTo>
                  <a:pt x="4543329" y="1925893"/>
                  <a:pt x="4618804" y="1897304"/>
                  <a:pt x="4647393" y="1845559"/>
                </a:cubicBezTo>
                <a:cubicBezTo>
                  <a:pt x="4675696" y="1794099"/>
                  <a:pt x="4659400" y="1715479"/>
                  <a:pt x="4600220" y="1618564"/>
                </a:cubicBezTo>
                <a:cubicBezTo>
                  <a:pt x="4541042" y="1521362"/>
                  <a:pt x="4567058" y="1394428"/>
                  <a:pt x="4592216" y="1318382"/>
                </a:cubicBezTo>
                <a:cubicBezTo>
                  <a:pt x="4429545" y="1274354"/>
                  <a:pt x="4307186" y="1075090"/>
                  <a:pt x="4298609" y="840662"/>
                </a:cubicBezTo>
                <a:cubicBezTo>
                  <a:pt x="4290890" y="830370"/>
                  <a:pt x="4286316" y="817791"/>
                  <a:pt x="4286316" y="804069"/>
                </a:cubicBezTo>
                <a:cubicBezTo>
                  <a:pt x="4286316" y="772622"/>
                  <a:pt x="4309759" y="712587"/>
                  <a:pt x="4346638" y="712587"/>
                </a:cubicBezTo>
                <a:cubicBezTo>
                  <a:pt x="4383518" y="712587"/>
                  <a:pt x="4406961" y="772622"/>
                  <a:pt x="4406961" y="804069"/>
                </a:cubicBezTo>
                <a:cubicBezTo>
                  <a:pt x="4406961" y="816934"/>
                  <a:pt x="4402958" y="828941"/>
                  <a:pt x="4396096" y="838947"/>
                </a:cubicBezTo>
                <a:cubicBezTo>
                  <a:pt x="4404388" y="1055650"/>
                  <a:pt x="4519600" y="1228040"/>
                  <a:pt x="4660257" y="1228040"/>
                </a:cubicBezTo>
                <a:cubicBezTo>
                  <a:pt x="4806346" y="1228040"/>
                  <a:pt x="4924989" y="1041927"/>
                  <a:pt x="4924989" y="813503"/>
                </a:cubicBezTo>
                <a:lnTo>
                  <a:pt x="4924989" y="798923"/>
                </a:lnTo>
                <a:lnTo>
                  <a:pt x="4926991" y="798923"/>
                </a:lnTo>
                <a:cubicBezTo>
                  <a:pt x="4929278" y="766617"/>
                  <a:pt x="4952150" y="712300"/>
                  <a:pt x="4987314" y="712300"/>
                </a:cubicBezTo>
                <a:close/>
                <a:moveTo>
                  <a:pt x="1627556" y="679709"/>
                </a:moveTo>
                <a:cubicBezTo>
                  <a:pt x="1620123" y="706011"/>
                  <a:pt x="1610117" y="727738"/>
                  <a:pt x="1597824" y="744319"/>
                </a:cubicBezTo>
                <a:cubicBezTo>
                  <a:pt x="1618407" y="762615"/>
                  <a:pt x="1638706" y="779482"/>
                  <a:pt x="1658718" y="794635"/>
                </a:cubicBezTo>
                <a:cubicBezTo>
                  <a:pt x="1706461" y="829798"/>
                  <a:pt x="1777076" y="872396"/>
                  <a:pt x="1841114" y="875826"/>
                </a:cubicBezTo>
                <a:lnTo>
                  <a:pt x="1861126" y="876971"/>
                </a:lnTo>
                <a:cubicBezTo>
                  <a:pt x="1922021" y="875255"/>
                  <a:pt x="1959186" y="841520"/>
                  <a:pt x="1975768" y="821794"/>
                </a:cubicBezTo>
                <a:cubicBezTo>
                  <a:pt x="1951753" y="819221"/>
                  <a:pt x="1906868" y="812359"/>
                  <a:pt x="1873420" y="796636"/>
                </a:cubicBezTo>
                <a:cubicBezTo>
                  <a:pt x="1819387" y="775766"/>
                  <a:pt x="1768213" y="740316"/>
                  <a:pt x="1721613" y="690859"/>
                </a:cubicBezTo>
                <a:lnTo>
                  <a:pt x="1715896" y="689715"/>
                </a:lnTo>
                <a:cubicBezTo>
                  <a:pt x="1705603" y="692861"/>
                  <a:pt x="1694740" y="694575"/>
                  <a:pt x="1683876" y="694575"/>
                </a:cubicBezTo>
                <a:cubicBezTo>
                  <a:pt x="1660148" y="694575"/>
                  <a:pt x="1640707" y="687142"/>
                  <a:pt x="1627556" y="679709"/>
                </a:cubicBezTo>
                <a:close/>
                <a:moveTo>
                  <a:pt x="851370" y="679709"/>
                </a:moveTo>
                <a:cubicBezTo>
                  <a:pt x="838219" y="687142"/>
                  <a:pt x="818779" y="694575"/>
                  <a:pt x="795050" y="694575"/>
                </a:cubicBezTo>
                <a:cubicBezTo>
                  <a:pt x="784472" y="694575"/>
                  <a:pt x="773608" y="692861"/>
                  <a:pt x="763031" y="689715"/>
                </a:cubicBezTo>
                <a:lnTo>
                  <a:pt x="757312" y="690859"/>
                </a:lnTo>
                <a:cubicBezTo>
                  <a:pt x="710713" y="740316"/>
                  <a:pt x="659539" y="776052"/>
                  <a:pt x="605506" y="796922"/>
                </a:cubicBezTo>
                <a:cubicBezTo>
                  <a:pt x="572343" y="812645"/>
                  <a:pt x="527459" y="819221"/>
                  <a:pt x="502872" y="821508"/>
                </a:cubicBezTo>
                <a:cubicBezTo>
                  <a:pt x="519453" y="841234"/>
                  <a:pt x="556619" y="874969"/>
                  <a:pt x="617799" y="876685"/>
                </a:cubicBezTo>
                <a:lnTo>
                  <a:pt x="637811" y="875541"/>
                </a:lnTo>
                <a:cubicBezTo>
                  <a:pt x="701850" y="872396"/>
                  <a:pt x="772178" y="829513"/>
                  <a:pt x="820208" y="794349"/>
                </a:cubicBezTo>
                <a:cubicBezTo>
                  <a:pt x="840506" y="779196"/>
                  <a:pt x="861090" y="762329"/>
                  <a:pt x="881102" y="744033"/>
                </a:cubicBezTo>
                <a:cubicBezTo>
                  <a:pt x="868809" y="727738"/>
                  <a:pt x="858803" y="706011"/>
                  <a:pt x="851370" y="679709"/>
                </a:cubicBezTo>
                <a:close/>
                <a:moveTo>
                  <a:pt x="1337379" y="664272"/>
                </a:moveTo>
                <a:cubicBezTo>
                  <a:pt x="1343098" y="664272"/>
                  <a:pt x="1348814" y="665987"/>
                  <a:pt x="1354533" y="669989"/>
                </a:cubicBezTo>
                <a:lnTo>
                  <a:pt x="1355391" y="670561"/>
                </a:lnTo>
                <a:lnTo>
                  <a:pt x="1354533" y="671132"/>
                </a:lnTo>
                <a:cubicBezTo>
                  <a:pt x="1354533" y="671132"/>
                  <a:pt x="1349100" y="675707"/>
                  <a:pt x="1341096" y="675707"/>
                </a:cubicBezTo>
                <a:cubicBezTo>
                  <a:pt x="1335378" y="675707"/>
                  <a:pt x="1330232" y="673420"/>
                  <a:pt x="1325087" y="668846"/>
                </a:cubicBezTo>
                <a:lnTo>
                  <a:pt x="1324514" y="668274"/>
                </a:lnTo>
                <a:lnTo>
                  <a:pt x="1325087" y="667702"/>
                </a:lnTo>
                <a:cubicBezTo>
                  <a:pt x="1325372" y="667416"/>
                  <a:pt x="1329947" y="664272"/>
                  <a:pt x="1337379" y="664272"/>
                </a:cubicBezTo>
                <a:close/>
                <a:moveTo>
                  <a:pt x="1160701" y="664272"/>
                </a:moveTo>
                <a:cubicBezTo>
                  <a:pt x="1166419" y="664272"/>
                  <a:pt x="1172136" y="665987"/>
                  <a:pt x="1177855" y="669704"/>
                </a:cubicBezTo>
                <a:lnTo>
                  <a:pt x="1178713" y="670275"/>
                </a:lnTo>
                <a:lnTo>
                  <a:pt x="1178140" y="670847"/>
                </a:lnTo>
                <a:cubicBezTo>
                  <a:pt x="1178140" y="670847"/>
                  <a:pt x="1172422" y="675421"/>
                  <a:pt x="1164704" y="675421"/>
                </a:cubicBezTo>
                <a:cubicBezTo>
                  <a:pt x="1158986" y="675421"/>
                  <a:pt x="1153554" y="673134"/>
                  <a:pt x="1148123" y="668846"/>
                </a:cubicBezTo>
                <a:lnTo>
                  <a:pt x="1147550" y="668274"/>
                </a:lnTo>
                <a:lnTo>
                  <a:pt x="1148408" y="667702"/>
                </a:lnTo>
                <a:cubicBezTo>
                  <a:pt x="1148694" y="667416"/>
                  <a:pt x="1153268" y="664272"/>
                  <a:pt x="1160701" y="664272"/>
                </a:cubicBezTo>
                <a:close/>
                <a:moveTo>
                  <a:pt x="1161273" y="658553"/>
                </a:moveTo>
                <a:cubicBezTo>
                  <a:pt x="1151838" y="658553"/>
                  <a:pt x="1143834" y="660269"/>
                  <a:pt x="1137544" y="663700"/>
                </a:cubicBezTo>
                <a:cubicBezTo>
                  <a:pt x="1135542" y="664557"/>
                  <a:pt x="1093804" y="684569"/>
                  <a:pt x="1082939" y="719446"/>
                </a:cubicBezTo>
                <a:cubicBezTo>
                  <a:pt x="1077507" y="736886"/>
                  <a:pt x="1080652" y="755754"/>
                  <a:pt x="1092374" y="775194"/>
                </a:cubicBezTo>
                <a:cubicBezTo>
                  <a:pt x="1093231" y="776909"/>
                  <a:pt x="1120106" y="819793"/>
                  <a:pt x="1174709" y="858387"/>
                </a:cubicBezTo>
                <a:lnTo>
                  <a:pt x="1187289" y="867250"/>
                </a:lnTo>
                <a:lnTo>
                  <a:pt x="1175281" y="876685"/>
                </a:lnTo>
                <a:cubicBezTo>
                  <a:pt x="1148408" y="898126"/>
                  <a:pt x="1115531" y="933576"/>
                  <a:pt x="1113529" y="981034"/>
                </a:cubicBezTo>
                <a:cubicBezTo>
                  <a:pt x="1111814" y="1017913"/>
                  <a:pt x="1131255" y="1053362"/>
                  <a:pt x="1171850" y="1086526"/>
                </a:cubicBezTo>
                <a:lnTo>
                  <a:pt x="1196723" y="1106824"/>
                </a:lnTo>
                <a:lnTo>
                  <a:pt x="1168706" y="1106824"/>
                </a:lnTo>
                <a:cubicBezTo>
                  <a:pt x="1162416" y="1112542"/>
                  <a:pt x="1142118" y="1132554"/>
                  <a:pt x="1137544" y="1166289"/>
                </a:cubicBezTo>
                <a:cubicBezTo>
                  <a:pt x="1131827" y="1208886"/>
                  <a:pt x="1151268" y="1256915"/>
                  <a:pt x="1195579" y="1309233"/>
                </a:cubicBezTo>
                <a:lnTo>
                  <a:pt x="1199582" y="1314093"/>
                </a:lnTo>
                <a:lnTo>
                  <a:pt x="1197296" y="1316094"/>
                </a:lnTo>
                <a:lnTo>
                  <a:pt x="1200439" y="1321240"/>
                </a:lnTo>
                <a:lnTo>
                  <a:pt x="1196437" y="1324671"/>
                </a:lnTo>
                <a:cubicBezTo>
                  <a:pt x="1164989" y="1350115"/>
                  <a:pt x="1149551" y="1372414"/>
                  <a:pt x="1149551" y="1392712"/>
                </a:cubicBezTo>
                <a:cubicBezTo>
                  <a:pt x="1149551" y="1415584"/>
                  <a:pt x="1168134" y="1441885"/>
                  <a:pt x="1203584" y="1468472"/>
                </a:cubicBezTo>
                <a:lnTo>
                  <a:pt x="1217021" y="1476763"/>
                </a:lnTo>
                <a:lnTo>
                  <a:pt x="1210445" y="1482195"/>
                </a:lnTo>
                <a:cubicBezTo>
                  <a:pt x="1198438" y="1491915"/>
                  <a:pt x="1171278" y="1517931"/>
                  <a:pt x="1172136" y="1545376"/>
                </a:cubicBezTo>
                <a:cubicBezTo>
                  <a:pt x="1172708" y="1561101"/>
                  <a:pt x="1178426" y="1574537"/>
                  <a:pt x="1191576" y="1588545"/>
                </a:cubicBezTo>
                <a:cubicBezTo>
                  <a:pt x="1186716" y="1561386"/>
                  <a:pt x="1188146" y="1522505"/>
                  <a:pt x="1223310" y="1496204"/>
                </a:cubicBezTo>
                <a:lnTo>
                  <a:pt x="1236747" y="1485912"/>
                </a:lnTo>
                <a:lnTo>
                  <a:pt x="1240464" y="1487913"/>
                </a:lnTo>
                <a:cubicBezTo>
                  <a:pt x="1244752" y="1490200"/>
                  <a:pt x="1248468" y="1493631"/>
                  <a:pt x="1251900" y="1496775"/>
                </a:cubicBezTo>
                <a:cubicBezTo>
                  <a:pt x="1255330" y="1499634"/>
                  <a:pt x="1259047" y="1503065"/>
                  <a:pt x="1262477" y="1505066"/>
                </a:cubicBezTo>
                <a:cubicBezTo>
                  <a:pt x="1282204" y="1515358"/>
                  <a:pt x="1293925" y="1529939"/>
                  <a:pt x="1297070" y="1548235"/>
                </a:cubicBezTo>
                <a:cubicBezTo>
                  <a:pt x="1300215" y="1566246"/>
                  <a:pt x="1294211" y="1584830"/>
                  <a:pt x="1286778" y="1599981"/>
                </a:cubicBezTo>
                <a:cubicBezTo>
                  <a:pt x="1299071" y="1591404"/>
                  <a:pt x="1307647" y="1580827"/>
                  <a:pt x="1311364" y="1568819"/>
                </a:cubicBezTo>
                <a:cubicBezTo>
                  <a:pt x="1317081" y="1549093"/>
                  <a:pt x="1310221" y="1526222"/>
                  <a:pt x="1291924" y="1505638"/>
                </a:cubicBezTo>
                <a:lnTo>
                  <a:pt x="1284776" y="1497347"/>
                </a:lnTo>
                <a:lnTo>
                  <a:pt x="1292495" y="1489914"/>
                </a:lnTo>
                <a:cubicBezTo>
                  <a:pt x="1297641" y="1484768"/>
                  <a:pt x="1344527" y="1436453"/>
                  <a:pt x="1343383" y="1384136"/>
                </a:cubicBezTo>
                <a:cubicBezTo>
                  <a:pt x="1342812" y="1361550"/>
                  <a:pt x="1333091" y="1341252"/>
                  <a:pt x="1313937" y="1323528"/>
                </a:cubicBezTo>
                <a:lnTo>
                  <a:pt x="1302501" y="1313235"/>
                </a:lnTo>
                <a:lnTo>
                  <a:pt x="1315938" y="1305516"/>
                </a:lnTo>
                <a:cubicBezTo>
                  <a:pt x="1349673" y="1285504"/>
                  <a:pt x="1388554" y="1255486"/>
                  <a:pt x="1388554" y="1202597"/>
                </a:cubicBezTo>
                <a:cubicBezTo>
                  <a:pt x="1388554" y="1147420"/>
                  <a:pt x="1341383" y="1113399"/>
                  <a:pt x="1292781" y="1083381"/>
                </a:cubicBezTo>
                <a:lnTo>
                  <a:pt x="1276772" y="1073661"/>
                </a:lnTo>
                <a:lnTo>
                  <a:pt x="1292781" y="1063941"/>
                </a:lnTo>
                <a:cubicBezTo>
                  <a:pt x="1302787" y="1057937"/>
                  <a:pt x="1389126" y="1004476"/>
                  <a:pt x="1391698" y="944154"/>
                </a:cubicBezTo>
                <a:cubicBezTo>
                  <a:pt x="1392842" y="918424"/>
                  <a:pt x="1377690" y="894124"/>
                  <a:pt x="1346528" y="871825"/>
                </a:cubicBezTo>
                <a:lnTo>
                  <a:pt x="1329375" y="859531"/>
                </a:lnTo>
                <a:lnTo>
                  <a:pt x="1349101" y="851812"/>
                </a:lnTo>
                <a:cubicBezTo>
                  <a:pt x="1350245" y="851240"/>
                  <a:pt x="1351388" y="850669"/>
                  <a:pt x="1352818" y="850096"/>
                </a:cubicBezTo>
                <a:cubicBezTo>
                  <a:pt x="1381407" y="837232"/>
                  <a:pt x="1419716" y="795492"/>
                  <a:pt x="1432009" y="752895"/>
                </a:cubicBezTo>
                <a:cubicBezTo>
                  <a:pt x="1438298" y="730025"/>
                  <a:pt x="1436011" y="710012"/>
                  <a:pt x="1424576" y="694004"/>
                </a:cubicBezTo>
                <a:cubicBezTo>
                  <a:pt x="1409138" y="671990"/>
                  <a:pt x="1385124" y="660840"/>
                  <a:pt x="1352818" y="660840"/>
                </a:cubicBezTo>
                <a:cubicBezTo>
                  <a:pt x="1329089" y="660840"/>
                  <a:pt x="1309363" y="667416"/>
                  <a:pt x="1309077" y="667416"/>
                </a:cubicBezTo>
                <a:cubicBezTo>
                  <a:pt x="1307934" y="667987"/>
                  <a:pt x="1303645" y="669703"/>
                  <a:pt x="1303645" y="677708"/>
                </a:cubicBezTo>
                <a:cubicBezTo>
                  <a:pt x="1303645" y="688572"/>
                  <a:pt x="1311937" y="701151"/>
                  <a:pt x="1321656" y="705440"/>
                </a:cubicBezTo>
                <a:cubicBezTo>
                  <a:pt x="1328231" y="708298"/>
                  <a:pt x="1336236" y="709728"/>
                  <a:pt x="1345099" y="709728"/>
                </a:cubicBezTo>
                <a:cubicBezTo>
                  <a:pt x="1355105" y="709728"/>
                  <a:pt x="1363109" y="707726"/>
                  <a:pt x="1364539" y="707441"/>
                </a:cubicBezTo>
                <a:lnTo>
                  <a:pt x="1379119" y="703438"/>
                </a:lnTo>
                <a:lnTo>
                  <a:pt x="1379119" y="718589"/>
                </a:lnTo>
                <a:cubicBezTo>
                  <a:pt x="1379119" y="732598"/>
                  <a:pt x="1375117" y="802925"/>
                  <a:pt x="1297355" y="819221"/>
                </a:cubicBezTo>
                <a:cubicBezTo>
                  <a:pt x="1288207" y="820937"/>
                  <a:pt x="1277915" y="823795"/>
                  <a:pt x="1267051" y="827511"/>
                </a:cubicBezTo>
                <a:lnTo>
                  <a:pt x="1263335" y="828941"/>
                </a:lnTo>
                <a:lnTo>
                  <a:pt x="1256759" y="826654"/>
                </a:lnTo>
                <a:cubicBezTo>
                  <a:pt x="1255330" y="826083"/>
                  <a:pt x="1254187" y="825510"/>
                  <a:pt x="1253043" y="825224"/>
                </a:cubicBezTo>
                <a:cubicBezTo>
                  <a:pt x="1248468" y="823795"/>
                  <a:pt x="1137544" y="790346"/>
                  <a:pt x="1124107" y="724021"/>
                </a:cubicBezTo>
                <a:lnTo>
                  <a:pt x="1121248" y="709155"/>
                </a:lnTo>
                <a:lnTo>
                  <a:pt x="1136401" y="710299"/>
                </a:lnTo>
                <a:cubicBezTo>
                  <a:pt x="1136687" y="710584"/>
                  <a:pt x="1139546" y="710584"/>
                  <a:pt x="1143549" y="710584"/>
                </a:cubicBezTo>
                <a:cubicBezTo>
                  <a:pt x="1158414" y="710584"/>
                  <a:pt x="1193292" y="708584"/>
                  <a:pt x="1202727" y="687142"/>
                </a:cubicBezTo>
                <a:cubicBezTo>
                  <a:pt x="1205014" y="682568"/>
                  <a:pt x="1204728" y="678280"/>
                  <a:pt x="1202156" y="674563"/>
                </a:cubicBezTo>
                <a:cubicBezTo>
                  <a:pt x="1196151" y="665415"/>
                  <a:pt x="1178997" y="658553"/>
                  <a:pt x="1161273" y="658553"/>
                </a:cubicBezTo>
                <a:close/>
                <a:moveTo>
                  <a:pt x="5583962" y="647405"/>
                </a:moveTo>
                <a:lnTo>
                  <a:pt x="5846693" y="647405"/>
                </a:lnTo>
                <a:cubicBezTo>
                  <a:pt x="5912733" y="647405"/>
                  <a:pt x="5966481" y="700866"/>
                  <a:pt x="5966481" y="767189"/>
                </a:cubicBezTo>
                <a:lnTo>
                  <a:pt x="5966481" y="1628284"/>
                </a:lnTo>
                <a:cubicBezTo>
                  <a:pt x="5966481" y="1694324"/>
                  <a:pt x="5912733" y="1748071"/>
                  <a:pt x="5846693" y="1748071"/>
                </a:cubicBezTo>
                <a:lnTo>
                  <a:pt x="5583962" y="1748071"/>
                </a:lnTo>
                <a:cubicBezTo>
                  <a:pt x="5517922" y="1748071"/>
                  <a:pt x="5464175" y="1694324"/>
                  <a:pt x="5464175" y="1628284"/>
                </a:cubicBezTo>
                <a:lnTo>
                  <a:pt x="5464175" y="767189"/>
                </a:lnTo>
                <a:cubicBezTo>
                  <a:pt x="5464175" y="700866"/>
                  <a:pt x="5517922" y="647405"/>
                  <a:pt x="5583962" y="647405"/>
                </a:cubicBezTo>
                <a:close/>
                <a:moveTo>
                  <a:pt x="3656790" y="637684"/>
                </a:moveTo>
                <a:cubicBezTo>
                  <a:pt x="3638780" y="650264"/>
                  <a:pt x="3630203" y="666560"/>
                  <a:pt x="3630203" y="687429"/>
                </a:cubicBezTo>
                <a:cubicBezTo>
                  <a:pt x="3630203" y="699436"/>
                  <a:pt x="3635634" y="710585"/>
                  <a:pt x="3647642" y="722592"/>
                </a:cubicBezTo>
                <a:cubicBezTo>
                  <a:pt x="3674515" y="712872"/>
                  <a:pt x="3703104" y="692574"/>
                  <a:pt x="3703675" y="675422"/>
                </a:cubicBezTo>
                <a:cubicBezTo>
                  <a:pt x="3704248" y="662843"/>
                  <a:pt x="3688524" y="649979"/>
                  <a:pt x="3660507" y="639114"/>
                </a:cubicBezTo>
                <a:cubicBezTo>
                  <a:pt x="3659077" y="638543"/>
                  <a:pt x="3657934" y="638257"/>
                  <a:pt x="3656790" y="637684"/>
                </a:cubicBezTo>
                <a:close/>
                <a:moveTo>
                  <a:pt x="3654503" y="613384"/>
                </a:moveTo>
                <a:lnTo>
                  <a:pt x="3659649" y="615671"/>
                </a:lnTo>
                <a:cubicBezTo>
                  <a:pt x="3662508" y="616815"/>
                  <a:pt x="3665081" y="617959"/>
                  <a:pt x="3667940" y="619102"/>
                </a:cubicBezTo>
                <a:cubicBezTo>
                  <a:pt x="3706535" y="634254"/>
                  <a:pt x="3725976" y="653409"/>
                  <a:pt x="3724546" y="675708"/>
                </a:cubicBezTo>
                <a:cubicBezTo>
                  <a:pt x="3723403" y="709156"/>
                  <a:pt x="3677946" y="735171"/>
                  <a:pt x="3647642" y="744605"/>
                </a:cubicBezTo>
                <a:lnTo>
                  <a:pt x="3641924" y="746321"/>
                </a:lnTo>
                <a:lnTo>
                  <a:pt x="3637350" y="742318"/>
                </a:lnTo>
                <a:cubicBezTo>
                  <a:pt x="3617624" y="724594"/>
                  <a:pt x="3608475" y="706869"/>
                  <a:pt x="3608475" y="687144"/>
                </a:cubicBezTo>
                <a:cubicBezTo>
                  <a:pt x="3608475" y="656553"/>
                  <a:pt x="3621912" y="633397"/>
                  <a:pt x="3649643" y="616244"/>
                </a:cubicBezTo>
                <a:close/>
                <a:moveTo>
                  <a:pt x="3983561" y="496745"/>
                </a:moveTo>
                <a:cubicBezTo>
                  <a:pt x="3967265" y="511897"/>
                  <a:pt x="3947825" y="519617"/>
                  <a:pt x="3925811" y="519617"/>
                </a:cubicBezTo>
                <a:cubicBezTo>
                  <a:pt x="3909515" y="519617"/>
                  <a:pt x="3895507" y="515328"/>
                  <a:pt x="3887216" y="511897"/>
                </a:cubicBezTo>
                <a:cubicBezTo>
                  <a:pt x="3884358" y="517330"/>
                  <a:pt x="3880927" y="522761"/>
                  <a:pt x="3876925" y="527621"/>
                </a:cubicBezTo>
                <a:lnTo>
                  <a:pt x="3874923" y="529909"/>
                </a:lnTo>
                <a:cubicBezTo>
                  <a:pt x="3873780" y="531052"/>
                  <a:pt x="3873208" y="531910"/>
                  <a:pt x="3872636" y="532481"/>
                </a:cubicBezTo>
                <a:cubicBezTo>
                  <a:pt x="3866346" y="539629"/>
                  <a:pt x="3859486" y="545346"/>
                  <a:pt x="3852338" y="549633"/>
                </a:cubicBezTo>
                <a:cubicBezTo>
                  <a:pt x="3849765" y="551062"/>
                  <a:pt x="3847192" y="552778"/>
                  <a:pt x="3844333" y="554207"/>
                </a:cubicBezTo>
                <a:cubicBezTo>
                  <a:pt x="3918950" y="618246"/>
                  <a:pt x="3995283" y="650837"/>
                  <a:pt x="4071614" y="650837"/>
                </a:cubicBezTo>
                <a:cubicBezTo>
                  <a:pt x="4126505" y="650837"/>
                  <a:pt x="4169388" y="633398"/>
                  <a:pt x="4194260" y="620247"/>
                </a:cubicBezTo>
                <a:cubicBezTo>
                  <a:pt x="4192259" y="619675"/>
                  <a:pt x="4190258" y="619390"/>
                  <a:pt x="4188256" y="618818"/>
                </a:cubicBezTo>
                <a:lnTo>
                  <a:pt x="4186541" y="618532"/>
                </a:lnTo>
                <a:cubicBezTo>
                  <a:pt x="4181395" y="617388"/>
                  <a:pt x="4175963" y="615959"/>
                  <a:pt x="4170531" y="614244"/>
                </a:cubicBezTo>
                <a:lnTo>
                  <a:pt x="4170246" y="610241"/>
                </a:lnTo>
                <a:lnTo>
                  <a:pt x="4169102" y="613958"/>
                </a:lnTo>
                <a:cubicBezTo>
                  <a:pt x="4139655" y="604524"/>
                  <a:pt x="4109066" y="589657"/>
                  <a:pt x="4077904" y="569645"/>
                </a:cubicBezTo>
                <a:cubicBezTo>
                  <a:pt x="4034163" y="541916"/>
                  <a:pt x="3998998" y="511040"/>
                  <a:pt x="3983561" y="496745"/>
                </a:cubicBezTo>
                <a:close/>
                <a:moveTo>
                  <a:pt x="3343457" y="496745"/>
                </a:moveTo>
                <a:cubicBezTo>
                  <a:pt x="3328019" y="511040"/>
                  <a:pt x="3293141" y="541630"/>
                  <a:pt x="3249114" y="569645"/>
                </a:cubicBezTo>
                <a:cubicBezTo>
                  <a:pt x="3217952" y="589657"/>
                  <a:pt x="3187648" y="604524"/>
                  <a:pt x="3158774" y="613671"/>
                </a:cubicBezTo>
                <a:lnTo>
                  <a:pt x="3157344" y="614244"/>
                </a:lnTo>
                <a:cubicBezTo>
                  <a:pt x="3151341" y="615959"/>
                  <a:pt x="3145908" y="617388"/>
                  <a:pt x="3140762" y="618818"/>
                </a:cubicBezTo>
                <a:cubicBezTo>
                  <a:pt x="3140191" y="618818"/>
                  <a:pt x="3139619" y="619104"/>
                  <a:pt x="3139047" y="619104"/>
                </a:cubicBezTo>
                <a:cubicBezTo>
                  <a:pt x="3137046" y="619675"/>
                  <a:pt x="3135045" y="619961"/>
                  <a:pt x="3133043" y="620819"/>
                </a:cubicBezTo>
                <a:cubicBezTo>
                  <a:pt x="3157915" y="633970"/>
                  <a:pt x="3200799" y="651409"/>
                  <a:pt x="3255690" y="651409"/>
                </a:cubicBezTo>
                <a:cubicBezTo>
                  <a:pt x="3332021" y="651409"/>
                  <a:pt x="3408640" y="619104"/>
                  <a:pt x="3482970" y="554778"/>
                </a:cubicBezTo>
                <a:cubicBezTo>
                  <a:pt x="3480111" y="553350"/>
                  <a:pt x="3477253" y="551634"/>
                  <a:pt x="3474680" y="549918"/>
                </a:cubicBezTo>
                <a:cubicBezTo>
                  <a:pt x="3467532" y="545918"/>
                  <a:pt x="3460671" y="539914"/>
                  <a:pt x="3454382" y="532767"/>
                </a:cubicBezTo>
                <a:lnTo>
                  <a:pt x="3452381" y="530194"/>
                </a:lnTo>
                <a:lnTo>
                  <a:pt x="3454668" y="526764"/>
                </a:lnTo>
                <a:lnTo>
                  <a:pt x="3451522" y="529337"/>
                </a:lnTo>
                <a:cubicBezTo>
                  <a:pt x="3450665" y="528479"/>
                  <a:pt x="3450379" y="528193"/>
                  <a:pt x="3450093" y="527621"/>
                </a:cubicBezTo>
                <a:cubicBezTo>
                  <a:pt x="3446376" y="522761"/>
                  <a:pt x="3442661" y="517615"/>
                  <a:pt x="3439802" y="511897"/>
                </a:cubicBezTo>
                <a:cubicBezTo>
                  <a:pt x="3431225" y="515328"/>
                  <a:pt x="3417216" y="519617"/>
                  <a:pt x="3401207" y="519617"/>
                </a:cubicBezTo>
                <a:cubicBezTo>
                  <a:pt x="3379194" y="519617"/>
                  <a:pt x="3359753" y="511897"/>
                  <a:pt x="3343457" y="496745"/>
                </a:cubicBezTo>
                <a:close/>
                <a:moveTo>
                  <a:pt x="4671122" y="487884"/>
                </a:moveTo>
                <a:cubicBezTo>
                  <a:pt x="4608226" y="487597"/>
                  <a:pt x="4557052" y="538772"/>
                  <a:pt x="4557052" y="601950"/>
                </a:cubicBezTo>
                <a:lnTo>
                  <a:pt x="4556479" y="712586"/>
                </a:lnTo>
                <a:lnTo>
                  <a:pt x="4574206" y="712586"/>
                </a:lnTo>
                <a:lnTo>
                  <a:pt x="4574491" y="619961"/>
                </a:lnTo>
                <a:cubicBezTo>
                  <a:pt x="4574777" y="556779"/>
                  <a:pt x="4625951" y="505894"/>
                  <a:pt x="4688846" y="505894"/>
                </a:cubicBezTo>
                <a:cubicBezTo>
                  <a:pt x="4715720" y="505894"/>
                  <a:pt x="4740306" y="515329"/>
                  <a:pt x="4759746" y="531052"/>
                </a:cubicBezTo>
                <a:cubicBezTo>
                  <a:pt x="4738877" y="504751"/>
                  <a:pt x="4707143" y="487884"/>
                  <a:pt x="4671122" y="487884"/>
                </a:cubicBezTo>
                <a:close/>
                <a:moveTo>
                  <a:pt x="3593895" y="469586"/>
                </a:moveTo>
                <a:cubicBezTo>
                  <a:pt x="3589035" y="470443"/>
                  <a:pt x="3584461" y="470729"/>
                  <a:pt x="3580744" y="471016"/>
                </a:cubicBezTo>
                <a:cubicBezTo>
                  <a:pt x="3583889" y="477019"/>
                  <a:pt x="3588749" y="483308"/>
                  <a:pt x="3594752" y="489026"/>
                </a:cubicBezTo>
                <a:close/>
                <a:moveTo>
                  <a:pt x="4674266" y="465298"/>
                </a:moveTo>
                <a:cubicBezTo>
                  <a:pt x="4750598" y="465584"/>
                  <a:pt x="4812350" y="527622"/>
                  <a:pt x="4812921" y="603379"/>
                </a:cubicBezTo>
                <a:lnTo>
                  <a:pt x="4812636" y="721734"/>
                </a:lnTo>
                <a:lnTo>
                  <a:pt x="4812064" y="854957"/>
                </a:lnTo>
                <a:cubicBezTo>
                  <a:pt x="4811779" y="930717"/>
                  <a:pt x="4749741" y="992468"/>
                  <a:pt x="4673980" y="992468"/>
                </a:cubicBezTo>
                <a:lnTo>
                  <a:pt x="4673695" y="992468"/>
                </a:lnTo>
                <a:cubicBezTo>
                  <a:pt x="4636814" y="992468"/>
                  <a:pt x="4601936" y="977888"/>
                  <a:pt x="4576206" y="951873"/>
                </a:cubicBezTo>
                <a:cubicBezTo>
                  <a:pt x="4550191" y="925857"/>
                  <a:pt x="4535896" y="891265"/>
                  <a:pt x="4535896" y="854384"/>
                </a:cubicBezTo>
                <a:lnTo>
                  <a:pt x="4536182" y="736028"/>
                </a:lnTo>
                <a:lnTo>
                  <a:pt x="4536182" y="721448"/>
                </a:lnTo>
                <a:lnTo>
                  <a:pt x="4536182" y="721162"/>
                </a:lnTo>
                <a:lnTo>
                  <a:pt x="4536468" y="602807"/>
                </a:lnTo>
                <a:cubicBezTo>
                  <a:pt x="4536468" y="527050"/>
                  <a:pt x="4598506" y="465298"/>
                  <a:pt x="4674266" y="465298"/>
                </a:cubicBezTo>
                <a:close/>
                <a:moveTo>
                  <a:pt x="3721116" y="459007"/>
                </a:moveTo>
                <a:lnTo>
                  <a:pt x="3720543" y="528193"/>
                </a:lnTo>
                <a:cubicBezTo>
                  <a:pt x="3756565" y="517043"/>
                  <a:pt x="3767430" y="489026"/>
                  <a:pt x="3770574" y="470157"/>
                </a:cubicBezTo>
                <a:cubicBezTo>
                  <a:pt x="3755994" y="471302"/>
                  <a:pt x="3742271" y="469586"/>
                  <a:pt x="3730836" y="465012"/>
                </a:cubicBezTo>
                <a:cubicBezTo>
                  <a:pt x="3727691" y="463583"/>
                  <a:pt x="3724260" y="461581"/>
                  <a:pt x="3721116" y="459007"/>
                </a:cubicBezTo>
                <a:close/>
                <a:moveTo>
                  <a:pt x="4025586" y="420414"/>
                </a:moveTo>
                <a:cubicBezTo>
                  <a:pt x="4018439" y="445000"/>
                  <a:pt x="4009290" y="465297"/>
                  <a:pt x="3998141" y="480736"/>
                </a:cubicBezTo>
                <a:cubicBezTo>
                  <a:pt x="4017010" y="497888"/>
                  <a:pt x="4036164" y="513613"/>
                  <a:pt x="4054747" y="527621"/>
                </a:cubicBezTo>
                <a:cubicBezTo>
                  <a:pt x="4099631" y="560497"/>
                  <a:pt x="4165386" y="600235"/>
                  <a:pt x="4225137" y="603379"/>
                </a:cubicBezTo>
                <a:lnTo>
                  <a:pt x="4243718" y="604237"/>
                </a:lnTo>
                <a:cubicBezTo>
                  <a:pt x="4300611" y="602522"/>
                  <a:pt x="4335203" y="571074"/>
                  <a:pt x="4350927" y="552778"/>
                </a:cubicBezTo>
                <a:cubicBezTo>
                  <a:pt x="4328342" y="550204"/>
                  <a:pt x="4286316" y="544203"/>
                  <a:pt x="4255155" y="529337"/>
                </a:cubicBezTo>
                <a:cubicBezTo>
                  <a:pt x="4205124" y="509896"/>
                  <a:pt x="4157381" y="476733"/>
                  <a:pt x="4113640" y="430705"/>
                </a:cubicBezTo>
                <a:lnTo>
                  <a:pt x="4108208" y="429848"/>
                </a:lnTo>
                <a:cubicBezTo>
                  <a:pt x="4098202" y="432707"/>
                  <a:pt x="4088196" y="434135"/>
                  <a:pt x="4078190" y="434135"/>
                </a:cubicBezTo>
                <a:cubicBezTo>
                  <a:pt x="4055891" y="434135"/>
                  <a:pt x="4037879" y="427274"/>
                  <a:pt x="4025586" y="420414"/>
                </a:cubicBezTo>
                <a:close/>
                <a:moveTo>
                  <a:pt x="3302003" y="420414"/>
                </a:moveTo>
                <a:cubicBezTo>
                  <a:pt x="3289710" y="427274"/>
                  <a:pt x="3271413" y="434135"/>
                  <a:pt x="3249400" y="434135"/>
                </a:cubicBezTo>
                <a:cubicBezTo>
                  <a:pt x="3239394" y="434135"/>
                  <a:pt x="3229102" y="432707"/>
                  <a:pt x="3219382" y="429848"/>
                </a:cubicBezTo>
                <a:lnTo>
                  <a:pt x="3213949" y="430705"/>
                </a:lnTo>
                <a:cubicBezTo>
                  <a:pt x="3170208" y="476733"/>
                  <a:pt x="3122752" y="510182"/>
                  <a:pt x="3072149" y="529623"/>
                </a:cubicBezTo>
                <a:cubicBezTo>
                  <a:pt x="3041273" y="544489"/>
                  <a:pt x="2999248" y="550490"/>
                  <a:pt x="2977234" y="552491"/>
                </a:cubicBezTo>
                <a:cubicBezTo>
                  <a:pt x="2992672" y="570789"/>
                  <a:pt x="3027264" y="602236"/>
                  <a:pt x="3084442" y="603951"/>
                </a:cubicBezTo>
                <a:lnTo>
                  <a:pt x="3103025" y="603094"/>
                </a:lnTo>
                <a:cubicBezTo>
                  <a:pt x="3162775" y="599949"/>
                  <a:pt x="3228529" y="560211"/>
                  <a:pt x="3273129" y="527335"/>
                </a:cubicBezTo>
                <a:cubicBezTo>
                  <a:pt x="3291997" y="513327"/>
                  <a:pt x="3310865" y="497603"/>
                  <a:pt x="3329734" y="480450"/>
                </a:cubicBezTo>
                <a:cubicBezTo>
                  <a:pt x="3318298" y="465012"/>
                  <a:pt x="3308865" y="445000"/>
                  <a:pt x="3302003" y="420414"/>
                </a:cubicBezTo>
                <a:close/>
                <a:moveTo>
                  <a:pt x="3754850" y="405832"/>
                </a:moveTo>
                <a:cubicBezTo>
                  <a:pt x="3759996" y="405832"/>
                  <a:pt x="3765428" y="407833"/>
                  <a:pt x="3770859" y="410692"/>
                </a:cubicBezTo>
                <a:lnTo>
                  <a:pt x="3771431" y="411264"/>
                </a:lnTo>
                <a:lnTo>
                  <a:pt x="3770859" y="411835"/>
                </a:lnTo>
                <a:cubicBezTo>
                  <a:pt x="3770859" y="411835"/>
                  <a:pt x="3765714" y="416124"/>
                  <a:pt x="3758280" y="416124"/>
                </a:cubicBezTo>
                <a:cubicBezTo>
                  <a:pt x="3752849" y="416124"/>
                  <a:pt x="3747989" y="414122"/>
                  <a:pt x="3743414" y="409835"/>
                </a:cubicBezTo>
                <a:lnTo>
                  <a:pt x="3742843" y="409262"/>
                </a:lnTo>
                <a:lnTo>
                  <a:pt x="3743414" y="408976"/>
                </a:lnTo>
                <a:cubicBezTo>
                  <a:pt x="3743700" y="408691"/>
                  <a:pt x="3747703" y="405832"/>
                  <a:pt x="3754850" y="405832"/>
                </a:cubicBezTo>
                <a:close/>
                <a:moveTo>
                  <a:pt x="3590178" y="405832"/>
                </a:moveTo>
                <a:cubicBezTo>
                  <a:pt x="3595324" y="405832"/>
                  <a:pt x="3600756" y="407548"/>
                  <a:pt x="3606187" y="410978"/>
                </a:cubicBezTo>
                <a:lnTo>
                  <a:pt x="3606759" y="411550"/>
                </a:lnTo>
                <a:lnTo>
                  <a:pt x="3606187" y="412121"/>
                </a:lnTo>
                <a:cubicBezTo>
                  <a:pt x="3606187" y="412121"/>
                  <a:pt x="3601041" y="416410"/>
                  <a:pt x="3593609" y="416410"/>
                </a:cubicBezTo>
                <a:cubicBezTo>
                  <a:pt x="3588463" y="416410"/>
                  <a:pt x="3583317" y="414408"/>
                  <a:pt x="3578742" y="409835"/>
                </a:cubicBezTo>
                <a:lnTo>
                  <a:pt x="3578171" y="409262"/>
                </a:lnTo>
                <a:lnTo>
                  <a:pt x="3578742" y="408976"/>
                </a:lnTo>
                <a:cubicBezTo>
                  <a:pt x="3578742" y="408691"/>
                  <a:pt x="3583031" y="405832"/>
                  <a:pt x="3590178" y="405832"/>
                </a:cubicBezTo>
                <a:close/>
                <a:moveTo>
                  <a:pt x="3589035" y="400687"/>
                </a:moveTo>
                <a:cubicBezTo>
                  <a:pt x="3580459" y="400687"/>
                  <a:pt x="3573025" y="402402"/>
                  <a:pt x="3567022" y="405547"/>
                </a:cubicBezTo>
                <a:cubicBezTo>
                  <a:pt x="3565306" y="406405"/>
                  <a:pt x="3526139" y="424988"/>
                  <a:pt x="3516134" y="457578"/>
                </a:cubicBezTo>
                <a:cubicBezTo>
                  <a:pt x="3511273" y="473875"/>
                  <a:pt x="3514132" y="491313"/>
                  <a:pt x="3524996" y="509610"/>
                </a:cubicBezTo>
                <a:cubicBezTo>
                  <a:pt x="3525854" y="511040"/>
                  <a:pt x="3551011" y="551062"/>
                  <a:pt x="3601900" y="587085"/>
                </a:cubicBezTo>
                <a:lnTo>
                  <a:pt x="3613621" y="595375"/>
                </a:lnTo>
                <a:lnTo>
                  <a:pt x="3602472" y="604237"/>
                </a:lnTo>
                <a:cubicBezTo>
                  <a:pt x="3577313" y="624250"/>
                  <a:pt x="3546724" y="657127"/>
                  <a:pt x="3544723" y="701439"/>
                </a:cubicBezTo>
                <a:cubicBezTo>
                  <a:pt x="3543293" y="735744"/>
                  <a:pt x="3561590" y="768905"/>
                  <a:pt x="3599327" y="799781"/>
                </a:cubicBezTo>
                <a:lnTo>
                  <a:pt x="3622484" y="818650"/>
                </a:lnTo>
                <a:lnTo>
                  <a:pt x="3596468" y="818650"/>
                </a:lnTo>
                <a:cubicBezTo>
                  <a:pt x="3590465" y="823795"/>
                  <a:pt x="3571596" y="842664"/>
                  <a:pt x="3567307" y="874112"/>
                </a:cubicBezTo>
                <a:cubicBezTo>
                  <a:pt x="3561876" y="913565"/>
                  <a:pt x="3580172" y="958449"/>
                  <a:pt x="3621340" y="1007336"/>
                </a:cubicBezTo>
                <a:lnTo>
                  <a:pt x="3625057" y="1011910"/>
                </a:lnTo>
                <a:lnTo>
                  <a:pt x="3623056" y="1013625"/>
                </a:lnTo>
                <a:lnTo>
                  <a:pt x="3625914" y="1018486"/>
                </a:lnTo>
                <a:lnTo>
                  <a:pt x="3621912" y="1021630"/>
                </a:lnTo>
                <a:cubicBezTo>
                  <a:pt x="3592752" y="1045359"/>
                  <a:pt x="3578457" y="1066228"/>
                  <a:pt x="3578457" y="1085097"/>
                </a:cubicBezTo>
                <a:cubicBezTo>
                  <a:pt x="3578457" y="1106253"/>
                  <a:pt x="3595611" y="1130839"/>
                  <a:pt x="3628773" y="1155712"/>
                </a:cubicBezTo>
                <a:lnTo>
                  <a:pt x="3641353" y="1163431"/>
                </a:lnTo>
                <a:lnTo>
                  <a:pt x="3635349" y="1168577"/>
                </a:lnTo>
                <a:cubicBezTo>
                  <a:pt x="3624200" y="1178011"/>
                  <a:pt x="3598755" y="1202312"/>
                  <a:pt x="3599613" y="1227755"/>
                </a:cubicBezTo>
                <a:cubicBezTo>
                  <a:pt x="3599899" y="1242335"/>
                  <a:pt x="3605617" y="1254914"/>
                  <a:pt x="3617624" y="1268066"/>
                </a:cubicBezTo>
                <a:cubicBezTo>
                  <a:pt x="3613335" y="1242622"/>
                  <a:pt x="3614479" y="1206314"/>
                  <a:pt x="3647356" y="1181727"/>
                </a:cubicBezTo>
                <a:lnTo>
                  <a:pt x="3659935" y="1172007"/>
                </a:lnTo>
                <a:lnTo>
                  <a:pt x="3663366" y="1174008"/>
                </a:lnTo>
                <a:cubicBezTo>
                  <a:pt x="3667368" y="1176296"/>
                  <a:pt x="3671085" y="1179440"/>
                  <a:pt x="3674229" y="1182299"/>
                </a:cubicBezTo>
                <a:cubicBezTo>
                  <a:pt x="3677375" y="1185158"/>
                  <a:pt x="3680805" y="1188303"/>
                  <a:pt x="3684235" y="1190019"/>
                </a:cubicBezTo>
                <a:cubicBezTo>
                  <a:pt x="3702533" y="1199739"/>
                  <a:pt x="3713396" y="1213175"/>
                  <a:pt x="3716542" y="1230328"/>
                </a:cubicBezTo>
                <a:cubicBezTo>
                  <a:pt x="3719400" y="1247196"/>
                  <a:pt x="3713968" y="1264635"/>
                  <a:pt x="3706821" y="1278643"/>
                </a:cubicBezTo>
                <a:cubicBezTo>
                  <a:pt x="3718829" y="1270924"/>
                  <a:pt x="3726833" y="1260919"/>
                  <a:pt x="3729978" y="1249769"/>
                </a:cubicBezTo>
                <a:cubicBezTo>
                  <a:pt x="3735696" y="1231472"/>
                  <a:pt x="3728834" y="1210031"/>
                  <a:pt x="3711967" y="1190876"/>
                </a:cubicBezTo>
                <a:lnTo>
                  <a:pt x="3705392" y="1183443"/>
                </a:lnTo>
                <a:lnTo>
                  <a:pt x="3712539" y="1176296"/>
                </a:lnTo>
                <a:cubicBezTo>
                  <a:pt x="3717684" y="1171150"/>
                  <a:pt x="3761140" y="1125979"/>
                  <a:pt x="3760282" y="1077378"/>
                </a:cubicBezTo>
                <a:cubicBezTo>
                  <a:pt x="3759996" y="1056223"/>
                  <a:pt x="3750562" y="1037069"/>
                  <a:pt x="3732836" y="1020773"/>
                </a:cubicBezTo>
                <a:lnTo>
                  <a:pt x="3722259" y="1011053"/>
                </a:lnTo>
                <a:lnTo>
                  <a:pt x="3734552" y="1003905"/>
                </a:lnTo>
                <a:cubicBezTo>
                  <a:pt x="3766000" y="985037"/>
                  <a:pt x="3802308" y="957306"/>
                  <a:pt x="3802308" y="907846"/>
                </a:cubicBezTo>
                <a:cubicBezTo>
                  <a:pt x="3802308" y="856387"/>
                  <a:pt x="3758281" y="824653"/>
                  <a:pt x="3713110" y="796636"/>
                </a:cubicBezTo>
                <a:lnTo>
                  <a:pt x="3698244" y="787488"/>
                </a:lnTo>
                <a:lnTo>
                  <a:pt x="3713110" y="778625"/>
                </a:lnTo>
                <a:cubicBezTo>
                  <a:pt x="3722259" y="773194"/>
                  <a:pt x="3802879" y="723165"/>
                  <a:pt x="3805166" y="666847"/>
                </a:cubicBezTo>
                <a:cubicBezTo>
                  <a:pt x="3806310" y="642833"/>
                  <a:pt x="3792016" y="620247"/>
                  <a:pt x="3763141" y="599378"/>
                </a:cubicBezTo>
                <a:lnTo>
                  <a:pt x="3747131" y="587942"/>
                </a:lnTo>
                <a:lnTo>
                  <a:pt x="3765428" y="580795"/>
                </a:lnTo>
                <a:cubicBezTo>
                  <a:pt x="3766857" y="580509"/>
                  <a:pt x="3768001" y="579937"/>
                  <a:pt x="3769144" y="579365"/>
                </a:cubicBezTo>
                <a:cubicBezTo>
                  <a:pt x="3795732" y="567644"/>
                  <a:pt x="3831468" y="528479"/>
                  <a:pt x="3841760" y="489312"/>
                </a:cubicBezTo>
                <a:cubicBezTo>
                  <a:pt x="3847764" y="467870"/>
                  <a:pt x="3845477" y="449287"/>
                  <a:pt x="3834899" y="434422"/>
                </a:cubicBezTo>
                <a:cubicBezTo>
                  <a:pt x="3820605" y="413838"/>
                  <a:pt x="3798019" y="403546"/>
                  <a:pt x="3768001" y="403546"/>
                </a:cubicBezTo>
                <a:cubicBezTo>
                  <a:pt x="3745702" y="403546"/>
                  <a:pt x="3727404" y="409835"/>
                  <a:pt x="3727119" y="409835"/>
                </a:cubicBezTo>
                <a:cubicBezTo>
                  <a:pt x="3725976" y="410122"/>
                  <a:pt x="3721973" y="411836"/>
                  <a:pt x="3721973" y="419269"/>
                </a:cubicBezTo>
                <a:cubicBezTo>
                  <a:pt x="3721973" y="429275"/>
                  <a:pt x="3729406" y="440997"/>
                  <a:pt x="3738555" y="445000"/>
                </a:cubicBezTo>
                <a:cubicBezTo>
                  <a:pt x="3744843" y="447573"/>
                  <a:pt x="3752277" y="449003"/>
                  <a:pt x="3760568" y="449003"/>
                </a:cubicBezTo>
                <a:cubicBezTo>
                  <a:pt x="3770002" y="449003"/>
                  <a:pt x="3777435" y="447001"/>
                  <a:pt x="3778864" y="446715"/>
                </a:cubicBezTo>
                <a:lnTo>
                  <a:pt x="3792587" y="442998"/>
                </a:lnTo>
                <a:lnTo>
                  <a:pt x="3792587" y="457007"/>
                </a:lnTo>
                <a:cubicBezTo>
                  <a:pt x="3792587" y="469872"/>
                  <a:pt x="3788871" y="535626"/>
                  <a:pt x="3716255" y="550777"/>
                </a:cubicBezTo>
                <a:cubicBezTo>
                  <a:pt x="3707678" y="552491"/>
                  <a:pt x="3697958" y="555065"/>
                  <a:pt x="3687953" y="558496"/>
                </a:cubicBezTo>
                <a:lnTo>
                  <a:pt x="3684235" y="559639"/>
                </a:lnTo>
                <a:lnTo>
                  <a:pt x="3678232" y="557351"/>
                </a:lnTo>
                <a:cubicBezTo>
                  <a:pt x="3677088" y="557066"/>
                  <a:pt x="3675945" y="556494"/>
                  <a:pt x="3674801" y="556208"/>
                </a:cubicBezTo>
                <a:cubicBezTo>
                  <a:pt x="3670513" y="555065"/>
                  <a:pt x="3567022" y="523619"/>
                  <a:pt x="3554443" y="461867"/>
                </a:cubicBezTo>
                <a:lnTo>
                  <a:pt x="3551584" y="447858"/>
                </a:lnTo>
                <a:lnTo>
                  <a:pt x="3565878" y="449003"/>
                </a:lnTo>
                <a:cubicBezTo>
                  <a:pt x="3566164" y="449287"/>
                  <a:pt x="3568737" y="449287"/>
                  <a:pt x="3572453" y="449287"/>
                </a:cubicBezTo>
                <a:cubicBezTo>
                  <a:pt x="3586176" y="449287"/>
                  <a:pt x="3619053" y="447001"/>
                  <a:pt x="3627630" y="427274"/>
                </a:cubicBezTo>
                <a:cubicBezTo>
                  <a:pt x="3629631" y="422986"/>
                  <a:pt x="3629345" y="418984"/>
                  <a:pt x="3627058" y="415553"/>
                </a:cubicBezTo>
                <a:cubicBezTo>
                  <a:pt x="3621340" y="406976"/>
                  <a:pt x="3605617" y="400687"/>
                  <a:pt x="3589035" y="400687"/>
                </a:cubicBezTo>
                <a:close/>
                <a:moveTo>
                  <a:pt x="913408" y="392392"/>
                </a:moveTo>
                <a:cubicBezTo>
                  <a:pt x="828213" y="392392"/>
                  <a:pt x="741016" y="452999"/>
                  <a:pt x="656966" y="511607"/>
                </a:cubicBezTo>
                <a:cubicBezTo>
                  <a:pt x="591213" y="557635"/>
                  <a:pt x="523170" y="604806"/>
                  <a:pt x="455986" y="623675"/>
                </a:cubicBezTo>
                <a:cubicBezTo>
                  <a:pt x="428541" y="631394"/>
                  <a:pt x="404241" y="637684"/>
                  <a:pt x="384800" y="642544"/>
                </a:cubicBezTo>
                <a:cubicBezTo>
                  <a:pt x="317331" y="659697"/>
                  <a:pt x="276734" y="669989"/>
                  <a:pt x="274447" y="692574"/>
                </a:cubicBezTo>
                <a:cubicBezTo>
                  <a:pt x="273018" y="706297"/>
                  <a:pt x="302465" y="744033"/>
                  <a:pt x="365932" y="771477"/>
                </a:cubicBezTo>
                <a:cubicBezTo>
                  <a:pt x="392234" y="782913"/>
                  <a:pt x="434544" y="796636"/>
                  <a:pt x="486862" y="796636"/>
                </a:cubicBezTo>
                <a:cubicBezTo>
                  <a:pt x="576917" y="796636"/>
                  <a:pt x="660396" y="756897"/>
                  <a:pt x="735871" y="678565"/>
                </a:cubicBezTo>
                <a:cubicBezTo>
                  <a:pt x="721576" y="670561"/>
                  <a:pt x="707568" y="659411"/>
                  <a:pt x="694131" y="645403"/>
                </a:cubicBezTo>
                <a:lnTo>
                  <a:pt x="691272" y="642258"/>
                </a:lnTo>
                <a:lnTo>
                  <a:pt x="694131" y="638827"/>
                </a:lnTo>
                <a:lnTo>
                  <a:pt x="707568" y="626534"/>
                </a:lnTo>
                <a:lnTo>
                  <a:pt x="710428" y="629679"/>
                </a:lnTo>
                <a:cubicBezTo>
                  <a:pt x="737586" y="657982"/>
                  <a:pt x="765603" y="671990"/>
                  <a:pt x="794193" y="671990"/>
                </a:cubicBezTo>
                <a:cubicBezTo>
                  <a:pt x="827356" y="671705"/>
                  <a:pt x="849941" y="652836"/>
                  <a:pt x="850798" y="651978"/>
                </a:cubicBezTo>
                <a:lnTo>
                  <a:pt x="865093" y="639685"/>
                </a:lnTo>
                <a:lnTo>
                  <a:pt x="865378" y="641114"/>
                </a:lnTo>
                <a:lnTo>
                  <a:pt x="867094" y="639971"/>
                </a:lnTo>
                <a:lnTo>
                  <a:pt x="870810" y="659126"/>
                </a:lnTo>
                <a:cubicBezTo>
                  <a:pt x="873669" y="673706"/>
                  <a:pt x="877957" y="688001"/>
                  <a:pt x="884247" y="701722"/>
                </a:cubicBezTo>
                <a:cubicBezTo>
                  <a:pt x="890536" y="716016"/>
                  <a:pt x="897683" y="727738"/>
                  <a:pt x="905688" y="737172"/>
                </a:cubicBezTo>
                <a:lnTo>
                  <a:pt x="911121" y="743747"/>
                </a:lnTo>
                <a:cubicBezTo>
                  <a:pt x="917410" y="749464"/>
                  <a:pt x="924271" y="754038"/>
                  <a:pt x="931418" y="757183"/>
                </a:cubicBezTo>
                <a:cubicBezTo>
                  <a:pt x="939709" y="760900"/>
                  <a:pt x="949143" y="762615"/>
                  <a:pt x="958863" y="762615"/>
                </a:cubicBezTo>
                <a:cubicBezTo>
                  <a:pt x="981449" y="762615"/>
                  <a:pt x="999174" y="752895"/>
                  <a:pt x="999460" y="752895"/>
                </a:cubicBezTo>
                <a:lnTo>
                  <a:pt x="1010324" y="746606"/>
                </a:lnTo>
                <a:lnTo>
                  <a:pt x="1015184" y="757469"/>
                </a:lnTo>
                <a:cubicBezTo>
                  <a:pt x="1019759" y="767760"/>
                  <a:pt x="1025190" y="776623"/>
                  <a:pt x="1031480" y="783770"/>
                </a:cubicBezTo>
                <a:cubicBezTo>
                  <a:pt x="1036053" y="788916"/>
                  <a:pt x="1041486" y="793776"/>
                  <a:pt x="1047203" y="797779"/>
                </a:cubicBezTo>
                <a:cubicBezTo>
                  <a:pt x="1053778" y="802068"/>
                  <a:pt x="1061498" y="804926"/>
                  <a:pt x="1069216" y="806070"/>
                </a:cubicBezTo>
                <a:cubicBezTo>
                  <a:pt x="1074363" y="806928"/>
                  <a:pt x="1079795" y="806928"/>
                  <a:pt x="1085512" y="806356"/>
                </a:cubicBezTo>
                <a:cubicBezTo>
                  <a:pt x="1076364" y="794920"/>
                  <a:pt x="1071789" y="787202"/>
                  <a:pt x="1071789" y="787202"/>
                </a:cubicBezTo>
                <a:cubicBezTo>
                  <a:pt x="1056352" y="761757"/>
                  <a:pt x="1052635" y="736600"/>
                  <a:pt x="1060068" y="712871"/>
                </a:cubicBezTo>
                <a:cubicBezTo>
                  <a:pt x="1074363" y="667416"/>
                  <a:pt x="1124107" y="644545"/>
                  <a:pt x="1126395" y="643687"/>
                </a:cubicBezTo>
                <a:cubicBezTo>
                  <a:pt x="1130396" y="641400"/>
                  <a:pt x="1135542" y="639685"/>
                  <a:pt x="1141546" y="638256"/>
                </a:cubicBezTo>
                <a:cubicBezTo>
                  <a:pt x="1135828" y="622246"/>
                  <a:pt x="1130682" y="603663"/>
                  <a:pt x="1126680" y="588225"/>
                </a:cubicBezTo>
                <a:lnTo>
                  <a:pt x="1125822" y="585366"/>
                </a:lnTo>
                <a:cubicBezTo>
                  <a:pt x="1108955" y="523615"/>
                  <a:pt x="1091801" y="460148"/>
                  <a:pt x="988882" y="409831"/>
                </a:cubicBezTo>
                <a:cubicBezTo>
                  <a:pt x="964582" y="398110"/>
                  <a:pt x="939995" y="392392"/>
                  <a:pt x="913408" y="392392"/>
                </a:cubicBezTo>
                <a:close/>
                <a:moveTo>
                  <a:pt x="1565519" y="392106"/>
                </a:moveTo>
                <a:cubicBezTo>
                  <a:pt x="1539217" y="392106"/>
                  <a:pt x="1513772" y="398110"/>
                  <a:pt x="1490043" y="409545"/>
                </a:cubicBezTo>
                <a:cubicBezTo>
                  <a:pt x="1387124" y="459576"/>
                  <a:pt x="1369685" y="523329"/>
                  <a:pt x="1353104" y="585080"/>
                </a:cubicBezTo>
                <a:cubicBezTo>
                  <a:pt x="1350530" y="594800"/>
                  <a:pt x="1343956" y="618244"/>
                  <a:pt x="1336236" y="639113"/>
                </a:cubicBezTo>
                <a:cubicBezTo>
                  <a:pt x="1382550" y="634539"/>
                  <a:pt x="1420287" y="649406"/>
                  <a:pt x="1442872" y="681139"/>
                </a:cubicBezTo>
                <a:cubicBezTo>
                  <a:pt x="1458024" y="702866"/>
                  <a:pt x="1461455" y="729739"/>
                  <a:pt x="1453450" y="759184"/>
                </a:cubicBezTo>
                <a:cubicBezTo>
                  <a:pt x="1450591" y="769476"/>
                  <a:pt x="1446589" y="780055"/>
                  <a:pt x="1440871" y="790632"/>
                </a:cubicBezTo>
                <a:cubicBezTo>
                  <a:pt x="1443158" y="788630"/>
                  <a:pt x="1445445" y="786343"/>
                  <a:pt x="1447732" y="783770"/>
                </a:cubicBezTo>
                <a:cubicBezTo>
                  <a:pt x="1453736" y="776623"/>
                  <a:pt x="1459168" y="767760"/>
                  <a:pt x="1464028" y="757469"/>
                </a:cubicBezTo>
                <a:lnTo>
                  <a:pt x="1468888" y="746035"/>
                </a:lnTo>
                <a:lnTo>
                  <a:pt x="1479752" y="752609"/>
                </a:lnTo>
                <a:cubicBezTo>
                  <a:pt x="1480037" y="752609"/>
                  <a:pt x="1497763" y="762329"/>
                  <a:pt x="1520348" y="762329"/>
                </a:cubicBezTo>
                <a:cubicBezTo>
                  <a:pt x="1530068" y="762329"/>
                  <a:pt x="1539217" y="760614"/>
                  <a:pt x="1547793" y="756897"/>
                </a:cubicBezTo>
                <a:cubicBezTo>
                  <a:pt x="1555226" y="753753"/>
                  <a:pt x="1562087" y="748892"/>
                  <a:pt x="1568663" y="742889"/>
                </a:cubicBezTo>
                <a:lnTo>
                  <a:pt x="1573809" y="736886"/>
                </a:lnTo>
                <a:cubicBezTo>
                  <a:pt x="1581814" y="727738"/>
                  <a:pt x="1588961" y="715730"/>
                  <a:pt x="1594965" y="701437"/>
                </a:cubicBezTo>
                <a:cubicBezTo>
                  <a:pt x="1600968" y="687428"/>
                  <a:pt x="1605544" y="673133"/>
                  <a:pt x="1608401" y="658553"/>
                </a:cubicBezTo>
                <a:lnTo>
                  <a:pt x="1611833" y="639398"/>
                </a:lnTo>
                <a:lnTo>
                  <a:pt x="1613547" y="640543"/>
                </a:lnTo>
                <a:lnTo>
                  <a:pt x="1613833" y="639113"/>
                </a:lnTo>
                <a:lnTo>
                  <a:pt x="1628128" y="651406"/>
                </a:lnTo>
                <a:cubicBezTo>
                  <a:pt x="1628986" y="652264"/>
                  <a:pt x="1651856" y="671419"/>
                  <a:pt x="1684734" y="671419"/>
                </a:cubicBezTo>
                <a:cubicBezTo>
                  <a:pt x="1713609" y="671419"/>
                  <a:pt x="1741625" y="657410"/>
                  <a:pt x="1768213" y="629679"/>
                </a:cubicBezTo>
                <a:lnTo>
                  <a:pt x="1771071" y="626534"/>
                </a:lnTo>
                <a:lnTo>
                  <a:pt x="1774503" y="628821"/>
                </a:lnTo>
                <a:lnTo>
                  <a:pt x="1788225" y="641400"/>
                </a:lnTo>
                <a:lnTo>
                  <a:pt x="1785080" y="644545"/>
                </a:lnTo>
                <a:cubicBezTo>
                  <a:pt x="1771357" y="659126"/>
                  <a:pt x="1757064" y="670275"/>
                  <a:pt x="1742769" y="678280"/>
                </a:cubicBezTo>
                <a:cubicBezTo>
                  <a:pt x="1817958" y="756611"/>
                  <a:pt x="1901723" y="796349"/>
                  <a:pt x="1992063" y="796349"/>
                </a:cubicBezTo>
                <a:cubicBezTo>
                  <a:pt x="2044381" y="796349"/>
                  <a:pt x="2086693" y="782627"/>
                  <a:pt x="2112994" y="771192"/>
                </a:cubicBezTo>
                <a:cubicBezTo>
                  <a:pt x="2144728" y="757469"/>
                  <a:pt x="2167957" y="741103"/>
                  <a:pt x="2183073" y="726487"/>
                </a:cubicBezTo>
                <a:lnTo>
                  <a:pt x="2188789" y="719596"/>
                </a:lnTo>
                <a:lnTo>
                  <a:pt x="2188918" y="673590"/>
                </a:lnTo>
                <a:lnTo>
                  <a:pt x="2173745" y="665236"/>
                </a:lnTo>
                <a:cubicBezTo>
                  <a:pt x="2154877" y="657696"/>
                  <a:pt x="2127860" y="650834"/>
                  <a:pt x="2094126" y="642258"/>
                </a:cubicBezTo>
                <a:cubicBezTo>
                  <a:pt x="2074399" y="637112"/>
                  <a:pt x="2050098" y="630822"/>
                  <a:pt x="2022939" y="623389"/>
                </a:cubicBezTo>
                <a:cubicBezTo>
                  <a:pt x="1955756" y="604521"/>
                  <a:pt x="1887714" y="557064"/>
                  <a:pt x="1821960" y="511322"/>
                </a:cubicBezTo>
                <a:cubicBezTo>
                  <a:pt x="1737909" y="452715"/>
                  <a:pt x="1650713" y="392106"/>
                  <a:pt x="1565519" y="392106"/>
                </a:cubicBezTo>
                <a:close/>
                <a:moveTo>
                  <a:pt x="2419752" y="332646"/>
                </a:moveTo>
                <a:cubicBezTo>
                  <a:pt x="2311972" y="332360"/>
                  <a:pt x="2224776" y="419556"/>
                  <a:pt x="2224490" y="527622"/>
                </a:cubicBezTo>
                <a:lnTo>
                  <a:pt x="2223782" y="683356"/>
                </a:lnTo>
                <a:lnTo>
                  <a:pt x="2226777" y="690287"/>
                </a:lnTo>
                <a:lnTo>
                  <a:pt x="2223696" y="702406"/>
                </a:lnTo>
                <a:lnTo>
                  <a:pt x="2223632" y="716302"/>
                </a:lnTo>
                <a:lnTo>
                  <a:pt x="2254223" y="716302"/>
                </a:lnTo>
                <a:lnTo>
                  <a:pt x="2254795" y="558210"/>
                </a:lnTo>
                <a:cubicBezTo>
                  <a:pt x="2255080" y="450146"/>
                  <a:pt x="2342562" y="362950"/>
                  <a:pt x="2450056" y="363236"/>
                </a:cubicBezTo>
                <a:cubicBezTo>
                  <a:pt x="2495798" y="363522"/>
                  <a:pt x="2537824" y="379532"/>
                  <a:pt x="2570986" y="406406"/>
                </a:cubicBezTo>
                <a:cubicBezTo>
                  <a:pt x="2535537" y="361521"/>
                  <a:pt x="2480932" y="332933"/>
                  <a:pt x="2419752" y="332646"/>
                </a:cubicBezTo>
                <a:close/>
                <a:moveTo>
                  <a:pt x="1237034" y="303195"/>
                </a:moveTo>
                <a:cubicBezTo>
                  <a:pt x="1174995" y="303195"/>
                  <a:pt x="1124679" y="353511"/>
                  <a:pt x="1124679" y="415549"/>
                </a:cubicBezTo>
                <a:cubicBezTo>
                  <a:pt x="1124679" y="456716"/>
                  <a:pt x="1146978" y="494454"/>
                  <a:pt x="1183000" y="514180"/>
                </a:cubicBezTo>
                <a:lnTo>
                  <a:pt x="1189289" y="517611"/>
                </a:lnTo>
                <a:lnTo>
                  <a:pt x="1189289" y="520183"/>
                </a:lnTo>
                <a:lnTo>
                  <a:pt x="1193006" y="642258"/>
                </a:lnTo>
                <a:cubicBezTo>
                  <a:pt x="1205014" y="646833"/>
                  <a:pt x="1214734" y="653980"/>
                  <a:pt x="1220165" y="662556"/>
                </a:cubicBezTo>
                <a:cubicBezTo>
                  <a:pt x="1227028" y="673133"/>
                  <a:pt x="1227884" y="684855"/>
                  <a:pt x="1222738" y="696862"/>
                </a:cubicBezTo>
                <a:cubicBezTo>
                  <a:pt x="1217021" y="709728"/>
                  <a:pt x="1206156" y="719446"/>
                  <a:pt x="1190433" y="725736"/>
                </a:cubicBezTo>
                <a:lnTo>
                  <a:pt x="1191576" y="773193"/>
                </a:lnTo>
                <a:cubicBezTo>
                  <a:pt x="1223024" y="792919"/>
                  <a:pt x="1259047" y="804069"/>
                  <a:pt x="1259332" y="804069"/>
                </a:cubicBezTo>
                <a:lnTo>
                  <a:pt x="1262764" y="805498"/>
                </a:lnTo>
                <a:cubicBezTo>
                  <a:pt x="1267338" y="804069"/>
                  <a:pt x="1271339" y="802639"/>
                  <a:pt x="1275628" y="801495"/>
                </a:cubicBezTo>
                <a:lnTo>
                  <a:pt x="1284491" y="517611"/>
                </a:lnTo>
                <a:lnTo>
                  <a:pt x="1290780" y="514180"/>
                </a:lnTo>
                <a:cubicBezTo>
                  <a:pt x="1327087" y="494454"/>
                  <a:pt x="1349387" y="456431"/>
                  <a:pt x="1349387" y="415549"/>
                </a:cubicBezTo>
                <a:cubicBezTo>
                  <a:pt x="1349387" y="353511"/>
                  <a:pt x="1299071" y="303195"/>
                  <a:pt x="1237034" y="303195"/>
                </a:cubicBezTo>
                <a:close/>
                <a:moveTo>
                  <a:pt x="1237034" y="278037"/>
                </a:moveTo>
                <a:cubicBezTo>
                  <a:pt x="1312793" y="278037"/>
                  <a:pt x="1374831" y="339788"/>
                  <a:pt x="1374831" y="415834"/>
                </a:cubicBezTo>
                <a:cubicBezTo>
                  <a:pt x="1374831" y="463292"/>
                  <a:pt x="1349673" y="507890"/>
                  <a:pt x="1309363" y="533048"/>
                </a:cubicBezTo>
                <a:lnTo>
                  <a:pt x="1307076" y="645117"/>
                </a:lnTo>
                <a:cubicBezTo>
                  <a:pt x="1307647" y="644831"/>
                  <a:pt x="1308505" y="644831"/>
                  <a:pt x="1309363" y="644545"/>
                </a:cubicBezTo>
                <a:cubicBezTo>
                  <a:pt x="1316224" y="628535"/>
                  <a:pt x="1323371" y="607379"/>
                  <a:pt x="1330804" y="579934"/>
                </a:cubicBezTo>
                <a:cubicBezTo>
                  <a:pt x="1347958" y="516467"/>
                  <a:pt x="1367398" y="444709"/>
                  <a:pt x="1479752" y="390105"/>
                </a:cubicBezTo>
                <a:cubicBezTo>
                  <a:pt x="1506911" y="376668"/>
                  <a:pt x="1535786" y="370093"/>
                  <a:pt x="1565519" y="370093"/>
                </a:cubicBezTo>
                <a:cubicBezTo>
                  <a:pt x="1657288" y="370093"/>
                  <a:pt x="1747629" y="432703"/>
                  <a:pt x="1834825" y="493596"/>
                </a:cubicBezTo>
                <a:cubicBezTo>
                  <a:pt x="1899435" y="538481"/>
                  <a:pt x="1965762" y="584509"/>
                  <a:pt x="2028943" y="602233"/>
                </a:cubicBezTo>
                <a:cubicBezTo>
                  <a:pt x="2055817" y="609667"/>
                  <a:pt x="2080117" y="615956"/>
                  <a:pt x="2099558" y="620817"/>
                </a:cubicBezTo>
                <a:cubicBezTo>
                  <a:pt x="2119427" y="625892"/>
                  <a:pt x="2137063" y="630394"/>
                  <a:pt x="2152402" y="634888"/>
                </a:cubicBezTo>
                <a:lnTo>
                  <a:pt x="2188990" y="648016"/>
                </a:lnTo>
                <a:lnTo>
                  <a:pt x="2189326" y="529051"/>
                </a:lnTo>
                <a:cubicBezTo>
                  <a:pt x="2189612" y="399544"/>
                  <a:pt x="2295391" y="294052"/>
                  <a:pt x="2424898" y="294052"/>
                </a:cubicBezTo>
                <a:cubicBezTo>
                  <a:pt x="2555549" y="294338"/>
                  <a:pt x="2660755" y="400401"/>
                  <a:pt x="2660470" y="530481"/>
                </a:cubicBezTo>
                <a:lnTo>
                  <a:pt x="2659898" y="732884"/>
                </a:lnTo>
                <a:lnTo>
                  <a:pt x="2659327" y="960449"/>
                </a:lnTo>
                <a:cubicBezTo>
                  <a:pt x="2659041" y="1089957"/>
                  <a:pt x="2553262" y="1195449"/>
                  <a:pt x="2423754" y="1195449"/>
                </a:cubicBezTo>
                <a:lnTo>
                  <a:pt x="2423182" y="1195449"/>
                </a:lnTo>
                <a:cubicBezTo>
                  <a:pt x="2360287" y="1195163"/>
                  <a:pt x="2301108" y="1170577"/>
                  <a:pt x="2256796" y="1125978"/>
                </a:cubicBezTo>
                <a:cubicBezTo>
                  <a:pt x="2212482" y="1081380"/>
                  <a:pt x="2188182" y="1022201"/>
                  <a:pt x="2188182" y="959306"/>
                </a:cubicBezTo>
                <a:lnTo>
                  <a:pt x="2188755" y="756897"/>
                </a:lnTo>
                <a:lnTo>
                  <a:pt x="2188755" y="750452"/>
                </a:lnTo>
                <a:lnTo>
                  <a:pt x="2165066" y="769124"/>
                </a:lnTo>
                <a:cubicBezTo>
                  <a:pt x="2152018" y="777642"/>
                  <a:pt x="2137366" y="785629"/>
                  <a:pt x="2121571" y="792633"/>
                </a:cubicBezTo>
                <a:cubicBezTo>
                  <a:pt x="2101272" y="801495"/>
                  <a:pt x="2059818" y="816076"/>
                  <a:pt x="2006357" y="818363"/>
                </a:cubicBezTo>
                <a:cubicBezTo>
                  <a:pt x="2004357" y="821508"/>
                  <a:pt x="1959758" y="900127"/>
                  <a:pt x="1855695" y="900127"/>
                </a:cubicBezTo>
                <a:cubicBezTo>
                  <a:pt x="1851978" y="900127"/>
                  <a:pt x="1847690" y="900127"/>
                  <a:pt x="1843116" y="899841"/>
                </a:cubicBezTo>
                <a:cubicBezTo>
                  <a:pt x="1828535" y="910133"/>
                  <a:pt x="1766784" y="950158"/>
                  <a:pt x="1676443" y="950158"/>
                </a:cubicBezTo>
                <a:cubicBezTo>
                  <a:pt x="1586388" y="950158"/>
                  <a:pt x="1496905" y="910990"/>
                  <a:pt x="1410281" y="834087"/>
                </a:cubicBezTo>
                <a:cubicBezTo>
                  <a:pt x="1398560" y="846952"/>
                  <a:pt x="1385980" y="857816"/>
                  <a:pt x="1373974" y="865249"/>
                </a:cubicBezTo>
                <a:cubicBezTo>
                  <a:pt x="1401990" y="889549"/>
                  <a:pt x="1415428" y="916709"/>
                  <a:pt x="1414283" y="945869"/>
                </a:cubicBezTo>
                <a:cubicBezTo>
                  <a:pt x="1411711" y="1003904"/>
                  <a:pt x="1351102" y="1052791"/>
                  <a:pt x="1319655" y="1074233"/>
                </a:cubicBezTo>
                <a:cubicBezTo>
                  <a:pt x="1367970" y="1105395"/>
                  <a:pt x="1411139" y="1143132"/>
                  <a:pt x="1411139" y="1203168"/>
                </a:cubicBezTo>
                <a:cubicBezTo>
                  <a:pt x="1411139" y="1263205"/>
                  <a:pt x="1371400" y="1297226"/>
                  <a:pt x="1339380" y="1318096"/>
                </a:cubicBezTo>
                <a:cubicBezTo>
                  <a:pt x="1356249" y="1337536"/>
                  <a:pt x="1365397" y="1359835"/>
                  <a:pt x="1365683" y="1384421"/>
                </a:cubicBezTo>
                <a:cubicBezTo>
                  <a:pt x="1366826" y="1435595"/>
                  <a:pt x="1329947" y="1482481"/>
                  <a:pt x="1315080" y="1499348"/>
                </a:cubicBezTo>
                <a:cubicBezTo>
                  <a:pt x="1333377" y="1523934"/>
                  <a:pt x="1339953" y="1551952"/>
                  <a:pt x="1332519" y="1576252"/>
                </a:cubicBezTo>
                <a:cubicBezTo>
                  <a:pt x="1325373" y="1601124"/>
                  <a:pt x="1305074" y="1620565"/>
                  <a:pt x="1273912" y="1632286"/>
                </a:cubicBezTo>
                <a:lnTo>
                  <a:pt x="1273056" y="1659159"/>
                </a:lnTo>
                <a:cubicBezTo>
                  <a:pt x="1273056" y="1668594"/>
                  <a:pt x="1269338" y="1677457"/>
                  <a:pt x="1262477" y="1684318"/>
                </a:cubicBezTo>
                <a:cubicBezTo>
                  <a:pt x="1255616" y="1691179"/>
                  <a:pt x="1246467" y="1694896"/>
                  <a:pt x="1236747" y="1694896"/>
                </a:cubicBezTo>
                <a:cubicBezTo>
                  <a:pt x="1216736" y="1694896"/>
                  <a:pt x="1200439" y="1678600"/>
                  <a:pt x="1200439" y="1658588"/>
                </a:cubicBezTo>
                <a:lnTo>
                  <a:pt x="1199582" y="1629999"/>
                </a:lnTo>
                <a:cubicBezTo>
                  <a:pt x="1163274" y="1609416"/>
                  <a:pt x="1149265" y="1573393"/>
                  <a:pt x="1148694" y="1546234"/>
                </a:cubicBezTo>
                <a:cubicBezTo>
                  <a:pt x="1147835" y="1515358"/>
                  <a:pt x="1165561" y="1491344"/>
                  <a:pt x="1178140" y="1478193"/>
                </a:cubicBezTo>
                <a:cubicBezTo>
                  <a:pt x="1143549" y="1449604"/>
                  <a:pt x="1126108" y="1421015"/>
                  <a:pt x="1126108" y="1392998"/>
                </a:cubicBezTo>
                <a:cubicBezTo>
                  <a:pt x="1126108" y="1367554"/>
                  <a:pt x="1140403" y="1342968"/>
                  <a:pt x="1170708" y="1316094"/>
                </a:cubicBezTo>
                <a:cubicBezTo>
                  <a:pt x="1100950" y="1229470"/>
                  <a:pt x="1106954" y="1166289"/>
                  <a:pt x="1124679" y="1128551"/>
                </a:cubicBezTo>
                <a:cubicBezTo>
                  <a:pt x="1130111" y="1117117"/>
                  <a:pt x="1138115" y="1105108"/>
                  <a:pt x="1146978" y="1095960"/>
                </a:cubicBezTo>
                <a:cubicBezTo>
                  <a:pt x="1107240" y="1060510"/>
                  <a:pt x="1088371" y="1021629"/>
                  <a:pt x="1090087" y="980461"/>
                </a:cubicBezTo>
                <a:cubicBezTo>
                  <a:pt x="1091801" y="940152"/>
                  <a:pt x="1112386" y="901842"/>
                  <a:pt x="1149265" y="868965"/>
                </a:cubicBezTo>
                <a:cubicBezTo>
                  <a:pt x="1132685" y="856386"/>
                  <a:pt x="1116960" y="842092"/>
                  <a:pt x="1102952" y="826940"/>
                </a:cubicBezTo>
                <a:cubicBezTo>
                  <a:pt x="1094660" y="828941"/>
                  <a:pt x="1086655" y="829798"/>
                  <a:pt x="1078937" y="829798"/>
                </a:cubicBezTo>
                <a:cubicBezTo>
                  <a:pt x="1077221" y="829798"/>
                  <a:pt x="1075506" y="829798"/>
                  <a:pt x="1073219" y="829513"/>
                </a:cubicBezTo>
                <a:cubicBezTo>
                  <a:pt x="1029335" y="869395"/>
                  <a:pt x="984593" y="899413"/>
                  <a:pt x="939352" y="919460"/>
                </a:cubicBezTo>
                <a:lnTo>
                  <a:pt x="923763" y="924622"/>
                </a:lnTo>
                <a:lnTo>
                  <a:pt x="926099" y="925071"/>
                </a:lnTo>
                <a:cubicBezTo>
                  <a:pt x="947769" y="937131"/>
                  <a:pt x="965297" y="968812"/>
                  <a:pt x="969158" y="988753"/>
                </a:cubicBezTo>
                <a:cubicBezTo>
                  <a:pt x="972587" y="1006192"/>
                  <a:pt x="966584" y="1023631"/>
                  <a:pt x="955149" y="1035638"/>
                </a:cubicBezTo>
                <a:cubicBezTo>
                  <a:pt x="982879" y="1247195"/>
                  <a:pt x="897399" y="1439884"/>
                  <a:pt x="752168" y="1487341"/>
                </a:cubicBezTo>
                <a:cubicBezTo>
                  <a:pt x="744449" y="1529367"/>
                  <a:pt x="731012" y="1637432"/>
                  <a:pt x="781614" y="1693466"/>
                </a:cubicBezTo>
                <a:cubicBezTo>
                  <a:pt x="892253" y="1816113"/>
                  <a:pt x="893969" y="1907883"/>
                  <a:pt x="875956" y="1963345"/>
                </a:cubicBezTo>
                <a:cubicBezTo>
                  <a:pt x="849941" y="2042536"/>
                  <a:pt x="767605" y="2099142"/>
                  <a:pt x="643816" y="2122584"/>
                </a:cubicBezTo>
                <a:cubicBezTo>
                  <a:pt x="431401" y="2162609"/>
                  <a:pt x="371365" y="2007944"/>
                  <a:pt x="327624" y="1895017"/>
                </a:cubicBezTo>
                <a:cubicBezTo>
                  <a:pt x="303609" y="1833266"/>
                  <a:pt x="284454" y="1786952"/>
                  <a:pt x="255865" y="1759507"/>
                </a:cubicBezTo>
                <a:cubicBezTo>
                  <a:pt x="246145" y="1765225"/>
                  <a:pt x="235568" y="1769227"/>
                  <a:pt x="223846" y="1771514"/>
                </a:cubicBezTo>
                <a:cubicBezTo>
                  <a:pt x="167240" y="1782378"/>
                  <a:pt x="112349" y="1744355"/>
                  <a:pt x="101486" y="1686606"/>
                </a:cubicBezTo>
                <a:cubicBezTo>
                  <a:pt x="90622" y="1628856"/>
                  <a:pt x="127787" y="1573394"/>
                  <a:pt x="184681" y="1562816"/>
                </a:cubicBezTo>
                <a:cubicBezTo>
                  <a:pt x="241285" y="1551952"/>
                  <a:pt x="296176" y="1590261"/>
                  <a:pt x="307040" y="1647725"/>
                </a:cubicBezTo>
                <a:cubicBezTo>
                  <a:pt x="309898" y="1662591"/>
                  <a:pt x="309326" y="1677171"/>
                  <a:pt x="306468" y="1690893"/>
                </a:cubicBezTo>
                <a:cubicBezTo>
                  <a:pt x="356499" y="1735207"/>
                  <a:pt x="383372" y="1804105"/>
                  <a:pt x="406529" y="1864142"/>
                </a:cubicBezTo>
                <a:cubicBezTo>
                  <a:pt x="456559" y="1992791"/>
                  <a:pt x="491438" y="2064263"/>
                  <a:pt x="628377" y="2038534"/>
                </a:cubicBezTo>
                <a:cubicBezTo>
                  <a:pt x="720721" y="2021094"/>
                  <a:pt x="780471" y="1984786"/>
                  <a:pt x="796194" y="1936185"/>
                </a:cubicBezTo>
                <a:cubicBezTo>
                  <a:pt x="811919" y="1887870"/>
                  <a:pt x="785617" y="1824117"/>
                  <a:pt x="719863" y="1751216"/>
                </a:cubicBezTo>
                <a:cubicBezTo>
                  <a:pt x="653823" y="1678314"/>
                  <a:pt x="655823" y="1566532"/>
                  <a:pt x="664972" y="1497919"/>
                </a:cubicBezTo>
                <a:cubicBezTo>
                  <a:pt x="520026" y="1486484"/>
                  <a:pt x="384515" y="1336964"/>
                  <a:pt x="339631" y="1139701"/>
                </a:cubicBezTo>
                <a:cubicBezTo>
                  <a:pt x="331626" y="1131982"/>
                  <a:pt x="325623" y="1122262"/>
                  <a:pt x="323335" y="1110541"/>
                </a:cubicBezTo>
                <a:cubicBezTo>
                  <a:pt x="318189" y="1083668"/>
                  <a:pt x="328767" y="1029063"/>
                  <a:pt x="359929" y="1023059"/>
                </a:cubicBezTo>
                <a:cubicBezTo>
                  <a:pt x="391376" y="1017055"/>
                  <a:pt x="420823" y="1064513"/>
                  <a:pt x="425969" y="1091101"/>
                </a:cubicBezTo>
                <a:cubicBezTo>
                  <a:pt x="427970" y="1102250"/>
                  <a:pt x="426541" y="1113114"/>
                  <a:pt x="422253" y="1122548"/>
                </a:cubicBezTo>
                <a:cubicBezTo>
                  <a:pt x="464277" y="1305231"/>
                  <a:pt x="589497" y="1433023"/>
                  <a:pt x="708713" y="1410438"/>
                </a:cubicBezTo>
                <a:cubicBezTo>
                  <a:pt x="832502" y="1386995"/>
                  <a:pt x="903402" y="1210316"/>
                  <a:pt x="866807" y="1016484"/>
                </a:cubicBezTo>
                <a:lnTo>
                  <a:pt x="864521" y="1004190"/>
                </a:lnTo>
                <a:lnTo>
                  <a:pt x="866237" y="1003905"/>
                </a:lnTo>
                <a:cubicBezTo>
                  <a:pt x="864521" y="990039"/>
                  <a:pt x="866380" y="970670"/>
                  <a:pt x="872384" y="954053"/>
                </a:cubicBezTo>
                <a:lnTo>
                  <a:pt x="880887" y="938819"/>
                </a:lnTo>
                <a:lnTo>
                  <a:pt x="871158" y="942041"/>
                </a:lnTo>
                <a:cubicBezTo>
                  <a:pt x="848333" y="947067"/>
                  <a:pt x="825425" y="949586"/>
                  <a:pt x="802483" y="949586"/>
                </a:cubicBezTo>
                <a:cubicBezTo>
                  <a:pt x="712142" y="949586"/>
                  <a:pt x="650104" y="909561"/>
                  <a:pt x="635810" y="899270"/>
                </a:cubicBezTo>
                <a:cubicBezTo>
                  <a:pt x="631235" y="899555"/>
                  <a:pt x="627234" y="899555"/>
                  <a:pt x="623231" y="899555"/>
                </a:cubicBezTo>
                <a:cubicBezTo>
                  <a:pt x="518882" y="899555"/>
                  <a:pt x="474569" y="821222"/>
                  <a:pt x="472568" y="817791"/>
                </a:cubicBezTo>
                <a:cubicBezTo>
                  <a:pt x="419107" y="815504"/>
                  <a:pt x="377367" y="800924"/>
                  <a:pt x="357355" y="792061"/>
                </a:cubicBezTo>
                <a:cubicBezTo>
                  <a:pt x="294459" y="764902"/>
                  <a:pt x="249289" y="721162"/>
                  <a:pt x="252434" y="690573"/>
                </a:cubicBezTo>
                <a:cubicBezTo>
                  <a:pt x="256437" y="652550"/>
                  <a:pt x="300177" y="641400"/>
                  <a:pt x="379655" y="621102"/>
                </a:cubicBezTo>
                <a:cubicBezTo>
                  <a:pt x="400810" y="615671"/>
                  <a:pt x="424253" y="609667"/>
                  <a:pt x="450269" y="602519"/>
                </a:cubicBezTo>
                <a:cubicBezTo>
                  <a:pt x="513736" y="584794"/>
                  <a:pt x="580062" y="538481"/>
                  <a:pt x="644387" y="493883"/>
                </a:cubicBezTo>
                <a:cubicBezTo>
                  <a:pt x="731583" y="432988"/>
                  <a:pt x="821923" y="370093"/>
                  <a:pt x="913693" y="370093"/>
                </a:cubicBezTo>
                <a:cubicBezTo>
                  <a:pt x="943426" y="370093"/>
                  <a:pt x="972300" y="376953"/>
                  <a:pt x="999460" y="390105"/>
                </a:cubicBezTo>
                <a:cubicBezTo>
                  <a:pt x="1111528" y="444709"/>
                  <a:pt x="1130969" y="516753"/>
                  <a:pt x="1148122" y="579934"/>
                </a:cubicBezTo>
                <a:lnTo>
                  <a:pt x="1149265" y="583365"/>
                </a:lnTo>
                <a:cubicBezTo>
                  <a:pt x="1153268" y="599089"/>
                  <a:pt x="1158985" y="620245"/>
                  <a:pt x="1165561" y="636826"/>
                </a:cubicBezTo>
                <a:cubicBezTo>
                  <a:pt x="1166418" y="636826"/>
                  <a:pt x="1166704" y="636826"/>
                  <a:pt x="1167562" y="636826"/>
                </a:cubicBezTo>
                <a:lnTo>
                  <a:pt x="1164417" y="533048"/>
                </a:lnTo>
                <a:cubicBezTo>
                  <a:pt x="1124107" y="507890"/>
                  <a:pt x="1099234" y="463292"/>
                  <a:pt x="1099234" y="415834"/>
                </a:cubicBezTo>
                <a:cubicBezTo>
                  <a:pt x="1099234" y="339788"/>
                  <a:pt x="1160987" y="278037"/>
                  <a:pt x="1237034" y="278037"/>
                </a:cubicBezTo>
                <a:close/>
                <a:moveTo>
                  <a:pt x="3360325" y="152822"/>
                </a:moveTo>
                <a:cubicBezTo>
                  <a:pt x="3280847" y="152822"/>
                  <a:pt x="3199655" y="209428"/>
                  <a:pt x="3121036" y="264032"/>
                </a:cubicBezTo>
                <a:cubicBezTo>
                  <a:pt x="3059570" y="306630"/>
                  <a:pt x="2996103" y="350942"/>
                  <a:pt x="2933494" y="368381"/>
                </a:cubicBezTo>
                <a:cubicBezTo>
                  <a:pt x="2908049" y="375529"/>
                  <a:pt x="2885464" y="381247"/>
                  <a:pt x="2867167" y="385821"/>
                </a:cubicBezTo>
                <a:cubicBezTo>
                  <a:pt x="2804558" y="401830"/>
                  <a:pt x="2766535" y="411265"/>
                  <a:pt x="2764248" y="432421"/>
                </a:cubicBezTo>
                <a:cubicBezTo>
                  <a:pt x="2762818" y="445000"/>
                  <a:pt x="2790264" y="480163"/>
                  <a:pt x="2849442" y="505894"/>
                </a:cubicBezTo>
                <a:cubicBezTo>
                  <a:pt x="2874028" y="516471"/>
                  <a:pt x="2913768" y="529337"/>
                  <a:pt x="2962368" y="529337"/>
                </a:cubicBezTo>
                <a:cubicBezTo>
                  <a:pt x="3046133" y="529337"/>
                  <a:pt x="3124180" y="492171"/>
                  <a:pt x="3194509" y="419269"/>
                </a:cubicBezTo>
                <a:cubicBezTo>
                  <a:pt x="3180787" y="411836"/>
                  <a:pt x="3167921" y="401545"/>
                  <a:pt x="3155342" y="388393"/>
                </a:cubicBezTo>
                <a:lnTo>
                  <a:pt x="3152484" y="385535"/>
                </a:lnTo>
                <a:lnTo>
                  <a:pt x="3155056" y="382390"/>
                </a:lnTo>
                <a:lnTo>
                  <a:pt x="3167635" y="370954"/>
                </a:lnTo>
                <a:lnTo>
                  <a:pt x="3170208" y="373813"/>
                </a:lnTo>
                <a:cubicBezTo>
                  <a:pt x="3195367" y="400115"/>
                  <a:pt x="3221669" y="413266"/>
                  <a:pt x="3248257" y="413266"/>
                </a:cubicBezTo>
                <a:cubicBezTo>
                  <a:pt x="3279418" y="413266"/>
                  <a:pt x="3300288" y="395540"/>
                  <a:pt x="3301145" y="394683"/>
                </a:cubicBezTo>
                <a:lnTo>
                  <a:pt x="3314582" y="383247"/>
                </a:lnTo>
                <a:lnTo>
                  <a:pt x="3314868" y="384677"/>
                </a:lnTo>
                <a:lnTo>
                  <a:pt x="3316298" y="383534"/>
                </a:lnTo>
                <a:lnTo>
                  <a:pt x="3319728" y="401545"/>
                </a:lnTo>
                <a:cubicBezTo>
                  <a:pt x="3322301" y="414982"/>
                  <a:pt x="3326304" y="428418"/>
                  <a:pt x="3332307" y="441283"/>
                </a:cubicBezTo>
                <a:cubicBezTo>
                  <a:pt x="3337739" y="454720"/>
                  <a:pt x="3344600" y="465870"/>
                  <a:pt x="3352033" y="474446"/>
                </a:cubicBezTo>
                <a:lnTo>
                  <a:pt x="3357179" y="480450"/>
                </a:lnTo>
                <a:cubicBezTo>
                  <a:pt x="3362898" y="485882"/>
                  <a:pt x="3369473" y="490170"/>
                  <a:pt x="3376048" y="493029"/>
                </a:cubicBezTo>
                <a:cubicBezTo>
                  <a:pt x="3384054" y="496459"/>
                  <a:pt x="3392630" y="498175"/>
                  <a:pt x="3401778" y="498175"/>
                </a:cubicBezTo>
                <a:cubicBezTo>
                  <a:pt x="3422934" y="498175"/>
                  <a:pt x="3439515" y="489026"/>
                  <a:pt x="3439515" y="489026"/>
                </a:cubicBezTo>
                <a:lnTo>
                  <a:pt x="3449808" y="483023"/>
                </a:lnTo>
                <a:lnTo>
                  <a:pt x="3454953" y="493601"/>
                </a:lnTo>
                <a:cubicBezTo>
                  <a:pt x="3459242" y="503035"/>
                  <a:pt x="3464388" y="511040"/>
                  <a:pt x="3470105" y="517901"/>
                </a:cubicBezTo>
                <a:cubicBezTo>
                  <a:pt x="3474394" y="523047"/>
                  <a:pt x="3479540" y="527335"/>
                  <a:pt x="3484971" y="531052"/>
                </a:cubicBezTo>
                <a:cubicBezTo>
                  <a:pt x="3491261" y="535054"/>
                  <a:pt x="3498409" y="537627"/>
                  <a:pt x="3505556" y="538771"/>
                </a:cubicBezTo>
                <a:cubicBezTo>
                  <a:pt x="3510130" y="539629"/>
                  <a:pt x="3515276" y="539629"/>
                  <a:pt x="3520708" y="539056"/>
                </a:cubicBezTo>
                <a:cubicBezTo>
                  <a:pt x="3512130" y="528193"/>
                  <a:pt x="3507843" y="521046"/>
                  <a:pt x="3507843" y="521046"/>
                </a:cubicBezTo>
                <a:cubicBezTo>
                  <a:pt x="3493834" y="497317"/>
                  <a:pt x="3490117" y="474160"/>
                  <a:pt x="3496979" y="451861"/>
                </a:cubicBezTo>
                <a:cubicBezTo>
                  <a:pt x="3510416" y="409549"/>
                  <a:pt x="3556730" y="388108"/>
                  <a:pt x="3558731" y="387250"/>
                </a:cubicBezTo>
                <a:cubicBezTo>
                  <a:pt x="3562733" y="384963"/>
                  <a:pt x="3567593" y="383247"/>
                  <a:pt x="3573025" y="382104"/>
                </a:cubicBezTo>
                <a:cubicBezTo>
                  <a:pt x="3567593" y="367238"/>
                  <a:pt x="3563019" y="349799"/>
                  <a:pt x="3559017" y="335505"/>
                </a:cubicBezTo>
                <a:lnTo>
                  <a:pt x="3558445" y="332932"/>
                </a:lnTo>
                <a:cubicBezTo>
                  <a:pt x="3542721" y="275468"/>
                  <a:pt x="3526711" y="216004"/>
                  <a:pt x="3430653" y="169118"/>
                </a:cubicBezTo>
                <a:cubicBezTo>
                  <a:pt x="3408067" y="158254"/>
                  <a:pt x="3385197" y="152822"/>
                  <a:pt x="3360325" y="152822"/>
                </a:cubicBezTo>
                <a:close/>
                <a:moveTo>
                  <a:pt x="3967551" y="152536"/>
                </a:moveTo>
                <a:cubicBezTo>
                  <a:pt x="3943250" y="152536"/>
                  <a:pt x="3919521" y="157969"/>
                  <a:pt x="3897222" y="168832"/>
                </a:cubicBezTo>
                <a:cubicBezTo>
                  <a:pt x="3801450" y="215717"/>
                  <a:pt x="3785154" y="275182"/>
                  <a:pt x="3769717" y="332645"/>
                </a:cubicBezTo>
                <a:cubicBezTo>
                  <a:pt x="3767144" y="341794"/>
                  <a:pt x="3760854" y="363807"/>
                  <a:pt x="3753706" y="383247"/>
                </a:cubicBezTo>
                <a:cubicBezTo>
                  <a:pt x="3796876" y="379246"/>
                  <a:pt x="3832325" y="392968"/>
                  <a:pt x="3853196" y="422701"/>
                </a:cubicBezTo>
                <a:cubicBezTo>
                  <a:pt x="3867490" y="442998"/>
                  <a:pt x="3870920" y="468156"/>
                  <a:pt x="3863201" y="495602"/>
                </a:cubicBezTo>
                <a:cubicBezTo>
                  <a:pt x="3860343" y="505036"/>
                  <a:pt x="3856340" y="515042"/>
                  <a:pt x="3851194" y="524763"/>
                </a:cubicBezTo>
                <a:cubicBezTo>
                  <a:pt x="3853196" y="522475"/>
                  <a:pt x="3855483" y="520474"/>
                  <a:pt x="3857484" y="518187"/>
                </a:cubicBezTo>
                <a:cubicBezTo>
                  <a:pt x="3862916" y="511611"/>
                  <a:pt x="3868061" y="503321"/>
                  <a:pt x="3872636" y="493886"/>
                </a:cubicBezTo>
                <a:lnTo>
                  <a:pt x="3877210" y="483023"/>
                </a:lnTo>
                <a:lnTo>
                  <a:pt x="3887502" y="489026"/>
                </a:lnTo>
                <a:cubicBezTo>
                  <a:pt x="3887788" y="489026"/>
                  <a:pt x="3904369" y="498175"/>
                  <a:pt x="3925526" y="498175"/>
                </a:cubicBezTo>
                <a:cubicBezTo>
                  <a:pt x="3934388" y="498175"/>
                  <a:pt x="3943250" y="496459"/>
                  <a:pt x="3950969" y="493029"/>
                </a:cubicBezTo>
                <a:cubicBezTo>
                  <a:pt x="3957830" y="489884"/>
                  <a:pt x="3964406" y="485596"/>
                  <a:pt x="3970409" y="479878"/>
                </a:cubicBezTo>
                <a:lnTo>
                  <a:pt x="3974984" y="474160"/>
                </a:lnTo>
                <a:cubicBezTo>
                  <a:pt x="3982703" y="465583"/>
                  <a:pt x="3989278" y="454434"/>
                  <a:pt x="3994996" y="440997"/>
                </a:cubicBezTo>
                <a:cubicBezTo>
                  <a:pt x="4001000" y="428132"/>
                  <a:pt x="4005003" y="414695"/>
                  <a:pt x="4007575" y="400973"/>
                </a:cubicBezTo>
                <a:lnTo>
                  <a:pt x="4010720" y="383247"/>
                </a:lnTo>
                <a:lnTo>
                  <a:pt x="4012435" y="384391"/>
                </a:lnTo>
                <a:lnTo>
                  <a:pt x="4012722" y="382962"/>
                </a:lnTo>
                <a:lnTo>
                  <a:pt x="4026158" y="394397"/>
                </a:lnTo>
                <a:cubicBezTo>
                  <a:pt x="4027016" y="395255"/>
                  <a:pt x="4048458" y="412980"/>
                  <a:pt x="4079047" y="412980"/>
                </a:cubicBezTo>
                <a:cubicBezTo>
                  <a:pt x="4105920" y="412980"/>
                  <a:pt x="4131937" y="399829"/>
                  <a:pt x="4156809" y="373813"/>
                </a:cubicBezTo>
                <a:lnTo>
                  <a:pt x="4159381" y="370954"/>
                </a:lnTo>
                <a:lnTo>
                  <a:pt x="4162527" y="373241"/>
                </a:lnTo>
                <a:lnTo>
                  <a:pt x="4175106" y="384963"/>
                </a:lnTo>
                <a:lnTo>
                  <a:pt x="4172247" y="387822"/>
                </a:lnTo>
                <a:cubicBezTo>
                  <a:pt x="4159381" y="401545"/>
                  <a:pt x="4146231" y="411836"/>
                  <a:pt x="4132794" y="419269"/>
                </a:cubicBezTo>
                <a:cubicBezTo>
                  <a:pt x="4203123" y="492171"/>
                  <a:pt x="4281171" y="529337"/>
                  <a:pt x="4365507" y="529051"/>
                </a:cubicBezTo>
                <a:cubicBezTo>
                  <a:pt x="4414394" y="529051"/>
                  <a:pt x="4453847" y="516185"/>
                  <a:pt x="4478433" y="505608"/>
                </a:cubicBezTo>
                <a:cubicBezTo>
                  <a:pt x="4537612" y="480163"/>
                  <a:pt x="4565057" y="444714"/>
                  <a:pt x="4563627" y="432135"/>
                </a:cubicBezTo>
                <a:cubicBezTo>
                  <a:pt x="4561340" y="411265"/>
                  <a:pt x="4523604" y="401545"/>
                  <a:pt x="4460708" y="385535"/>
                </a:cubicBezTo>
                <a:cubicBezTo>
                  <a:pt x="4442411" y="380960"/>
                  <a:pt x="4419826" y="375243"/>
                  <a:pt x="4394382" y="368096"/>
                </a:cubicBezTo>
                <a:cubicBezTo>
                  <a:pt x="4331773" y="350657"/>
                  <a:pt x="4268305" y="306630"/>
                  <a:pt x="4206839" y="263746"/>
                </a:cubicBezTo>
                <a:cubicBezTo>
                  <a:pt x="4128220" y="209142"/>
                  <a:pt x="4047028" y="152536"/>
                  <a:pt x="3967551" y="152536"/>
                </a:cubicBezTo>
                <a:close/>
                <a:moveTo>
                  <a:pt x="4466140" y="140241"/>
                </a:moveTo>
                <a:lnTo>
                  <a:pt x="4466140" y="200563"/>
                </a:lnTo>
                <a:cubicBezTo>
                  <a:pt x="4466140" y="260886"/>
                  <a:pt x="4515312" y="309773"/>
                  <a:pt x="4575349" y="310058"/>
                </a:cubicBezTo>
                <a:lnTo>
                  <a:pt x="4665975" y="310058"/>
                </a:lnTo>
                <a:lnTo>
                  <a:pt x="4665975" y="259457"/>
                </a:lnTo>
                <a:cubicBezTo>
                  <a:pt x="4665975" y="193416"/>
                  <a:pt x="4612800" y="140241"/>
                  <a:pt x="4547045" y="140241"/>
                </a:cubicBezTo>
                <a:close/>
                <a:moveTo>
                  <a:pt x="5224887" y="109937"/>
                </a:moveTo>
                <a:cubicBezTo>
                  <a:pt x="5158847" y="109937"/>
                  <a:pt x="5105672" y="163113"/>
                  <a:pt x="5105672" y="228867"/>
                </a:cubicBezTo>
                <a:lnTo>
                  <a:pt x="5105672" y="309773"/>
                </a:lnTo>
                <a:lnTo>
                  <a:pt x="5165994" y="309773"/>
                </a:lnTo>
                <a:cubicBezTo>
                  <a:pt x="5226317" y="309773"/>
                  <a:pt x="5275489" y="260886"/>
                  <a:pt x="5275775" y="200563"/>
                </a:cubicBezTo>
                <a:lnTo>
                  <a:pt x="5275775" y="109937"/>
                </a:lnTo>
                <a:close/>
                <a:moveTo>
                  <a:pt x="2549545" y="87350"/>
                </a:moveTo>
                <a:cubicBezTo>
                  <a:pt x="2549545" y="102501"/>
                  <a:pt x="2549545" y="116796"/>
                  <a:pt x="2549545" y="129947"/>
                </a:cubicBezTo>
                <a:cubicBezTo>
                  <a:pt x="2549545" y="163110"/>
                  <a:pt x="2576419" y="189983"/>
                  <a:pt x="2609582" y="189983"/>
                </a:cubicBezTo>
                <a:lnTo>
                  <a:pt x="2986096" y="189983"/>
                </a:lnTo>
                <a:cubicBezTo>
                  <a:pt x="3019260" y="189983"/>
                  <a:pt x="3046133" y="163110"/>
                  <a:pt x="3046133" y="129947"/>
                </a:cubicBezTo>
                <a:cubicBezTo>
                  <a:pt x="3046133" y="116796"/>
                  <a:pt x="3046133" y="102501"/>
                  <a:pt x="3046133" y="87350"/>
                </a:cubicBezTo>
                <a:close/>
                <a:moveTo>
                  <a:pt x="3661079" y="69343"/>
                </a:moveTo>
                <a:cubicBezTo>
                  <a:pt x="3603329" y="69343"/>
                  <a:pt x="3556444" y="116228"/>
                  <a:pt x="3556730" y="173692"/>
                </a:cubicBezTo>
                <a:cubicBezTo>
                  <a:pt x="3556730" y="211715"/>
                  <a:pt x="3577599" y="247165"/>
                  <a:pt x="3611048" y="265462"/>
                </a:cubicBezTo>
                <a:lnTo>
                  <a:pt x="3617052" y="268607"/>
                </a:lnTo>
                <a:lnTo>
                  <a:pt x="3617052" y="270894"/>
                </a:lnTo>
                <a:lnTo>
                  <a:pt x="3620482" y="384963"/>
                </a:lnTo>
                <a:cubicBezTo>
                  <a:pt x="3631632" y="389251"/>
                  <a:pt x="3640780" y="395826"/>
                  <a:pt x="3645927" y="403832"/>
                </a:cubicBezTo>
                <a:cubicBezTo>
                  <a:pt x="3652216" y="413552"/>
                  <a:pt x="3653074" y="424702"/>
                  <a:pt x="3648214" y="435851"/>
                </a:cubicBezTo>
                <a:cubicBezTo>
                  <a:pt x="3642782" y="448144"/>
                  <a:pt x="3632776" y="457007"/>
                  <a:pt x="3618195" y="463010"/>
                </a:cubicBezTo>
                <a:lnTo>
                  <a:pt x="3619053" y="507324"/>
                </a:lnTo>
                <a:cubicBezTo>
                  <a:pt x="3648500" y="525906"/>
                  <a:pt x="3681948" y="536198"/>
                  <a:pt x="3682235" y="536198"/>
                </a:cubicBezTo>
                <a:lnTo>
                  <a:pt x="3685379" y="537341"/>
                </a:lnTo>
                <a:cubicBezTo>
                  <a:pt x="3689095" y="535912"/>
                  <a:pt x="3693384" y="534769"/>
                  <a:pt x="3697101" y="533624"/>
                </a:cubicBezTo>
                <a:lnTo>
                  <a:pt x="3705392" y="268892"/>
                </a:lnTo>
                <a:lnTo>
                  <a:pt x="3711395" y="265748"/>
                </a:lnTo>
                <a:cubicBezTo>
                  <a:pt x="3745130" y="247451"/>
                  <a:pt x="3766000" y="212287"/>
                  <a:pt x="3766000" y="173978"/>
                </a:cubicBezTo>
                <a:cubicBezTo>
                  <a:pt x="3766000" y="116228"/>
                  <a:pt x="3718829" y="69343"/>
                  <a:pt x="3661079" y="69343"/>
                </a:cubicBezTo>
                <a:close/>
                <a:moveTo>
                  <a:pt x="3661079" y="45328"/>
                </a:moveTo>
                <a:cubicBezTo>
                  <a:pt x="3731979" y="45328"/>
                  <a:pt x="3789729" y="103078"/>
                  <a:pt x="3789729" y="173978"/>
                </a:cubicBezTo>
                <a:cubicBezTo>
                  <a:pt x="3789729" y="218004"/>
                  <a:pt x="3766571" y="259745"/>
                  <a:pt x="3728834" y="283187"/>
                </a:cubicBezTo>
                <a:lnTo>
                  <a:pt x="3726547" y="387822"/>
                </a:lnTo>
                <a:cubicBezTo>
                  <a:pt x="3727119" y="387536"/>
                  <a:pt x="3727976" y="387536"/>
                  <a:pt x="3728834" y="387250"/>
                </a:cubicBezTo>
                <a:cubicBezTo>
                  <a:pt x="3735123" y="372384"/>
                  <a:pt x="3741985" y="352658"/>
                  <a:pt x="3748846" y="326928"/>
                </a:cubicBezTo>
                <a:cubicBezTo>
                  <a:pt x="3764856" y="268035"/>
                  <a:pt x="3782867" y="200851"/>
                  <a:pt x="3887502" y="149963"/>
                </a:cubicBezTo>
                <a:cubicBezTo>
                  <a:pt x="3912947" y="137670"/>
                  <a:pt x="3939820" y="131381"/>
                  <a:pt x="3967551" y="131381"/>
                </a:cubicBezTo>
                <a:cubicBezTo>
                  <a:pt x="4053318" y="131381"/>
                  <a:pt x="4137368" y="189988"/>
                  <a:pt x="4218847" y="246593"/>
                </a:cubicBezTo>
                <a:cubicBezTo>
                  <a:pt x="4278884" y="288619"/>
                  <a:pt x="4340921" y="331502"/>
                  <a:pt x="4399814" y="348084"/>
                </a:cubicBezTo>
                <a:cubicBezTo>
                  <a:pt x="4424686" y="355231"/>
                  <a:pt x="4447271" y="360948"/>
                  <a:pt x="4465569" y="365523"/>
                </a:cubicBezTo>
                <a:cubicBezTo>
                  <a:pt x="4539899" y="384391"/>
                  <a:pt x="4580495" y="394969"/>
                  <a:pt x="4584212" y="430419"/>
                </a:cubicBezTo>
                <a:cubicBezTo>
                  <a:pt x="4587356" y="459007"/>
                  <a:pt x="4545046" y="499604"/>
                  <a:pt x="4487296" y="525906"/>
                </a:cubicBezTo>
                <a:cubicBezTo>
                  <a:pt x="4468427" y="534197"/>
                  <a:pt x="4429832" y="547919"/>
                  <a:pt x="4379801" y="549918"/>
                </a:cubicBezTo>
                <a:cubicBezTo>
                  <a:pt x="4377801" y="553064"/>
                  <a:pt x="4336061" y="626251"/>
                  <a:pt x="4239145" y="626251"/>
                </a:cubicBezTo>
                <a:cubicBezTo>
                  <a:pt x="4235428" y="626251"/>
                  <a:pt x="4231711" y="626251"/>
                  <a:pt x="4227424" y="625965"/>
                </a:cubicBezTo>
                <a:cubicBezTo>
                  <a:pt x="4213701" y="635400"/>
                  <a:pt x="4156237" y="672851"/>
                  <a:pt x="4071900" y="672851"/>
                </a:cubicBezTo>
                <a:cubicBezTo>
                  <a:pt x="3988135" y="672851"/>
                  <a:pt x="3904369" y="636257"/>
                  <a:pt x="3823749" y="564499"/>
                </a:cubicBezTo>
                <a:cubicBezTo>
                  <a:pt x="3812885" y="576506"/>
                  <a:pt x="3800878" y="586799"/>
                  <a:pt x="3789729" y="593659"/>
                </a:cubicBezTo>
                <a:cubicBezTo>
                  <a:pt x="3815745" y="616531"/>
                  <a:pt x="3828323" y="641689"/>
                  <a:pt x="3827179" y="668848"/>
                </a:cubicBezTo>
                <a:cubicBezTo>
                  <a:pt x="3825179" y="722879"/>
                  <a:pt x="3768572" y="768620"/>
                  <a:pt x="3739126" y="788631"/>
                </a:cubicBezTo>
                <a:cubicBezTo>
                  <a:pt x="3784011" y="817792"/>
                  <a:pt x="3824321" y="852957"/>
                  <a:pt x="3824321" y="908991"/>
                </a:cubicBezTo>
                <a:cubicBezTo>
                  <a:pt x="3824321" y="965024"/>
                  <a:pt x="3787156" y="996758"/>
                  <a:pt x="3757423" y="1016199"/>
                </a:cubicBezTo>
                <a:cubicBezTo>
                  <a:pt x="3773147" y="1034495"/>
                  <a:pt x="3781437" y="1055365"/>
                  <a:pt x="3782010" y="1078237"/>
                </a:cubicBezTo>
                <a:cubicBezTo>
                  <a:pt x="3783153" y="1125979"/>
                  <a:pt x="3748561" y="1169720"/>
                  <a:pt x="3734838" y="1185444"/>
                </a:cubicBezTo>
                <a:cubicBezTo>
                  <a:pt x="3751991" y="1208601"/>
                  <a:pt x="3757995" y="1234331"/>
                  <a:pt x="3751133" y="1257202"/>
                </a:cubicBezTo>
                <a:cubicBezTo>
                  <a:pt x="3743986" y="1280359"/>
                  <a:pt x="3725117" y="1298370"/>
                  <a:pt x="3696243" y="1309520"/>
                </a:cubicBezTo>
                <a:lnTo>
                  <a:pt x="3695385" y="1334678"/>
                </a:lnTo>
                <a:cubicBezTo>
                  <a:pt x="3695385" y="1343255"/>
                  <a:pt x="3691668" y="1351830"/>
                  <a:pt x="3685379" y="1358120"/>
                </a:cubicBezTo>
                <a:cubicBezTo>
                  <a:pt x="3679089" y="1364696"/>
                  <a:pt x="3670513" y="1368127"/>
                  <a:pt x="3661365" y="1368127"/>
                </a:cubicBezTo>
                <a:cubicBezTo>
                  <a:pt x="3642782" y="1368127"/>
                  <a:pt x="3627630" y="1352975"/>
                  <a:pt x="3627630" y="1334391"/>
                </a:cubicBezTo>
                <a:lnTo>
                  <a:pt x="3626772" y="1307804"/>
                </a:lnTo>
                <a:cubicBezTo>
                  <a:pt x="3592466" y="1288650"/>
                  <a:pt x="3579600" y="1255201"/>
                  <a:pt x="3579029" y="1229757"/>
                </a:cubicBezTo>
                <a:cubicBezTo>
                  <a:pt x="3578172" y="1200882"/>
                  <a:pt x="3594752" y="1178583"/>
                  <a:pt x="3606474" y="1166290"/>
                </a:cubicBezTo>
                <a:cubicBezTo>
                  <a:pt x="3574169" y="1139702"/>
                  <a:pt x="3557873" y="1112829"/>
                  <a:pt x="3557873" y="1086813"/>
                </a:cubicBezTo>
                <a:cubicBezTo>
                  <a:pt x="3557873" y="1063084"/>
                  <a:pt x="3571024" y="1040213"/>
                  <a:pt x="3599327" y="1015055"/>
                </a:cubicBezTo>
                <a:cubicBezTo>
                  <a:pt x="3534431" y="934148"/>
                  <a:pt x="3540148" y="875256"/>
                  <a:pt x="3556444" y="840091"/>
                </a:cubicBezTo>
                <a:cubicBezTo>
                  <a:pt x="3561304" y="829228"/>
                  <a:pt x="3569023" y="818078"/>
                  <a:pt x="3577027" y="809502"/>
                </a:cubicBezTo>
                <a:cubicBezTo>
                  <a:pt x="3540434" y="776338"/>
                  <a:pt x="3522423" y="740033"/>
                  <a:pt x="3524138" y="701724"/>
                </a:cubicBezTo>
                <a:cubicBezTo>
                  <a:pt x="3525854" y="664273"/>
                  <a:pt x="3544723" y="628251"/>
                  <a:pt x="3579315" y="597662"/>
                </a:cubicBezTo>
                <a:cubicBezTo>
                  <a:pt x="3563877" y="585940"/>
                  <a:pt x="3549297" y="572790"/>
                  <a:pt x="3536145" y="558496"/>
                </a:cubicBezTo>
                <a:cubicBezTo>
                  <a:pt x="3528427" y="560211"/>
                  <a:pt x="3520708" y="561068"/>
                  <a:pt x="3513560" y="561068"/>
                </a:cubicBezTo>
                <a:cubicBezTo>
                  <a:pt x="3512130" y="561068"/>
                  <a:pt x="3510130" y="561068"/>
                  <a:pt x="3508415" y="560783"/>
                </a:cubicBezTo>
                <a:cubicBezTo>
                  <a:pt x="3426364" y="635113"/>
                  <a:pt x="3341456" y="672851"/>
                  <a:pt x="3255690" y="672851"/>
                </a:cubicBezTo>
                <a:cubicBezTo>
                  <a:pt x="3171638" y="672851"/>
                  <a:pt x="3113889" y="635685"/>
                  <a:pt x="3100453" y="625965"/>
                </a:cubicBezTo>
                <a:cubicBezTo>
                  <a:pt x="3096164" y="625965"/>
                  <a:pt x="3092447" y="626251"/>
                  <a:pt x="3088731" y="626251"/>
                </a:cubicBezTo>
                <a:cubicBezTo>
                  <a:pt x="2991243" y="626251"/>
                  <a:pt x="2949788" y="553064"/>
                  <a:pt x="2948074" y="549918"/>
                </a:cubicBezTo>
                <a:cubicBezTo>
                  <a:pt x="2898043" y="547919"/>
                  <a:pt x="2859448" y="533910"/>
                  <a:pt x="2840579" y="525906"/>
                </a:cubicBezTo>
                <a:cubicBezTo>
                  <a:pt x="2781972" y="500462"/>
                  <a:pt x="2739947" y="459580"/>
                  <a:pt x="2742806" y="430991"/>
                </a:cubicBezTo>
                <a:cubicBezTo>
                  <a:pt x="2746523" y="395255"/>
                  <a:pt x="2787404" y="384963"/>
                  <a:pt x="2861450" y="366094"/>
                </a:cubicBezTo>
                <a:cubicBezTo>
                  <a:pt x="2881461" y="360948"/>
                  <a:pt x="2903189" y="355517"/>
                  <a:pt x="2927489" y="348655"/>
                </a:cubicBezTo>
                <a:cubicBezTo>
                  <a:pt x="2986669" y="332073"/>
                  <a:pt x="3048706" y="288905"/>
                  <a:pt x="3108457" y="247165"/>
                </a:cubicBezTo>
                <a:cubicBezTo>
                  <a:pt x="3189935" y="190273"/>
                  <a:pt x="3273986" y="131667"/>
                  <a:pt x="3359753" y="131667"/>
                </a:cubicBezTo>
                <a:cubicBezTo>
                  <a:pt x="3387198" y="131667"/>
                  <a:pt x="3414072" y="137956"/>
                  <a:pt x="3439515" y="150249"/>
                </a:cubicBezTo>
                <a:cubicBezTo>
                  <a:pt x="3544151" y="201137"/>
                  <a:pt x="3562161" y="268035"/>
                  <a:pt x="3578172" y="327213"/>
                </a:cubicBezTo>
                <a:lnTo>
                  <a:pt x="3579029" y="330358"/>
                </a:lnTo>
                <a:cubicBezTo>
                  <a:pt x="3582746" y="344938"/>
                  <a:pt x="3588177" y="364665"/>
                  <a:pt x="3594181" y="380103"/>
                </a:cubicBezTo>
                <a:cubicBezTo>
                  <a:pt x="3595039" y="380103"/>
                  <a:pt x="3595611" y="380103"/>
                  <a:pt x="3596182" y="380103"/>
                </a:cubicBezTo>
                <a:lnTo>
                  <a:pt x="3593323" y="283187"/>
                </a:lnTo>
                <a:cubicBezTo>
                  <a:pt x="3555586" y="260030"/>
                  <a:pt x="3532429" y="218290"/>
                  <a:pt x="3532429" y="173978"/>
                </a:cubicBezTo>
                <a:cubicBezTo>
                  <a:pt x="3532429" y="103078"/>
                  <a:pt x="3590179" y="45328"/>
                  <a:pt x="3661079" y="45328"/>
                </a:cubicBezTo>
                <a:close/>
                <a:moveTo>
                  <a:pt x="6197089" y="0"/>
                </a:moveTo>
                <a:lnTo>
                  <a:pt x="6332769" y="0"/>
                </a:lnTo>
                <a:lnTo>
                  <a:pt x="6331095" y="9088"/>
                </a:lnTo>
                <a:cubicBezTo>
                  <a:pt x="6328344" y="13305"/>
                  <a:pt x="6323984" y="16450"/>
                  <a:pt x="6318695" y="17593"/>
                </a:cubicBezTo>
                <a:lnTo>
                  <a:pt x="6238932" y="34460"/>
                </a:lnTo>
                <a:lnTo>
                  <a:pt x="6250367" y="87635"/>
                </a:lnTo>
                <a:lnTo>
                  <a:pt x="6330131" y="70768"/>
                </a:lnTo>
                <a:cubicBezTo>
                  <a:pt x="6340709" y="68481"/>
                  <a:pt x="6351001" y="75342"/>
                  <a:pt x="6353288" y="85920"/>
                </a:cubicBezTo>
                <a:cubicBezTo>
                  <a:pt x="6355575" y="96784"/>
                  <a:pt x="6348713" y="107076"/>
                  <a:pt x="6338136" y="109363"/>
                </a:cubicBezTo>
                <a:lnTo>
                  <a:pt x="6258373" y="126230"/>
                </a:lnTo>
                <a:lnTo>
                  <a:pt x="6269809" y="179406"/>
                </a:lnTo>
                <a:lnTo>
                  <a:pt x="6349571" y="162252"/>
                </a:lnTo>
                <a:cubicBezTo>
                  <a:pt x="6360435" y="159965"/>
                  <a:pt x="6370727" y="166827"/>
                  <a:pt x="6373015" y="177404"/>
                </a:cubicBezTo>
                <a:cubicBezTo>
                  <a:pt x="6375301" y="188268"/>
                  <a:pt x="6368439" y="198560"/>
                  <a:pt x="6357862" y="200847"/>
                </a:cubicBezTo>
                <a:lnTo>
                  <a:pt x="6279529" y="217429"/>
                </a:lnTo>
                <a:cubicBezTo>
                  <a:pt x="6285246" y="231151"/>
                  <a:pt x="6294681" y="242873"/>
                  <a:pt x="6307545" y="251163"/>
                </a:cubicBezTo>
                <a:cubicBezTo>
                  <a:pt x="6324127" y="262027"/>
                  <a:pt x="6344139" y="265744"/>
                  <a:pt x="6363579" y="261456"/>
                </a:cubicBezTo>
                <a:lnTo>
                  <a:pt x="6408178" y="252021"/>
                </a:lnTo>
                <a:lnTo>
                  <a:pt x="6459352" y="492453"/>
                </a:lnTo>
                <a:lnTo>
                  <a:pt x="6342139" y="517325"/>
                </a:lnTo>
                <a:cubicBezTo>
                  <a:pt x="6337279" y="518468"/>
                  <a:pt x="6332990" y="520469"/>
                  <a:pt x="6329273" y="523615"/>
                </a:cubicBezTo>
                <a:cubicBezTo>
                  <a:pt x="6320697" y="530762"/>
                  <a:pt x="6316694" y="541911"/>
                  <a:pt x="6318981" y="553061"/>
                </a:cubicBezTo>
                <a:cubicBezTo>
                  <a:pt x="6322411" y="569357"/>
                  <a:pt x="6338421" y="579649"/>
                  <a:pt x="6354717" y="576217"/>
                </a:cubicBezTo>
                <a:lnTo>
                  <a:pt x="6640891" y="515324"/>
                </a:lnTo>
                <a:cubicBezTo>
                  <a:pt x="6656615" y="511893"/>
                  <a:pt x="6667479" y="495312"/>
                  <a:pt x="6664049" y="479588"/>
                </a:cubicBezTo>
                <a:cubicBezTo>
                  <a:pt x="6660618" y="463292"/>
                  <a:pt x="6644609" y="453000"/>
                  <a:pt x="6628311" y="456431"/>
                </a:cubicBezTo>
                <a:lnTo>
                  <a:pt x="6511098" y="481303"/>
                </a:lnTo>
                <a:lnTo>
                  <a:pt x="6459924" y="240871"/>
                </a:lnTo>
                <a:lnTo>
                  <a:pt x="6504809" y="231437"/>
                </a:lnTo>
                <a:cubicBezTo>
                  <a:pt x="6516529" y="228864"/>
                  <a:pt x="6527394" y="223718"/>
                  <a:pt x="6536828" y="215999"/>
                </a:cubicBezTo>
                <a:cubicBezTo>
                  <a:pt x="6558269" y="198274"/>
                  <a:pt x="6567703" y="170257"/>
                  <a:pt x="6561986" y="143098"/>
                </a:cubicBezTo>
                <a:lnTo>
                  <a:pt x="6531607" y="0"/>
                </a:lnTo>
                <a:lnTo>
                  <a:pt x="6565038" y="0"/>
                </a:lnTo>
                <a:lnTo>
                  <a:pt x="6594005" y="135950"/>
                </a:lnTo>
                <a:cubicBezTo>
                  <a:pt x="6602296" y="175403"/>
                  <a:pt x="6588288" y="215713"/>
                  <a:pt x="6557413" y="241443"/>
                </a:cubicBezTo>
                <a:cubicBezTo>
                  <a:pt x="6544261" y="252593"/>
                  <a:pt x="6527965" y="260312"/>
                  <a:pt x="6511098" y="264029"/>
                </a:cubicBezTo>
                <a:lnTo>
                  <a:pt x="6498805" y="266602"/>
                </a:lnTo>
                <a:lnTo>
                  <a:pt x="6536255" y="441851"/>
                </a:lnTo>
                <a:lnTo>
                  <a:pt x="6620879" y="423840"/>
                </a:lnTo>
                <a:cubicBezTo>
                  <a:pt x="6655185" y="416693"/>
                  <a:pt x="6688921" y="438706"/>
                  <a:pt x="6696067" y="472727"/>
                </a:cubicBezTo>
                <a:cubicBezTo>
                  <a:pt x="6701213" y="495883"/>
                  <a:pt x="6692923" y="519612"/>
                  <a:pt x="6674627" y="534764"/>
                </a:cubicBezTo>
                <a:cubicBezTo>
                  <a:pt x="6666907" y="541054"/>
                  <a:pt x="6657187" y="545628"/>
                  <a:pt x="6647181" y="547915"/>
                </a:cubicBezTo>
                <a:lnTo>
                  <a:pt x="6361293" y="608809"/>
                </a:lnTo>
                <a:cubicBezTo>
                  <a:pt x="6326987" y="615957"/>
                  <a:pt x="6293251" y="594229"/>
                  <a:pt x="6285819" y="559923"/>
                </a:cubicBezTo>
                <a:cubicBezTo>
                  <a:pt x="6280959" y="536765"/>
                  <a:pt x="6288963" y="513036"/>
                  <a:pt x="6307260" y="497885"/>
                </a:cubicBezTo>
                <a:cubicBezTo>
                  <a:pt x="6315265" y="491596"/>
                  <a:pt x="6324699" y="486735"/>
                  <a:pt x="6334705" y="484734"/>
                </a:cubicBezTo>
                <a:lnTo>
                  <a:pt x="6419327" y="466723"/>
                </a:lnTo>
                <a:lnTo>
                  <a:pt x="6382162" y="291473"/>
                </a:lnTo>
                <a:lnTo>
                  <a:pt x="6369869" y="294047"/>
                </a:lnTo>
                <a:cubicBezTo>
                  <a:pt x="6341853" y="300050"/>
                  <a:pt x="6312977" y="294904"/>
                  <a:pt x="6288677" y="279180"/>
                </a:cubicBezTo>
                <a:cubicBezTo>
                  <a:pt x="6264663" y="263457"/>
                  <a:pt x="6248081" y="239442"/>
                  <a:pt x="6242077" y="211139"/>
                </a:cubicBezTo>
                <a:close/>
                <a:moveTo>
                  <a:pt x="5787741" y="0"/>
                </a:moveTo>
                <a:lnTo>
                  <a:pt x="6077624" y="0"/>
                </a:lnTo>
                <a:lnTo>
                  <a:pt x="6077762" y="5019"/>
                </a:lnTo>
                <a:cubicBezTo>
                  <a:pt x="6073903" y="51547"/>
                  <a:pt x="6059966" y="96503"/>
                  <a:pt x="6037381" y="136813"/>
                </a:cubicBezTo>
                <a:cubicBezTo>
                  <a:pt x="6052319" y="115585"/>
                  <a:pt x="6064647" y="92678"/>
                  <a:pt x="6074122" y="68628"/>
                </a:cubicBezTo>
                <a:lnTo>
                  <a:pt x="6092059" y="0"/>
                </a:lnTo>
                <a:lnTo>
                  <a:pt x="6128224" y="0"/>
                </a:lnTo>
                <a:lnTo>
                  <a:pt x="6122292" y="49570"/>
                </a:lnTo>
                <a:cubicBezTo>
                  <a:pt x="6097583" y="163892"/>
                  <a:pt x="6020192" y="264533"/>
                  <a:pt x="5906731" y="314920"/>
                </a:cubicBezTo>
                <a:close/>
                <a:moveTo>
                  <a:pt x="5378813" y="0"/>
                </a:moveTo>
                <a:lnTo>
                  <a:pt x="5741418" y="0"/>
                </a:lnTo>
                <a:lnTo>
                  <a:pt x="5866133" y="330073"/>
                </a:lnTo>
                <a:cubicBezTo>
                  <a:pt x="5676876" y="389824"/>
                  <a:pt x="5471609" y="291764"/>
                  <a:pt x="5400422" y="103650"/>
                </a:cubicBezTo>
                <a:cubicBezTo>
                  <a:pt x="5391524" y="80136"/>
                  <a:pt x="5385132" y="56291"/>
                  <a:pt x="5381113" y="32408"/>
                </a:cubicBezTo>
                <a:close/>
                <a:moveTo>
                  <a:pt x="4725276" y="0"/>
                </a:moveTo>
                <a:lnTo>
                  <a:pt x="5016659" y="0"/>
                </a:lnTo>
                <a:lnTo>
                  <a:pt x="5016760" y="14165"/>
                </a:lnTo>
                <a:lnTo>
                  <a:pt x="4907265" y="14165"/>
                </a:lnTo>
                <a:lnTo>
                  <a:pt x="4907551" y="119086"/>
                </a:lnTo>
                <a:lnTo>
                  <a:pt x="4832363" y="119372"/>
                </a:lnTo>
                <a:lnTo>
                  <a:pt x="4832076" y="14737"/>
                </a:lnTo>
                <a:lnTo>
                  <a:pt x="4725440" y="15308"/>
                </a:lnTo>
                <a:close/>
                <a:moveTo>
                  <a:pt x="4446699" y="0"/>
                </a:moveTo>
                <a:lnTo>
                  <a:pt x="4691419" y="0"/>
                </a:lnTo>
                <a:lnTo>
                  <a:pt x="4691419" y="36179"/>
                </a:lnTo>
                <a:lnTo>
                  <a:pt x="4807204" y="36179"/>
                </a:lnTo>
                <a:lnTo>
                  <a:pt x="4807204" y="151963"/>
                </a:lnTo>
                <a:lnTo>
                  <a:pt x="4934424" y="151963"/>
                </a:lnTo>
                <a:lnTo>
                  <a:pt x="4934424" y="36179"/>
                </a:lnTo>
                <a:lnTo>
                  <a:pt x="5050209" y="36179"/>
                </a:lnTo>
                <a:lnTo>
                  <a:pt x="5050209" y="0"/>
                </a:lnTo>
                <a:lnTo>
                  <a:pt x="5294644" y="0"/>
                </a:lnTo>
                <a:lnTo>
                  <a:pt x="5294644" y="200278"/>
                </a:lnTo>
                <a:cubicBezTo>
                  <a:pt x="5294644" y="271178"/>
                  <a:pt x="5236894" y="328927"/>
                  <a:pt x="5165994" y="328927"/>
                </a:cubicBezTo>
                <a:lnTo>
                  <a:pt x="4575634" y="328927"/>
                </a:lnTo>
                <a:cubicBezTo>
                  <a:pt x="4504449" y="328927"/>
                  <a:pt x="4446699" y="271178"/>
                  <a:pt x="4446699" y="200278"/>
                </a:cubicBezTo>
                <a:close/>
                <a:moveTo>
                  <a:pt x="2776541" y="0"/>
                </a:moveTo>
                <a:lnTo>
                  <a:pt x="2817819" y="0"/>
                </a:lnTo>
                <a:lnTo>
                  <a:pt x="2817994" y="35320"/>
                </a:lnTo>
                <a:lnTo>
                  <a:pt x="2776541" y="35320"/>
                </a:lnTo>
                <a:close/>
                <a:moveTo>
                  <a:pt x="2530966" y="0"/>
                </a:moveTo>
                <a:lnTo>
                  <a:pt x="2762818" y="0"/>
                </a:lnTo>
                <a:lnTo>
                  <a:pt x="2762818" y="54472"/>
                </a:lnTo>
                <a:lnTo>
                  <a:pt x="2832861" y="54472"/>
                </a:lnTo>
                <a:lnTo>
                  <a:pt x="2832861" y="0"/>
                </a:lnTo>
                <a:lnTo>
                  <a:pt x="3065007" y="0"/>
                </a:lnTo>
                <a:lnTo>
                  <a:pt x="3065099" y="46092"/>
                </a:lnTo>
                <a:cubicBezTo>
                  <a:pt x="3065154" y="72224"/>
                  <a:pt x="3065217" y="100179"/>
                  <a:pt x="3065288" y="129947"/>
                </a:cubicBezTo>
                <a:cubicBezTo>
                  <a:pt x="3065288" y="173402"/>
                  <a:pt x="3029837" y="208852"/>
                  <a:pt x="2986383" y="208852"/>
                </a:cubicBezTo>
                <a:lnTo>
                  <a:pt x="2609868" y="208852"/>
                </a:lnTo>
                <a:cubicBezTo>
                  <a:pt x="2566413" y="208852"/>
                  <a:pt x="2530963" y="173402"/>
                  <a:pt x="2530963" y="129947"/>
                </a:cubicBezTo>
                <a:cubicBezTo>
                  <a:pt x="2530963" y="100322"/>
                  <a:pt x="2530963" y="72510"/>
                  <a:pt x="2530963" y="46519"/>
                </a:cubicBezTo>
                <a:close/>
                <a:moveTo>
                  <a:pt x="1520919" y="0"/>
                </a:moveTo>
                <a:lnTo>
                  <a:pt x="1539216" y="0"/>
                </a:lnTo>
                <a:lnTo>
                  <a:pt x="1539216" y="45326"/>
                </a:lnTo>
                <a:cubicBezTo>
                  <a:pt x="1539216" y="102504"/>
                  <a:pt x="1585816" y="149104"/>
                  <a:pt x="1642994" y="149104"/>
                </a:cubicBezTo>
                <a:lnTo>
                  <a:pt x="1728760" y="149104"/>
                </a:lnTo>
                <a:lnTo>
                  <a:pt x="1728760" y="101074"/>
                </a:lnTo>
                <a:cubicBezTo>
                  <a:pt x="1728760" y="69913"/>
                  <a:pt x="1716110" y="41681"/>
                  <a:pt x="1695669" y="21240"/>
                </a:cubicBezTo>
                <a:lnTo>
                  <a:pt x="1664177" y="0"/>
                </a:lnTo>
                <a:lnTo>
                  <a:pt x="2173527" y="0"/>
                </a:lnTo>
                <a:lnTo>
                  <a:pt x="2154466" y="28262"/>
                </a:lnTo>
                <a:cubicBezTo>
                  <a:pt x="2148748" y="41770"/>
                  <a:pt x="2145585" y="56618"/>
                  <a:pt x="2145585" y="72199"/>
                </a:cubicBezTo>
                <a:lnTo>
                  <a:pt x="2145585" y="149104"/>
                </a:lnTo>
                <a:lnTo>
                  <a:pt x="2202762" y="149104"/>
                </a:lnTo>
                <a:cubicBezTo>
                  <a:pt x="2259940" y="149104"/>
                  <a:pt x="2306540" y="102504"/>
                  <a:pt x="2306540" y="45326"/>
                </a:cubicBezTo>
                <a:lnTo>
                  <a:pt x="2306540" y="0"/>
                </a:lnTo>
                <a:lnTo>
                  <a:pt x="2324837" y="0"/>
                </a:lnTo>
                <a:lnTo>
                  <a:pt x="2324837" y="45040"/>
                </a:lnTo>
                <a:cubicBezTo>
                  <a:pt x="2324837" y="112510"/>
                  <a:pt x="2270232" y="167115"/>
                  <a:pt x="2202762" y="167115"/>
                </a:cubicBezTo>
                <a:lnTo>
                  <a:pt x="1642994" y="167115"/>
                </a:lnTo>
                <a:cubicBezTo>
                  <a:pt x="1575810" y="167115"/>
                  <a:pt x="1520919" y="112510"/>
                  <a:pt x="1520919" y="45040"/>
                </a:cubicBezTo>
                <a:close/>
                <a:moveTo>
                  <a:pt x="861944" y="0"/>
                </a:moveTo>
                <a:lnTo>
                  <a:pt x="890388" y="0"/>
                </a:lnTo>
                <a:lnTo>
                  <a:pt x="911942" y="47933"/>
                </a:lnTo>
                <a:cubicBezTo>
                  <a:pt x="939566" y="86564"/>
                  <a:pt x="982449" y="107076"/>
                  <a:pt x="1056923" y="107076"/>
                </a:cubicBezTo>
                <a:cubicBezTo>
                  <a:pt x="1157555" y="107076"/>
                  <a:pt x="1227312" y="80488"/>
                  <a:pt x="1253614" y="32745"/>
                </a:cubicBezTo>
                <a:lnTo>
                  <a:pt x="1263392" y="0"/>
                </a:lnTo>
                <a:lnTo>
                  <a:pt x="1291319" y="0"/>
                </a:lnTo>
                <a:lnTo>
                  <a:pt x="1277057" y="45610"/>
                </a:lnTo>
                <a:cubicBezTo>
                  <a:pt x="1246181" y="102501"/>
                  <a:pt x="1168134" y="133663"/>
                  <a:pt x="1057495" y="133663"/>
                </a:cubicBezTo>
                <a:cubicBezTo>
                  <a:pt x="974444" y="133663"/>
                  <a:pt x="925486" y="110220"/>
                  <a:pt x="893717" y="67409"/>
                </a:cubicBezTo>
                <a:close/>
                <a:moveTo>
                  <a:pt x="793141" y="0"/>
                </a:moveTo>
                <a:lnTo>
                  <a:pt x="821672" y="0"/>
                </a:lnTo>
                <a:lnTo>
                  <a:pt x="857337" y="81238"/>
                </a:lnTo>
                <a:cubicBezTo>
                  <a:pt x="893395" y="134807"/>
                  <a:pt x="952574" y="171972"/>
                  <a:pt x="1057209" y="171972"/>
                </a:cubicBezTo>
                <a:cubicBezTo>
                  <a:pt x="1182143" y="171972"/>
                  <a:pt x="1271625" y="133949"/>
                  <a:pt x="1309648" y="64479"/>
                </a:cubicBezTo>
                <a:cubicBezTo>
                  <a:pt x="1316224" y="52400"/>
                  <a:pt x="1322013" y="37909"/>
                  <a:pt x="1325672" y="20778"/>
                </a:cubicBezTo>
                <a:lnTo>
                  <a:pt x="1326802" y="0"/>
                </a:lnTo>
                <a:lnTo>
                  <a:pt x="1352910" y="0"/>
                </a:lnTo>
                <a:lnTo>
                  <a:pt x="1350982" y="28604"/>
                </a:lnTo>
                <a:cubicBezTo>
                  <a:pt x="1346671" y="47700"/>
                  <a:pt x="1340024" y="63978"/>
                  <a:pt x="1332519" y="77629"/>
                </a:cubicBezTo>
                <a:cubicBezTo>
                  <a:pt x="1289636" y="155677"/>
                  <a:pt x="1191863" y="198846"/>
                  <a:pt x="1056923" y="198846"/>
                </a:cubicBezTo>
                <a:cubicBezTo>
                  <a:pt x="941424" y="198846"/>
                  <a:pt x="875599" y="155248"/>
                  <a:pt x="835682" y="95747"/>
                </a:cubicBezTo>
                <a:close/>
                <a:moveTo>
                  <a:pt x="160901" y="0"/>
                </a:moveTo>
                <a:lnTo>
                  <a:pt x="240126" y="0"/>
                </a:lnTo>
                <a:lnTo>
                  <a:pt x="244145" y="1302"/>
                </a:lnTo>
                <a:lnTo>
                  <a:pt x="174103" y="218863"/>
                </a:lnTo>
                <a:lnTo>
                  <a:pt x="68037" y="184556"/>
                </a:lnTo>
                <a:cubicBezTo>
                  <a:pt x="63463" y="183127"/>
                  <a:pt x="59175" y="182841"/>
                  <a:pt x="54601" y="183699"/>
                </a:cubicBezTo>
                <a:cubicBezTo>
                  <a:pt x="44309" y="185700"/>
                  <a:pt x="36017" y="192847"/>
                  <a:pt x="32588" y="202853"/>
                </a:cubicBezTo>
                <a:cubicBezTo>
                  <a:pt x="27727" y="217434"/>
                  <a:pt x="35732" y="233157"/>
                  <a:pt x="50598" y="238018"/>
                </a:cubicBezTo>
                <a:lnTo>
                  <a:pt x="309326" y="321497"/>
                </a:lnTo>
                <a:cubicBezTo>
                  <a:pt x="323621" y="326071"/>
                  <a:pt x="339918" y="317780"/>
                  <a:pt x="344491" y="303486"/>
                </a:cubicBezTo>
                <a:cubicBezTo>
                  <a:pt x="349065" y="288905"/>
                  <a:pt x="341061" y="273182"/>
                  <a:pt x="326480" y="268322"/>
                </a:cubicBezTo>
                <a:lnTo>
                  <a:pt x="220416" y="234301"/>
                </a:lnTo>
                <a:lnTo>
                  <a:pt x="290459" y="16740"/>
                </a:lnTo>
                <a:lnTo>
                  <a:pt x="331054" y="29891"/>
                </a:lnTo>
                <a:cubicBezTo>
                  <a:pt x="341918" y="33322"/>
                  <a:pt x="353354" y="34179"/>
                  <a:pt x="364217" y="32178"/>
                </a:cubicBezTo>
                <a:cubicBezTo>
                  <a:pt x="377082" y="30034"/>
                  <a:pt x="388661" y="24459"/>
                  <a:pt x="398024" y="16347"/>
                </a:cubicBezTo>
                <a:lnTo>
                  <a:pt x="408821" y="0"/>
                </a:lnTo>
                <a:lnTo>
                  <a:pt x="444418" y="0"/>
                </a:lnTo>
                <a:lnTo>
                  <a:pt x="418072" y="40076"/>
                </a:lnTo>
                <a:cubicBezTo>
                  <a:pt x="404527" y="51833"/>
                  <a:pt x="387803" y="59910"/>
                  <a:pt x="369363" y="63054"/>
                </a:cubicBezTo>
                <a:cubicBezTo>
                  <a:pt x="353641" y="65913"/>
                  <a:pt x="337058" y="64483"/>
                  <a:pt x="321620" y="59623"/>
                </a:cubicBezTo>
                <a:lnTo>
                  <a:pt x="310470" y="55906"/>
                </a:lnTo>
                <a:lnTo>
                  <a:pt x="259297" y="214575"/>
                </a:lnTo>
                <a:lnTo>
                  <a:pt x="335914" y="239161"/>
                </a:lnTo>
                <a:cubicBezTo>
                  <a:pt x="366791" y="249167"/>
                  <a:pt x="383943" y="282616"/>
                  <a:pt x="373937" y="313491"/>
                </a:cubicBezTo>
                <a:cubicBezTo>
                  <a:pt x="367362" y="334362"/>
                  <a:pt x="349637" y="349800"/>
                  <a:pt x="327910" y="353516"/>
                </a:cubicBezTo>
                <a:cubicBezTo>
                  <a:pt x="318476" y="355232"/>
                  <a:pt x="308755" y="354374"/>
                  <a:pt x="299606" y="351515"/>
                </a:cubicBezTo>
                <a:lnTo>
                  <a:pt x="40878" y="268036"/>
                </a:lnTo>
                <a:cubicBezTo>
                  <a:pt x="10002" y="258030"/>
                  <a:pt x="-7151" y="224866"/>
                  <a:pt x="2855" y="193705"/>
                </a:cubicBezTo>
                <a:cubicBezTo>
                  <a:pt x="9716" y="172835"/>
                  <a:pt x="27442" y="157397"/>
                  <a:pt x="49168" y="153681"/>
                </a:cubicBezTo>
                <a:cubicBezTo>
                  <a:pt x="58603" y="151965"/>
                  <a:pt x="68324" y="152823"/>
                  <a:pt x="77472" y="155682"/>
                </a:cubicBezTo>
                <a:lnTo>
                  <a:pt x="154090" y="180554"/>
                </a:lnTo>
                <a:lnTo>
                  <a:pt x="205263" y="21886"/>
                </a:lnTo>
                <a:lnTo>
                  <a:pt x="194114" y="18456"/>
                </a:lnTo>
                <a:close/>
              </a:path>
            </a:pathLst>
          </a:custGeom>
          <a:gradFill>
            <a:gsLst>
              <a:gs pos="0">
                <a:schemeClr val="accent1">
                  <a:lumMod val="40000"/>
                  <a:lumOff val="60000"/>
                </a:schemeClr>
              </a:gs>
              <a:gs pos="100000">
                <a:schemeClr val="accent1"/>
              </a:gs>
            </a:gsLst>
            <a:lin ang="5400000" scaled="1"/>
          </a:gradFill>
          <a:ln w="31750" cap="flat">
            <a:noFill/>
            <a:prstDash val="solid"/>
            <a:miter/>
          </a:ln>
        </p:spPr>
        <p:txBody>
          <a:bodyPr rtlCol="0" anchor="ctr"/>
          <a:lstStyle/>
          <a:p>
            <a:endParaRPr lang="zh-CN" altLang="en-US"/>
          </a:p>
        </p:txBody>
      </p:sp>
      <p:sp>
        <p:nvSpPr>
          <p:cNvPr id="13" name="标题 12"/>
          <p:cNvSpPr>
            <a:spLocks noGrp="1"/>
          </p:cNvSpPr>
          <p:nvPr userDrawn="1">
            <p:ph type="ctrTitle" hasCustomPrompt="1"/>
          </p:nvPr>
        </p:nvSpPr>
        <p:spPr>
          <a:xfrm>
            <a:off x="673100" y="2235201"/>
            <a:ext cx="10847388" cy="2628900"/>
          </a:xfrm>
        </p:spPr>
        <p:txBody>
          <a:bodyPr anchor="b">
            <a:normAutofit/>
          </a:bodyPr>
          <a:lstStyle>
            <a:lvl1pPr marL="0" indent="0" algn="ctr">
              <a:buFont typeface="Arial" panose="020B0604020202020204" pitchFamily="34" charset="0"/>
              <a:buNone/>
              <a:defRPr sz="3200">
                <a:solidFill>
                  <a:schemeClr val="bg1"/>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673100" y="5826404"/>
            <a:ext cx="10847388" cy="310871"/>
          </a:xfrm>
        </p:spPr>
        <p:txBody>
          <a:bodyPr vert="horz" lIns="91440" tIns="45720" rIns="91440" bIns="45720" rtlCol="0">
            <a:normAutofit/>
          </a:bodyPr>
          <a:lstStyle>
            <a:lvl1pPr marL="0" indent="0" algn="ctr">
              <a:buNone/>
              <a:defRPr lang="zh-CN" altLang="en-US" sz="14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673102" y="5530133"/>
            <a:ext cx="10847388"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8">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GB" altLang="zh-CN" dirty="0"/>
              <a:t>https://iSlide-PowerPoint.com </a:t>
            </a:r>
            <a:endParaRPr lang="zh-CN" altLang="en-US" dirty="0"/>
          </a:p>
        </p:txBody>
      </p:sp>
      <p:sp>
        <p:nvSpPr>
          <p:cNvPr id="10" name="灯片编号占位符 9">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xml"/><Relationship Id="rId1" Type="http://schemas.openxmlformats.org/officeDocument/2006/relationships/themeOverride" Target="../theme/themeOverride1.xml"/><Relationship Id="rId5" Type="http://schemas.openxmlformats.org/officeDocument/2006/relationships/hyperlink" Target="https://islide-powerpoint.com/" TargetMode="External"/><Relationship Id="rId4" Type="http://schemas.openxmlformats.org/officeDocument/2006/relationships/image" Target="../media/image3.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6.xml"/><Relationship Id="rId1" Type="http://schemas.openxmlformats.org/officeDocument/2006/relationships/themeOverride" Target="../theme/themeOverride3.xml"/><Relationship Id="rId5" Type="http://schemas.openxmlformats.org/officeDocument/2006/relationships/hyperlink" Target="https://islide-powerpoint.com/" TargetMode="External"/><Relationship Id="rId4" Type="http://schemas.openxmlformats.org/officeDocument/2006/relationships/image" Target="../media/image3.emf"/></Relationships>
</file>

<file path=ppt/slides/_rels/slide18.xml.rels><?xml version="1.0" encoding="UTF-8" standalone="yes"?>
<Relationships xmlns="http://schemas.openxmlformats.org/package/2006/relationships"><Relationship Id="rId2" Type="http://schemas.openxmlformats.org/officeDocument/2006/relationships/hyperlink" Target="https://islide-powerpoint.com/" TargetMode="Externa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ï$lîḍê"/>
        <p:cNvGrpSpPr/>
        <p:nvPr/>
      </p:nvGrpSpPr>
      <p:grpSpPr>
        <a:xfrm>
          <a:off x="0" y="0"/>
          <a:ext cx="0" cy="0"/>
          <a:chOff x="0" y="0"/>
          <a:chExt cx="0" cy="0"/>
        </a:xfrm>
      </p:grpSpPr>
      <p:graphicFrame>
        <p:nvGraphicFramePr>
          <p:cNvPr id="3" name="íṣļîdè" hidden="1">
            <a:extLst>
              <a:ext uri="{FF2B5EF4-FFF2-40B4-BE49-F238E27FC236}">
                <a16:creationId xmlns:a16="http://schemas.microsoft.com/office/drawing/2014/main"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islíḓê" hidden="1">
                        <a:extLst>
                          <a:ext uri="{FF2B5EF4-FFF2-40B4-BE49-F238E27FC236}">
                            <a16:creationId xmlns:a16="http://schemas.microsoft.com/office/drawing/2014/main" id="{3C326D0B-7DAB-41B6-8030-2E4A18CC94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işľîďé" hidden="1">
            <a:extLst>
              <a:ext uri="{FF2B5EF4-FFF2-40B4-BE49-F238E27FC236}">
                <a16:creationId xmlns:a16="http://schemas.microsoft.com/office/drawing/2014/main"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îşliḓe"/>
          <p:cNvSpPr>
            <a:spLocks noGrp="1"/>
          </p:cNvSpPr>
          <p:nvPr>
            <p:ph type="subTitle" idx="1"/>
          </p:nvPr>
        </p:nvSpPr>
        <p:spPr/>
        <p:txBody>
          <a:bodyPr>
            <a:normAutofit/>
          </a:bodyPr>
          <a:lstStyle/>
          <a:p>
            <a:r>
              <a:rPr lang="en-US" altLang="zh-CN" spc="300" dirty="0">
                <a:solidFill>
                  <a:schemeClr val="accent1">
                    <a:lumMod val="20000"/>
                    <a:lumOff val="80000"/>
                  </a:schemeClr>
                </a:solidFill>
              </a:rPr>
              <a:t>Wash hands frequently </a:t>
            </a:r>
            <a:r>
              <a:rPr lang="en-US" altLang="zh-CN" spc="300" dirty="0">
                <a:solidFill>
                  <a:schemeClr val="accent1">
                    <a:lumMod val="60000"/>
                    <a:lumOff val="40000"/>
                  </a:schemeClr>
                </a:solidFill>
              </a:rPr>
              <a:t>/</a:t>
            </a:r>
            <a:r>
              <a:rPr lang="en-US" altLang="zh-CN" spc="300" dirty="0">
                <a:solidFill>
                  <a:schemeClr val="accent1">
                    <a:lumMod val="20000"/>
                    <a:lumOff val="80000"/>
                  </a:schemeClr>
                </a:solidFill>
              </a:rPr>
              <a:t> Wear a mask</a:t>
            </a:r>
            <a:r>
              <a:rPr lang="zh-CN" altLang="en-US" spc="300" dirty="0">
                <a:solidFill>
                  <a:schemeClr val="accent1">
                    <a:lumMod val="20000"/>
                    <a:lumOff val="80000"/>
                  </a:schemeClr>
                </a:solidFill>
              </a:rPr>
              <a:t> </a:t>
            </a:r>
            <a:r>
              <a:rPr lang="en-US" altLang="zh-CN" spc="300" dirty="0">
                <a:solidFill>
                  <a:schemeClr val="accent1">
                    <a:lumMod val="60000"/>
                    <a:lumOff val="40000"/>
                  </a:schemeClr>
                </a:solidFill>
              </a:rPr>
              <a:t>/</a:t>
            </a:r>
            <a:r>
              <a:rPr lang="zh-CN" altLang="en-US" spc="300" dirty="0">
                <a:solidFill>
                  <a:schemeClr val="accent1">
                    <a:lumMod val="20000"/>
                    <a:lumOff val="80000"/>
                  </a:schemeClr>
                </a:solidFill>
              </a:rPr>
              <a:t> </a:t>
            </a:r>
            <a:r>
              <a:rPr lang="en-US" altLang="zh-CN" spc="300" dirty="0">
                <a:solidFill>
                  <a:schemeClr val="accent1">
                    <a:lumMod val="20000"/>
                    <a:lumOff val="80000"/>
                  </a:schemeClr>
                </a:solidFill>
              </a:rPr>
              <a:t>Go out less </a:t>
            </a:r>
            <a:r>
              <a:rPr lang="en-US" altLang="zh-CN" spc="300" dirty="0">
                <a:solidFill>
                  <a:schemeClr val="accent1">
                    <a:lumMod val="60000"/>
                    <a:lumOff val="40000"/>
                  </a:schemeClr>
                </a:solidFill>
              </a:rPr>
              <a:t>/</a:t>
            </a:r>
            <a:r>
              <a:rPr lang="zh-CN" altLang="en-US" spc="300" dirty="0">
                <a:solidFill>
                  <a:schemeClr val="accent1">
                    <a:lumMod val="60000"/>
                    <a:lumOff val="40000"/>
                  </a:schemeClr>
                </a:solidFill>
              </a:rPr>
              <a:t> </a:t>
            </a:r>
            <a:r>
              <a:rPr lang="en-US" altLang="zh-CN" spc="300" dirty="0">
                <a:solidFill>
                  <a:schemeClr val="accent1">
                    <a:lumMod val="20000"/>
                    <a:lumOff val="80000"/>
                  </a:schemeClr>
                </a:solidFill>
              </a:rPr>
              <a:t>Gather less</a:t>
            </a:r>
            <a:r>
              <a:rPr lang="zh-CN" altLang="en-US" spc="300" dirty="0">
                <a:solidFill>
                  <a:schemeClr val="accent1">
                    <a:lumMod val="60000"/>
                    <a:lumOff val="40000"/>
                  </a:schemeClr>
                </a:solidFill>
              </a:rPr>
              <a:t> </a:t>
            </a:r>
            <a:r>
              <a:rPr lang="en-US" altLang="zh-CN" spc="300" dirty="0">
                <a:solidFill>
                  <a:schemeClr val="accent1">
                    <a:lumMod val="60000"/>
                    <a:lumOff val="40000"/>
                  </a:schemeClr>
                </a:solidFill>
              </a:rPr>
              <a:t>/ </a:t>
            </a:r>
            <a:r>
              <a:rPr lang="en-US" altLang="zh-CN" spc="300" dirty="0">
                <a:solidFill>
                  <a:schemeClr val="accent1">
                    <a:lumMod val="20000"/>
                    <a:lumOff val="80000"/>
                  </a:schemeClr>
                </a:solidFill>
              </a:rPr>
              <a:t>Do not panic!</a:t>
            </a:r>
          </a:p>
        </p:txBody>
      </p:sp>
      <p:sp>
        <p:nvSpPr>
          <p:cNvPr id="4" name="iṡ1ïḍè"/>
          <p:cNvSpPr>
            <a:spLocks noGrp="1"/>
          </p:cNvSpPr>
          <p:nvPr>
            <p:ph type="ctrTitle"/>
          </p:nvPr>
        </p:nvSpPr>
        <p:spPr>
          <a:xfrm>
            <a:off x="670719" y="2531880"/>
            <a:ext cx="10850563" cy="1660343"/>
          </a:xfrm>
          <a:noFill/>
          <a:ln>
            <a:noFill/>
          </a:ln>
        </p:spPr>
        <p:txBody>
          <a:bodyPr>
            <a:normAutofit/>
          </a:bodyPr>
          <a:lstStyle/>
          <a:p>
            <a:r>
              <a:rPr lang="en-GB" altLang="zh-CN" sz="8000" b="0" dirty="0">
                <a:ln w="38100">
                  <a:noFill/>
                </a:ln>
                <a:latin typeface="+mj-ea"/>
              </a:rPr>
              <a:t>Get rid of the virus!</a:t>
            </a:r>
            <a:endParaRPr lang="zh-CN" altLang="en-US" sz="8000" b="0" dirty="0">
              <a:ln w="38100">
                <a:noFill/>
              </a:ln>
              <a:latin typeface="+mj-ea"/>
            </a:endParaRPr>
          </a:p>
        </p:txBody>
      </p:sp>
      <p:sp>
        <p:nvSpPr>
          <p:cNvPr id="6" name="ïśļíḑe"/>
          <p:cNvSpPr>
            <a:spLocks noGrp="1"/>
          </p:cNvSpPr>
          <p:nvPr>
            <p:ph type="body" sz="quarter" idx="10"/>
          </p:nvPr>
        </p:nvSpPr>
        <p:spPr/>
        <p:txBody>
          <a:bodyPr/>
          <a:lstStyle/>
          <a:p>
            <a:r>
              <a:rPr lang="en-US" altLang="zh-CN" spc="300" dirty="0">
                <a:solidFill>
                  <a:schemeClr val="accent1">
                    <a:lumMod val="40000"/>
                    <a:lumOff val="60000"/>
                  </a:schemeClr>
                </a:solidFill>
              </a:rPr>
              <a:t>SPEAKERS NAME AND TITLE</a:t>
            </a:r>
          </a:p>
        </p:txBody>
      </p:sp>
      <p:sp>
        <p:nvSpPr>
          <p:cNvPr id="7" name="ï$ļíḓè"/>
          <p:cNvSpPr>
            <a:spLocks noGrp="1"/>
          </p:cNvSpPr>
          <p:nvPr>
            <p:ph type="body" sz="quarter" idx="11"/>
          </p:nvPr>
        </p:nvSpPr>
        <p:spPr/>
        <p:txBody>
          <a:bodyPr/>
          <a:lstStyle/>
          <a:p>
            <a:r>
              <a:rPr lang="en-US" altLang="zh-CN" spc="300" dirty="0">
                <a:solidFill>
                  <a:srgbClr val="FBEDE5"/>
                </a:solidFill>
                <a:hlinkClick r:id="rId5">
                  <a:extLst>
                    <a:ext uri="{A12FA001-AC4F-418D-AE19-62706E023703}">
                      <ahyp:hlinkClr xmlns:ahyp="http://schemas.microsoft.com/office/drawing/2018/hyperlinkcolor" val="tx"/>
                    </a:ext>
                  </a:extLst>
                </a:hlinkClick>
              </a:rPr>
              <a:t>https://iSlide-PowerPoint.com</a:t>
            </a:r>
            <a:endParaRPr lang="en-US" altLang="en-US" spc="300" dirty="0">
              <a:solidFill>
                <a:srgbClr val="FBEDE5"/>
              </a:solidFill>
            </a:endParaRPr>
          </a:p>
        </p:txBody>
      </p:sp>
    </p:spTree>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GB" altLang="zh-CN" dirty="0"/>
              <a:t>Prevention in after virus epidemic areas</a:t>
            </a:r>
            <a:endParaRPr lang="zh-CN" altLang="en-US" dirty="0"/>
          </a:p>
        </p:txBody>
      </p:sp>
      <p:sp>
        <p:nvSpPr>
          <p:cNvPr id="3" name="页脚占位符 2"/>
          <p:cNvSpPr>
            <a:spLocks noGrp="1"/>
          </p:cNvSpPr>
          <p:nvPr>
            <p:ph type="ftr" sz="quarter" idx="11"/>
          </p:nvPr>
        </p:nvSpPr>
        <p:spPr/>
        <p:txBody>
          <a:bodyPr/>
          <a:lstStyle/>
          <a:p>
            <a:r>
              <a:rPr lang="en-GB" altLang="zh-CN" dirty="0"/>
              <a:t>https://iSlide-PowerPoint.com </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0</a:t>
            </a:fld>
            <a:endParaRPr lang="zh-CN" altLang="en-US"/>
          </a:p>
        </p:txBody>
      </p:sp>
      <p:grpSp>
        <p:nvGrpSpPr>
          <p:cNvPr id="5" name="277717"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673100" y="1130300"/>
            <a:ext cx="10845800" cy="5016500"/>
            <a:chOff x="673100" y="1130300"/>
            <a:chExt cx="10845800" cy="5016500"/>
          </a:xfrm>
        </p:grpSpPr>
        <p:sp>
          <p:nvSpPr>
            <p:cNvPr id="6" name="iŝľïdê">
              <a:extLst>
                <a:ext uri="{FF2B5EF4-FFF2-40B4-BE49-F238E27FC236}">
                  <a16:creationId xmlns:a16="http://schemas.microsoft.com/office/drawing/2014/main" id="{AA2728B0-75A7-416B-A6B1-EF1C02CB3ACE}"/>
                </a:ext>
              </a:extLst>
            </p:cNvPr>
            <p:cNvSpPr/>
            <p:nvPr/>
          </p:nvSpPr>
          <p:spPr>
            <a:xfrm>
              <a:off x="673100" y="1946275"/>
              <a:ext cx="10845800" cy="4200525"/>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grpSp>
          <p:nvGrpSpPr>
            <p:cNvPr id="7" name="ïṡľíḋe"/>
            <p:cNvGrpSpPr/>
            <p:nvPr/>
          </p:nvGrpSpPr>
          <p:grpSpPr>
            <a:xfrm>
              <a:off x="4686300" y="1130300"/>
              <a:ext cx="2819400" cy="1219200"/>
              <a:chOff x="4686300" y="1130300"/>
              <a:chExt cx="2819400" cy="1219200"/>
            </a:xfrm>
          </p:grpSpPr>
          <p:sp>
            <p:nvSpPr>
              <p:cNvPr id="32" name="íśľíďe">
                <a:extLst>
                  <a:ext uri="{FF2B5EF4-FFF2-40B4-BE49-F238E27FC236}">
                    <a16:creationId xmlns:a16="http://schemas.microsoft.com/office/drawing/2014/main" id="{D0ADB613-476A-4922-9748-B9C2CB1E2D09}"/>
                  </a:ext>
                </a:extLst>
              </p:cNvPr>
              <p:cNvSpPr/>
              <p:nvPr/>
            </p:nvSpPr>
            <p:spPr bwMode="auto">
              <a:xfrm>
                <a:off x="4686300" y="1572105"/>
                <a:ext cx="2819400" cy="777395"/>
              </a:xfrm>
              <a:prstGeom prst="rect">
                <a:avLst/>
              </a:prstGeom>
              <a:solidFill>
                <a:srgbClr val="FFFFFF"/>
              </a:solidFill>
              <a:ln w="12700">
                <a:solidFill>
                  <a:schemeClr val="accent1"/>
                </a:solidFill>
                <a:miter lim="800000"/>
                <a:headEnd/>
                <a:tailEnd/>
              </a:ln>
            </p:spPr>
            <p:txBody>
              <a:bodyPr wrap="square" lIns="91440" tIns="45720" rIns="91440" bIns="45720" anchor="ctr"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r>
                  <a:rPr lang="en-US" altLang="zh-CN" sz="2800"/>
                  <a:t>…T</a:t>
                </a:r>
                <a:r>
                  <a:rPr lang="en-US" altLang="zh-CN" sz="100"/>
                  <a:t> </a:t>
                </a:r>
                <a:r>
                  <a:rPr lang="en-US" altLang="zh-CN" sz="2800"/>
                  <a:t>ext</a:t>
                </a:r>
                <a:endParaRPr lang="en-US" altLang="zh-CN" sz="2800" dirty="0"/>
              </a:p>
            </p:txBody>
          </p:sp>
          <p:sp>
            <p:nvSpPr>
              <p:cNvPr id="33" name="îšḻíḑé">
                <a:extLst>
                  <a:ext uri="{FF2B5EF4-FFF2-40B4-BE49-F238E27FC236}">
                    <a16:creationId xmlns:a16="http://schemas.microsoft.com/office/drawing/2014/main" id="{71A67924-3191-4DAD-B75A-9F06FA9117EF}"/>
                  </a:ext>
                </a:extLst>
              </p:cNvPr>
              <p:cNvSpPr txBox="1"/>
              <p:nvPr/>
            </p:nvSpPr>
            <p:spPr bwMode="auto">
              <a:xfrm>
                <a:off x="4686300" y="1130300"/>
                <a:ext cx="2819400"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spcBef>
                    <a:spcPct val="0"/>
                  </a:spcBef>
                </a:pPr>
                <a:r>
                  <a:rPr lang="en-US" altLang="zh-CN" sz="1200" u="sng"/>
                  <a:t>Supportin</a:t>
                </a:r>
                <a:r>
                  <a:rPr lang="en-US" altLang="zh-CN" sz="100" u="sng"/>
                  <a:t> </a:t>
                </a:r>
                <a:r>
                  <a:rPr lang="en-US" altLang="zh-CN" sz="1200" u="sng"/>
                  <a:t>g </a:t>
                </a:r>
                <a:r>
                  <a:rPr lang="en-US" altLang="zh-CN" sz="1200" u="sng" dirty="0"/>
                  <a:t>text here</a:t>
                </a:r>
              </a:p>
            </p:txBody>
          </p:sp>
        </p:grpSp>
        <p:sp>
          <p:nvSpPr>
            <p:cNvPr id="8" name="is1íďè">
              <a:extLst>
                <a:ext uri="{FF2B5EF4-FFF2-40B4-BE49-F238E27FC236}">
                  <a16:creationId xmlns:a16="http://schemas.microsoft.com/office/drawing/2014/main" id="{DF951056-B4D4-49B9-8C05-060CFA9F6D04}"/>
                </a:ext>
              </a:extLst>
            </p:cNvPr>
            <p:cNvSpPr txBox="1"/>
            <p:nvPr/>
          </p:nvSpPr>
          <p:spPr bwMode="auto">
            <a:xfrm>
              <a:off x="741363" y="3399535"/>
              <a:ext cx="10709275" cy="842265"/>
            </a:xfrm>
            <a:prstGeom prst="rect">
              <a:avLst/>
            </a:prstGeom>
            <a:pattFill prst="dkUpDiag">
              <a:fgClr>
                <a:schemeClr val="bg1">
                  <a:lumMod val="95000"/>
                </a:schemeClr>
              </a:fgClr>
              <a:bgClr>
                <a:schemeClr val="bg1"/>
              </a:bgClr>
            </a:pattFill>
            <a:ln>
              <a:noFill/>
            </a:ln>
          </p:spPr>
          <p:txBody>
            <a:bodyPr wrap="square" lIns="91440" tIns="45720" rIns="91440" bIns="45720" anchor="t">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spcBef>
                  <a:spcPct val="0"/>
                </a:spcBef>
              </a:pPr>
              <a:endParaRPr lang="en-US" altLang="zh-CN" sz="1600" b="1" i="1" dirty="0"/>
            </a:p>
          </p:txBody>
        </p:sp>
        <p:grpSp>
          <p:nvGrpSpPr>
            <p:cNvPr id="9" name="íŝliḋê"/>
            <p:cNvGrpSpPr/>
            <p:nvPr/>
          </p:nvGrpSpPr>
          <p:grpSpPr>
            <a:xfrm>
              <a:off x="1763220" y="2771854"/>
              <a:ext cx="1837017" cy="3371770"/>
              <a:chOff x="1590204" y="2771854"/>
              <a:chExt cx="1837017" cy="3371770"/>
            </a:xfrm>
          </p:grpSpPr>
          <p:grpSp>
            <p:nvGrpSpPr>
              <p:cNvPr id="28" name="íSľíḑê"/>
              <p:cNvGrpSpPr/>
              <p:nvPr/>
            </p:nvGrpSpPr>
            <p:grpSpPr>
              <a:xfrm>
                <a:off x="1590204" y="3773705"/>
                <a:ext cx="1837017" cy="2369919"/>
                <a:chOff x="1661922" y="3773705"/>
                <a:chExt cx="1837017" cy="2369919"/>
              </a:xfrm>
            </p:grpSpPr>
            <p:sp>
              <p:nvSpPr>
                <p:cNvPr id="30" name="ïṩ1iḍê">
                  <a:extLst>
                    <a:ext uri="{FF2B5EF4-FFF2-40B4-BE49-F238E27FC236}">
                      <a16:creationId xmlns:a16="http://schemas.microsoft.com/office/drawing/2014/main" id="{5918C20A-B309-4173-9157-A1FC5DBA4BC1}"/>
                    </a:ext>
                  </a:extLst>
                </p:cNvPr>
                <p:cNvSpPr/>
                <p:nvPr/>
              </p:nvSpPr>
              <p:spPr>
                <a:xfrm>
                  <a:off x="2112118" y="3773705"/>
                  <a:ext cx="936624" cy="936190"/>
                </a:xfrm>
                <a:custGeom>
                  <a:avLst/>
                  <a:gdLst>
                    <a:gd name="connsiteX0" fmla="*/ 0 w 1260455"/>
                    <a:gd name="connsiteY0" fmla="*/ 630228 h 1260455"/>
                    <a:gd name="connsiteX1" fmla="*/ 630228 w 1260455"/>
                    <a:gd name="connsiteY1" fmla="*/ 0 h 1260455"/>
                    <a:gd name="connsiteX2" fmla="*/ 1260456 w 1260455"/>
                    <a:gd name="connsiteY2" fmla="*/ 630228 h 1260455"/>
                    <a:gd name="connsiteX3" fmla="*/ 630228 w 1260455"/>
                    <a:gd name="connsiteY3" fmla="*/ 1260456 h 1260455"/>
                    <a:gd name="connsiteX4" fmla="*/ 0 w 1260455"/>
                    <a:gd name="connsiteY4" fmla="*/ 630228 h 1260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0455" h="1260455">
                      <a:moveTo>
                        <a:pt x="0" y="630228"/>
                      </a:moveTo>
                      <a:cubicBezTo>
                        <a:pt x="0" y="282163"/>
                        <a:pt x="282163" y="0"/>
                        <a:pt x="630228" y="0"/>
                      </a:cubicBezTo>
                      <a:cubicBezTo>
                        <a:pt x="978293" y="0"/>
                        <a:pt x="1260456" y="282163"/>
                        <a:pt x="1260456" y="630228"/>
                      </a:cubicBezTo>
                      <a:cubicBezTo>
                        <a:pt x="1260456" y="978293"/>
                        <a:pt x="978293" y="1260456"/>
                        <a:pt x="630228" y="1260456"/>
                      </a:cubicBezTo>
                      <a:cubicBezTo>
                        <a:pt x="282163" y="1260456"/>
                        <a:pt x="0" y="978293"/>
                        <a:pt x="0" y="630228"/>
                      </a:cubicBezTo>
                      <a:close/>
                    </a:path>
                  </a:pathLst>
                </a:cu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a:r>
                    <a:rPr lang="en-US" altLang="zh-CN" b="1"/>
                    <a:t>X</a:t>
                  </a:r>
                  <a:r>
                    <a:rPr lang="en-US" altLang="zh-CN" sz="100" b="1"/>
                    <a:t> </a:t>
                  </a:r>
                  <a:r>
                    <a:rPr lang="en-US" altLang="zh-CN" b="1"/>
                    <a:t>XX</a:t>
                  </a:r>
                  <a:endParaRPr lang="zh-CN" altLang="en-US" b="1" dirty="0"/>
                </a:p>
              </p:txBody>
            </p:sp>
            <p:sp>
              <p:nvSpPr>
                <p:cNvPr id="31" name="iśľïḓe">
                  <a:extLst>
                    <a:ext uri="{FF2B5EF4-FFF2-40B4-BE49-F238E27FC236}">
                      <a16:creationId xmlns:a16="http://schemas.microsoft.com/office/drawing/2014/main" id="{B40F5E8D-FBEB-4054-86D5-66BEF7C4392C}"/>
                    </a:ext>
                  </a:extLst>
                </p:cNvPr>
                <p:cNvSpPr txBox="1"/>
                <p:nvPr/>
              </p:nvSpPr>
              <p:spPr>
                <a:xfrm>
                  <a:off x="1661922" y="4796117"/>
                  <a:ext cx="1837017" cy="1347507"/>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spcBef>
                      <a:spcPct val="0"/>
                    </a:spcBef>
                  </a:pPr>
                  <a:r>
                    <a:rPr lang="en-US" altLang="zh-CN" sz="1000" dirty="0"/>
                    <a:t>Supporting text </a:t>
                  </a:r>
                  <a:r>
                    <a:rPr lang="en-US" altLang="zh-CN" sz="1000"/>
                    <a:t>here.</a:t>
                  </a:r>
                  <a:r>
                    <a:rPr lang="en-US" altLang="zh-CN" sz="100"/>
                    <a:t> </a:t>
                  </a:r>
                  <a:endParaRPr lang="en-US" altLang="zh-CN" sz="100" dirty="0"/>
                </a:p>
                <a:p>
                  <a:pPr algn="ctr">
                    <a:lnSpc>
                      <a:spcPct val="150000"/>
                    </a:lnSpc>
                    <a:spcBef>
                      <a:spcPct val="0"/>
                    </a:spcBef>
                  </a:pPr>
                  <a:r>
                    <a:rPr lang="en-US" altLang="zh-CN" sz="1000" dirty="0"/>
                    <a:t>Supporting text here.</a:t>
                  </a:r>
                </a:p>
                <a:p>
                  <a:pPr algn="ctr">
                    <a:lnSpc>
                      <a:spcPct val="150000"/>
                    </a:lnSpc>
                    <a:spcBef>
                      <a:spcPct val="0"/>
                    </a:spcBef>
                  </a:pPr>
                  <a:endParaRPr lang="en-US" altLang="zh-CN" sz="1000" dirty="0"/>
                </a:p>
                <a:p>
                  <a:pPr algn="ctr">
                    <a:lnSpc>
                      <a:spcPct val="150000"/>
                    </a:lnSpc>
                    <a:spcBef>
                      <a:spcPct val="0"/>
                    </a:spcBef>
                  </a:pPr>
                  <a:r>
                    <a:rPr lang="en-US" altLang="zh-CN" sz="1000" dirty="0"/>
                    <a:t>……</a:t>
                  </a:r>
                </a:p>
              </p:txBody>
            </p:sp>
          </p:grpSp>
          <p:sp>
            <p:nvSpPr>
              <p:cNvPr id="29" name="íşḷïdé"/>
              <p:cNvSpPr/>
              <p:nvPr/>
            </p:nvSpPr>
            <p:spPr>
              <a:xfrm>
                <a:off x="2226324" y="2771854"/>
                <a:ext cx="564776" cy="518143"/>
              </a:xfrm>
              <a:custGeom>
                <a:avLst/>
                <a:gdLst>
                  <a:gd name="connsiteX0" fmla="*/ 303857 w 607639"/>
                  <a:gd name="connsiteY0" fmla="*/ 303714 h 557467"/>
                  <a:gd name="connsiteX1" fmla="*/ 352986 w 607639"/>
                  <a:gd name="connsiteY1" fmla="*/ 309132 h 557467"/>
                  <a:gd name="connsiteX2" fmla="*/ 514597 w 607639"/>
                  <a:gd name="connsiteY2" fmla="*/ 449845 h 557467"/>
                  <a:gd name="connsiteX3" fmla="*/ 528676 w 607639"/>
                  <a:gd name="connsiteY3" fmla="*/ 528182 h 557467"/>
                  <a:gd name="connsiteX4" fmla="*/ 499345 w 607639"/>
                  <a:gd name="connsiteY4" fmla="*/ 557467 h 557467"/>
                  <a:gd name="connsiteX5" fmla="*/ 108223 w 607639"/>
                  <a:gd name="connsiteY5" fmla="*/ 557467 h 557467"/>
                  <a:gd name="connsiteX6" fmla="*/ 78892 w 607639"/>
                  <a:gd name="connsiteY6" fmla="*/ 528182 h 557467"/>
                  <a:gd name="connsiteX7" fmla="*/ 303857 w 607639"/>
                  <a:gd name="connsiteY7" fmla="*/ 303714 h 557467"/>
                  <a:gd name="connsiteX8" fmla="*/ 455825 w 607639"/>
                  <a:gd name="connsiteY8" fmla="*/ 268995 h 557467"/>
                  <a:gd name="connsiteX9" fmla="*/ 607639 w 607639"/>
                  <a:gd name="connsiteY9" fmla="*/ 420565 h 557467"/>
                  <a:gd name="connsiteX10" fmla="*/ 578303 w 607639"/>
                  <a:gd name="connsiteY10" fmla="*/ 449854 h 557467"/>
                  <a:gd name="connsiteX11" fmla="*/ 576396 w 607639"/>
                  <a:gd name="connsiteY11" fmla="*/ 449854 h 557467"/>
                  <a:gd name="connsiteX12" fmla="*/ 424875 w 607639"/>
                  <a:gd name="connsiteY12" fmla="*/ 272217 h 557467"/>
                  <a:gd name="connsiteX13" fmla="*/ 455825 w 607639"/>
                  <a:gd name="connsiteY13" fmla="*/ 268995 h 557467"/>
                  <a:gd name="connsiteX14" fmla="*/ 151811 w 607639"/>
                  <a:gd name="connsiteY14" fmla="*/ 268995 h 557467"/>
                  <a:gd name="connsiteX15" fmla="*/ 182906 w 607639"/>
                  <a:gd name="connsiteY15" fmla="*/ 272217 h 557467"/>
                  <a:gd name="connsiteX16" fmla="*/ 31389 w 607639"/>
                  <a:gd name="connsiteY16" fmla="*/ 449854 h 557467"/>
                  <a:gd name="connsiteX17" fmla="*/ 29335 w 607639"/>
                  <a:gd name="connsiteY17" fmla="*/ 449854 h 557467"/>
                  <a:gd name="connsiteX18" fmla="*/ 0 w 607639"/>
                  <a:gd name="connsiteY18" fmla="*/ 420565 h 557467"/>
                  <a:gd name="connsiteX19" fmla="*/ 151811 w 607639"/>
                  <a:gd name="connsiteY19" fmla="*/ 268995 h 557467"/>
                  <a:gd name="connsiteX20" fmla="*/ 462556 w 607639"/>
                  <a:gd name="connsiteY20" fmla="*/ 35000 h 557467"/>
                  <a:gd name="connsiteX21" fmla="*/ 543847 w 607639"/>
                  <a:gd name="connsiteY21" fmla="*/ 122571 h 557467"/>
                  <a:gd name="connsiteX22" fmla="*/ 462556 w 607639"/>
                  <a:gd name="connsiteY22" fmla="*/ 210143 h 557467"/>
                  <a:gd name="connsiteX23" fmla="*/ 485153 w 607639"/>
                  <a:gd name="connsiteY23" fmla="*/ 122571 h 557467"/>
                  <a:gd name="connsiteX24" fmla="*/ 462556 w 607639"/>
                  <a:gd name="connsiteY24" fmla="*/ 35000 h 557467"/>
                  <a:gd name="connsiteX25" fmla="*/ 145224 w 607639"/>
                  <a:gd name="connsiteY25" fmla="*/ 35000 h 557467"/>
                  <a:gd name="connsiteX26" fmla="*/ 122481 w 607639"/>
                  <a:gd name="connsiteY26" fmla="*/ 122571 h 557467"/>
                  <a:gd name="connsiteX27" fmla="*/ 145224 w 607639"/>
                  <a:gd name="connsiteY27" fmla="*/ 210143 h 557467"/>
                  <a:gd name="connsiteX28" fmla="*/ 63791 w 607639"/>
                  <a:gd name="connsiteY28" fmla="*/ 122571 h 557467"/>
                  <a:gd name="connsiteX29" fmla="*/ 145224 w 607639"/>
                  <a:gd name="connsiteY29" fmla="*/ 35000 h 557467"/>
                  <a:gd name="connsiteX30" fmla="*/ 303892 w 607639"/>
                  <a:gd name="connsiteY30" fmla="*/ 0 h 557467"/>
                  <a:gd name="connsiteX31" fmla="*/ 403912 w 607639"/>
                  <a:gd name="connsiteY31" fmla="*/ 51694 h 557467"/>
                  <a:gd name="connsiteX32" fmla="*/ 426497 w 607639"/>
                  <a:gd name="connsiteY32" fmla="*/ 122572 h 557467"/>
                  <a:gd name="connsiteX33" fmla="*/ 403912 w 607639"/>
                  <a:gd name="connsiteY33" fmla="*/ 193450 h 557467"/>
                  <a:gd name="connsiteX34" fmla="*/ 303892 w 607639"/>
                  <a:gd name="connsiteY34" fmla="*/ 245144 h 557467"/>
                  <a:gd name="connsiteX35" fmla="*/ 181141 w 607639"/>
                  <a:gd name="connsiteY35" fmla="*/ 122572 h 557467"/>
                  <a:gd name="connsiteX36" fmla="*/ 303892 w 607639"/>
                  <a:gd name="connsiteY36" fmla="*/ 0 h 55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7639" h="557467">
                    <a:moveTo>
                      <a:pt x="303857" y="303714"/>
                    </a:moveTo>
                    <a:cubicBezTo>
                      <a:pt x="320722" y="303714"/>
                      <a:pt x="337148" y="305618"/>
                      <a:pt x="352986" y="309132"/>
                    </a:cubicBezTo>
                    <a:cubicBezTo>
                      <a:pt x="427486" y="325824"/>
                      <a:pt x="488200" y="379562"/>
                      <a:pt x="514597" y="449845"/>
                    </a:cubicBezTo>
                    <a:cubicBezTo>
                      <a:pt x="523690" y="474298"/>
                      <a:pt x="528676" y="500655"/>
                      <a:pt x="528676" y="528182"/>
                    </a:cubicBezTo>
                    <a:cubicBezTo>
                      <a:pt x="528676" y="544289"/>
                      <a:pt x="515477" y="557467"/>
                      <a:pt x="499345" y="557467"/>
                    </a:cubicBezTo>
                    <a:lnTo>
                      <a:pt x="108223" y="557467"/>
                    </a:lnTo>
                    <a:cubicBezTo>
                      <a:pt x="92091" y="557467"/>
                      <a:pt x="78892" y="544289"/>
                      <a:pt x="78892" y="528182"/>
                    </a:cubicBezTo>
                    <a:cubicBezTo>
                      <a:pt x="78892" y="404307"/>
                      <a:pt x="179789" y="303714"/>
                      <a:pt x="303857" y="303714"/>
                    </a:cubicBezTo>
                    <a:close/>
                    <a:moveTo>
                      <a:pt x="455825" y="268995"/>
                    </a:moveTo>
                    <a:cubicBezTo>
                      <a:pt x="539579" y="268995"/>
                      <a:pt x="607639" y="336945"/>
                      <a:pt x="607639" y="420565"/>
                    </a:cubicBezTo>
                    <a:cubicBezTo>
                      <a:pt x="607639" y="436674"/>
                      <a:pt x="594584" y="449854"/>
                      <a:pt x="578303" y="449854"/>
                    </a:cubicBezTo>
                    <a:lnTo>
                      <a:pt x="576396" y="449854"/>
                    </a:lnTo>
                    <a:cubicBezTo>
                      <a:pt x="553661" y="371360"/>
                      <a:pt x="497775" y="306631"/>
                      <a:pt x="424875" y="272217"/>
                    </a:cubicBezTo>
                    <a:cubicBezTo>
                      <a:pt x="434996" y="270020"/>
                      <a:pt x="445410" y="268995"/>
                      <a:pt x="455825" y="268995"/>
                    </a:cubicBezTo>
                    <a:close/>
                    <a:moveTo>
                      <a:pt x="151811" y="268995"/>
                    </a:moveTo>
                    <a:cubicBezTo>
                      <a:pt x="162371" y="268995"/>
                      <a:pt x="172785" y="270020"/>
                      <a:pt x="182906" y="272217"/>
                    </a:cubicBezTo>
                    <a:cubicBezTo>
                      <a:pt x="110008" y="306631"/>
                      <a:pt x="53977" y="371360"/>
                      <a:pt x="31389" y="449854"/>
                    </a:cubicBezTo>
                    <a:lnTo>
                      <a:pt x="29335" y="449854"/>
                    </a:lnTo>
                    <a:cubicBezTo>
                      <a:pt x="13201" y="449854"/>
                      <a:pt x="0" y="436674"/>
                      <a:pt x="0" y="420565"/>
                    </a:cubicBezTo>
                    <a:cubicBezTo>
                      <a:pt x="0" y="336945"/>
                      <a:pt x="68058" y="268995"/>
                      <a:pt x="151811" y="268995"/>
                    </a:cubicBezTo>
                    <a:close/>
                    <a:moveTo>
                      <a:pt x="462556" y="35000"/>
                    </a:moveTo>
                    <a:cubicBezTo>
                      <a:pt x="507897" y="38368"/>
                      <a:pt x="543847" y="76296"/>
                      <a:pt x="543847" y="122571"/>
                    </a:cubicBezTo>
                    <a:cubicBezTo>
                      <a:pt x="543847" y="168847"/>
                      <a:pt x="507897" y="206775"/>
                      <a:pt x="462556" y="210143"/>
                    </a:cubicBezTo>
                    <a:cubicBezTo>
                      <a:pt x="476936" y="184223"/>
                      <a:pt x="485153" y="154349"/>
                      <a:pt x="485153" y="122571"/>
                    </a:cubicBezTo>
                    <a:cubicBezTo>
                      <a:pt x="485153" y="90794"/>
                      <a:pt x="476936" y="60920"/>
                      <a:pt x="462556" y="35000"/>
                    </a:cubicBezTo>
                    <a:close/>
                    <a:moveTo>
                      <a:pt x="145224" y="35000"/>
                    </a:moveTo>
                    <a:cubicBezTo>
                      <a:pt x="130698" y="60920"/>
                      <a:pt x="122481" y="90794"/>
                      <a:pt x="122481" y="122571"/>
                    </a:cubicBezTo>
                    <a:cubicBezTo>
                      <a:pt x="122481" y="154349"/>
                      <a:pt x="130698" y="184223"/>
                      <a:pt x="145224" y="210143"/>
                    </a:cubicBezTo>
                    <a:cubicBezTo>
                      <a:pt x="99739" y="206775"/>
                      <a:pt x="63791" y="168847"/>
                      <a:pt x="63791" y="122571"/>
                    </a:cubicBezTo>
                    <a:cubicBezTo>
                      <a:pt x="63791" y="76296"/>
                      <a:pt x="99739" y="38368"/>
                      <a:pt x="145224" y="35000"/>
                    </a:cubicBezTo>
                    <a:close/>
                    <a:moveTo>
                      <a:pt x="303892" y="0"/>
                    </a:moveTo>
                    <a:cubicBezTo>
                      <a:pt x="345103" y="0"/>
                      <a:pt x="381620" y="20502"/>
                      <a:pt x="403912" y="51694"/>
                    </a:cubicBezTo>
                    <a:cubicBezTo>
                      <a:pt x="418138" y="71756"/>
                      <a:pt x="426497" y="96212"/>
                      <a:pt x="426497" y="122572"/>
                    </a:cubicBezTo>
                    <a:cubicBezTo>
                      <a:pt x="426497" y="148931"/>
                      <a:pt x="418138" y="173387"/>
                      <a:pt x="403912" y="193450"/>
                    </a:cubicBezTo>
                    <a:cubicBezTo>
                      <a:pt x="381620" y="224642"/>
                      <a:pt x="345103" y="245144"/>
                      <a:pt x="303892" y="245144"/>
                    </a:cubicBezTo>
                    <a:cubicBezTo>
                      <a:pt x="236137" y="245144"/>
                      <a:pt x="181141" y="190082"/>
                      <a:pt x="181141" y="122572"/>
                    </a:cubicBezTo>
                    <a:cubicBezTo>
                      <a:pt x="181141" y="55062"/>
                      <a:pt x="236137" y="0"/>
                      <a:pt x="303892" y="0"/>
                    </a:cubicBezTo>
                    <a:close/>
                  </a:path>
                </a:pathLst>
              </a:cu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grpSp>
        <p:grpSp>
          <p:nvGrpSpPr>
            <p:cNvPr id="10" name="isļîḑe"/>
            <p:cNvGrpSpPr/>
            <p:nvPr/>
          </p:nvGrpSpPr>
          <p:grpSpPr>
            <a:xfrm>
              <a:off x="4039401" y="2771854"/>
              <a:ext cx="1837017" cy="3371770"/>
              <a:chOff x="1590204" y="2771854"/>
              <a:chExt cx="1837017" cy="3371770"/>
            </a:xfrm>
          </p:grpSpPr>
          <p:grpSp>
            <p:nvGrpSpPr>
              <p:cNvPr id="24" name="îšliḑé"/>
              <p:cNvGrpSpPr/>
              <p:nvPr/>
            </p:nvGrpSpPr>
            <p:grpSpPr>
              <a:xfrm>
                <a:off x="1590204" y="3773705"/>
                <a:ext cx="1837017" cy="2369919"/>
                <a:chOff x="1661922" y="3773705"/>
                <a:chExt cx="1837017" cy="2369919"/>
              </a:xfrm>
            </p:grpSpPr>
            <p:sp>
              <p:nvSpPr>
                <p:cNvPr id="26" name="iŝ1iďè">
                  <a:extLst>
                    <a:ext uri="{FF2B5EF4-FFF2-40B4-BE49-F238E27FC236}">
                      <a16:creationId xmlns:a16="http://schemas.microsoft.com/office/drawing/2014/main" id="{5918C20A-B309-4173-9157-A1FC5DBA4BC1}"/>
                    </a:ext>
                  </a:extLst>
                </p:cNvPr>
                <p:cNvSpPr/>
                <p:nvPr/>
              </p:nvSpPr>
              <p:spPr>
                <a:xfrm>
                  <a:off x="2112118" y="3773705"/>
                  <a:ext cx="936624" cy="936190"/>
                </a:xfrm>
                <a:custGeom>
                  <a:avLst/>
                  <a:gdLst>
                    <a:gd name="connsiteX0" fmla="*/ 0 w 1260455"/>
                    <a:gd name="connsiteY0" fmla="*/ 630228 h 1260455"/>
                    <a:gd name="connsiteX1" fmla="*/ 630228 w 1260455"/>
                    <a:gd name="connsiteY1" fmla="*/ 0 h 1260455"/>
                    <a:gd name="connsiteX2" fmla="*/ 1260456 w 1260455"/>
                    <a:gd name="connsiteY2" fmla="*/ 630228 h 1260455"/>
                    <a:gd name="connsiteX3" fmla="*/ 630228 w 1260455"/>
                    <a:gd name="connsiteY3" fmla="*/ 1260456 h 1260455"/>
                    <a:gd name="connsiteX4" fmla="*/ 0 w 1260455"/>
                    <a:gd name="connsiteY4" fmla="*/ 630228 h 1260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0455" h="1260455">
                      <a:moveTo>
                        <a:pt x="0" y="630228"/>
                      </a:moveTo>
                      <a:cubicBezTo>
                        <a:pt x="0" y="282163"/>
                        <a:pt x="282163" y="0"/>
                        <a:pt x="630228" y="0"/>
                      </a:cubicBezTo>
                      <a:cubicBezTo>
                        <a:pt x="978293" y="0"/>
                        <a:pt x="1260456" y="282163"/>
                        <a:pt x="1260456" y="630228"/>
                      </a:cubicBezTo>
                      <a:cubicBezTo>
                        <a:pt x="1260456" y="978293"/>
                        <a:pt x="978293" y="1260456"/>
                        <a:pt x="630228" y="1260456"/>
                      </a:cubicBezTo>
                      <a:cubicBezTo>
                        <a:pt x="282163" y="1260456"/>
                        <a:pt x="0" y="978293"/>
                        <a:pt x="0" y="630228"/>
                      </a:cubicBezTo>
                      <a:close/>
                    </a:path>
                  </a:pathLst>
                </a:custGeom>
                <a:solidFill>
                  <a:schemeClr val="accent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a:r>
                    <a:rPr lang="en-US" altLang="zh-CN" b="1"/>
                    <a:t>X</a:t>
                  </a:r>
                  <a:r>
                    <a:rPr lang="en-US" altLang="zh-CN" sz="100" b="1"/>
                    <a:t> </a:t>
                  </a:r>
                  <a:r>
                    <a:rPr lang="en-US" altLang="zh-CN" b="1"/>
                    <a:t>XX</a:t>
                  </a:r>
                  <a:endParaRPr lang="zh-CN" altLang="en-US" b="1" dirty="0"/>
                </a:p>
              </p:txBody>
            </p:sp>
            <p:sp>
              <p:nvSpPr>
                <p:cNvPr id="27" name="îśḷiḋè">
                  <a:extLst>
                    <a:ext uri="{FF2B5EF4-FFF2-40B4-BE49-F238E27FC236}">
                      <a16:creationId xmlns:a16="http://schemas.microsoft.com/office/drawing/2014/main" id="{B40F5E8D-FBEB-4054-86D5-66BEF7C4392C}"/>
                    </a:ext>
                  </a:extLst>
                </p:cNvPr>
                <p:cNvSpPr txBox="1"/>
                <p:nvPr/>
              </p:nvSpPr>
              <p:spPr>
                <a:xfrm>
                  <a:off x="1661922" y="4796117"/>
                  <a:ext cx="1837017" cy="1347507"/>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spcBef>
                      <a:spcPct val="0"/>
                    </a:spcBef>
                  </a:pPr>
                  <a:r>
                    <a:rPr lang="en-US" altLang="zh-CN" sz="1000" dirty="0"/>
                    <a:t>Supporting text </a:t>
                  </a:r>
                  <a:r>
                    <a:rPr lang="en-US" altLang="zh-CN" sz="1000"/>
                    <a:t>here.</a:t>
                  </a:r>
                  <a:r>
                    <a:rPr lang="en-US" altLang="zh-CN" sz="100"/>
                    <a:t> </a:t>
                  </a:r>
                  <a:endParaRPr lang="en-US" altLang="zh-CN" sz="100" dirty="0"/>
                </a:p>
                <a:p>
                  <a:pPr algn="ctr">
                    <a:lnSpc>
                      <a:spcPct val="150000"/>
                    </a:lnSpc>
                    <a:spcBef>
                      <a:spcPct val="0"/>
                    </a:spcBef>
                  </a:pPr>
                  <a:r>
                    <a:rPr lang="en-US" altLang="zh-CN" sz="1000" dirty="0"/>
                    <a:t>Supporting text here.</a:t>
                  </a:r>
                </a:p>
                <a:p>
                  <a:pPr algn="ctr">
                    <a:lnSpc>
                      <a:spcPct val="150000"/>
                    </a:lnSpc>
                    <a:spcBef>
                      <a:spcPct val="0"/>
                    </a:spcBef>
                  </a:pPr>
                  <a:endParaRPr lang="en-US" altLang="zh-CN" sz="1000" dirty="0"/>
                </a:p>
                <a:p>
                  <a:pPr algn="ctr">
                    <a:lnSpc>
                      <a:spcPct val="150000"/>
                    </a:lnSpc>
                    <a:spcBef>
                      <a:spcPct val="0"/>
                    </a:spcBef>
                  </a:pPr>
                  <a:r>
                    <a:rPr lang="en-US" altLang="zh-CN" sz="1000" dirty="0"/>
                    <a:t>……</a:t>
                  </a:r>
                </a:p>
              </p:txBody>
            </p:sp>
          </p:grpSp>
          <p:sp>
            <p:nvSpPr>
              <p:cNvPr id="25" name="íŝḷïḓé"/>
              <p:cNvSpPr/>
              <p:nvPr/>
            </p:nvSpPr>
            <p:spPr>
              <a:xfrm>
                <a:off x="2226324" y="2771854"/>
                <a:ext cx="564776" cy="518143"/>
              </a:xfrm>
              <a:custGeom>
                <a:avLst/>
                <a:gdLst>
                  <a:gd name="connsiteX0" fmla="*/ 303857 w 607639"/>
                  <a:gd name="connsiteY0" fmla="*/ 303714 h 557467"/>
                  <a:gd name="connsiteX1" fmla="*/ 352986 w 607639"/>
                  <a:gd name="connsiteY1" fmla="*/ 309132 h 557467"/>
                  <a:gd name="connsiteX2" fmla="*/ 514597 w 607639"/>
                  <a:gd name="connsiteY2" fmla="*/ 449845 h 557467"/>
                  <a:gd name="connsiteX3" fmla="*/ 528676 w 607639"/>
                  <a:gd name="connsiteY3" fmla="*/ 528182 h 557467"/>
                  <a:gd name="connsiteX4" fmla="*/ 499345 w 607639"/>
                  <a:gd name="connsiteY4" fmla="*/ 557467 h 557467"/>
                  <a:gd name="connsiteX5" fmla="*/ 108223 w 607639"/>
                  <a:gd name="connsiteY5" fmla="*/ 557467 h 557467"/>
                  <a:gd name="connsiteX6" fmla="*/ 78892 w 607639"/>
                  <a:gd name="connsiteY6" fmla="*/ 528182 h 557467"/>
                  <a:gd name="connsiteX7" fmla="*/ 303857 w 607639"/>
                  <a:gd name="connsiteY7" fmla="*/ 303714 h 557467"/>
                  <a:gd name="connsiteX8" fmla="*/ 455825 w 607639"/>
                  <a:gd name="connsiteY8" fmla="*/ 268995 h 557467"/>
                  <a:gd name="connsiteX9" fmla="*/ 607639 w 607639"/>
                  <a:gd name="connsiteY9" fmla="*/ 420565 h 557467"/>
                  <a:gd name="connsiteX10" fmla="*/ 578303 w 607639"/>
                  <a:gd name="connsiteY10" fmla="*/ 449854 h 557467"/>
                  <a:gd name="connsiteX11" fmla="*/ 576396 w 607639"/>
                  <a:gd name="connsiteY11" fmla="*/ 449854 h 557467"/>
                  <a:gd name="connsiteX12" fmla="*/ 424875 w 607639"/>
                  <a:gd name="connsiteY12" fmla="*/ 272217 h 557467"/>
                  <a:gd name="connsiteX13" fmla="*/ 455825 w 607639"/>
                  <a:gd name="connsiteY13" fmla="*/ 268995 h 557467"/>
                  <a:gd name="connsiteX14" fmla="*/ 151811 w 607639"/>
                  <a:gd name="connsiteY14" fmla="*/ 268995 h 557467"/>
                  <a:gd name="connsiteX15" fmla="*/ 182906 w 607639"/>
                  <a:gd name="connsiteY15" fmla="*/ 272217 h 557467"/>
                  <a:gd name="connsiteX16" fmla="*/ 31389 w 607639"/>
                  <a:gd name="connsiteY16" fmla="*/ 449854 h 557467"/>
                  <a:gd name="connsiteX17" fmla="*/ 29335 w 607639"/>
                  <a:gd name="connsiteY17" fmla="*/ 449854 h 557467"/>
                  <a:gd name="connsiteX18" fmla="*/ 0 w 607639"/>
                  <a:gd name="connsiteY18" fmla="*/ 420565 h 557467"/>
                  <a:gd name="connsiteX19" fmla="*/ 151811 w 607639"/>
                  <a:gd name="connsiteY19" fmla="*/ 268995 h 557467"/>
                  <a:gd name="connsiteX20" fmla="*/ 462556 w 607639"/>
                  <a:gd name="connsiteY20" fmla="*/ 35000 h 557467"/>
                  <a:gd name="connsiteX21" fmla="*/ 543847 w 607639"/>
                  <a:gd name="connsiteY21" fmla="*/ 122571 h 557467"/>
                  <a:gd name="connsiteX22" fmla="*/ 462556 w 607639"/>
                  <a:gd name="connsiteY22" fmla="*/ 210143 h 557467"/>
                  <a:gd name="connsiteX23" fmla="*/ 485153 w 607639"/>
                  <a:gd name="connsiteY23" fmla="*/ 122571 h 557467"/>
                  <a:gd name="connsiteX24" fmla="*/ 462556 w 607639"/>
                  <a:gd name="connsiteY24" fmla="*/ 35000 h 557467"/>
                  <a:gd name="connsiteX25" fmla="*/ 145224 w 607639"/>
                  <a:gd name="connsiteY25" fmla="*/ 35000 h 557467"/>
                  <a:gd name="connsiteX26" fmla="*/ 122481 w 607639"/>
                  <a:gd name="connsiteY26" fmla="*/ 122571 h 557467"/>
                  <a:gd name="connsiteX27" fmla="*/ 145224 w 607639"/>
                  <a:gd name="connsiteY27" fmla="*/ 210143 h 557467"/>
                  <a:gd name="connsiteX28" fmla="*/ 63791 w 607639"/>
                  <a:gd name="connsiteY28" fmla="*/ 122571 h 557467"/>
                  <a:gd name="connsiteX29" fmla="*/ 145224 w 607639"/>
                  <a:gd name="connsiteY29" fmla="*/ 35000 h 557467"/>
                  <a:gd name="connsiteX30" fmla="*/ 303892 w 607639"/>
                  <a:gd name="connsiteY30" fmla="*/ 0 h 557467"/>
                  <a:gd name="connsiteX31" fmla="*/ 403912 w 607639"/>
                  <a:gd name="connsiteY31" fmla="*/ 51694 h 557467"/>
                  <a:gd name="connsiteX32" fmla="*/ 426497 w 607639"/>
                  <a:gd name="connsiteY32" fmla="*/ 122572 h 557467"/>
                  <a:gd name="connsiteX33" fmla="*/ 403912 w 607639"/>
                  <a:gd name="connsiteY33" fmla="*/ 193450 h 557467"/>
                  <a:gd name="connsiteX34" fmla="*/ 303892 w 607639"/>
                  <a:gd name="connsiteY34" fmla="*/ 245144 h 557467"/>
                  <a:gd name="connsiteX35" fmla="*/ 181141 w 607639"/>
                  <a:gd name="connsiteY35" fmla="*/ 122572 h 557467"/>
                  <a:gd name="connsiteX36" fmla="*/ 303892 w 607639"/>
                  <a:gd name="connsiteY36" fmla="*/ 0 h 55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7639" h="557467">
                    <a:moveTo>
                      <a:pt x="303857" y="303714"/>
                    </a:moveTo>
                    <a:cubicBezTo>
                      <a:pt x="320722" y="303714"/>
                      <a:pt x="337148" y="305618"/>
                      <a:pt x="352986" y="309132"/>
                    </a:cubicBezTo>
                    <a:cubicBezTo>
                      <a:pt x="427486" y="325824"/>
                      <a:pt x="488200" y="379562"/>
                      <a:pt x="514597" y="449845"/>
                    </a:cubicBezTo>
                    <a:cubicBezTo>
                      <a:pt x="523690" y="474298"/>
                      <a:pt x="528676" y="500655"/>
                      <a:pt x="528676" y="528182"/>
                    </a:cubicBezTo>
                    <a:cubicBezTo>
                      <a:pt x="528676" y="544289"/>
                      <a:pt x="515477" y="557467"/>
                      <a:pt x="499345" y="557467"/>
                    </a:cubicBezTo>
                    <a:lnTo>
                      <a:pt x="108223" y="557467"/>
                    </a:lnTo>
                    <a:cubicBezTo>
                      <a:pt x="92091" y="557467"/>
                      <a:pt x="78892" y="544289"/>
                      <a:pt x="78892" y="528182"/>
                    </a:cubicBezTo>
                    <a:cubicBezTo>
                      <a:pt x="78892" y="404307"/>
                      <a:pt x="179789" y="303714"/>
                      <a:pt x="303857" y="303714"/>
                    </a:cubicBezTo>
                    <a:close/>
                    <a:moveTo>
                      <a:pt x="455825" y="268995"/>
                    </a:moveTo>
                    <a:cubicBezTo>
                      <a:pt x="539579" y="268995"/>
                      <a:pt x="607639" y="336945"/>
                      <a:pt x="607639" y="420565"/>
                    </a:cubicBezTo>
                    <a:cubicBezTo>
                      <a:pt x="607639" y="436674"/>
                      <a:pt x="594584" y="449854"/>
                      <a:pt x="578303" y="449854"/>
                    </a:cubicBezTo>
                    <a:lnTo>
                      <a:pt x="576396" y="449854"/>
                    </a:lnTo>
                    <a:cubicBezTo>
                      <a:pt x="553661" y="371360"/>
                      <a:pt x="497775" y="306631"/>
                      <a:pt x="424875" y="272217"/>
                    </a:cubicBezTo>
                    <a:cubicBezTo>
                      <a:pt x="434996" y="270020"/>
                      <a:pt x="445410" y="268995"/>
                      <a:pt x="455825" y="268995"/>
                    </a:cubicBezTo>
                    <a:close/>
                    <a:moveTo>
                      <a:pt x="151811" y="268995"/>
                    </a:moveTo>
                    <a:cubicBezTo>
                      <a:pt x="162371" y="268995"/>
                      <a:pt x="172785" y="270020"/>
                      <a:pt x="182906" y="272217"/>
                    </a:cubicBezTo>
                    <a:cubicBezTo>
                      <a:pt x="110008" y="306631"/>
                      <a:pt x="53977" y="371360"/>
                      <a:pt x="31389" y="449854"/>
                    </a:cubicBezTo>
                    <a:lnTo>
                      <a:pt x="29335" y="449854"/>
                    </a:lnTo>
                    <a:cubicBezTo>
                      <a:pt x="13201" y="449854"/>
                      <a:pt x="0" y="436674"/>
                      <a:pt x="0" y="420565"/>
                    </a:cubicBezTo>
                    <a:cubicBezTo>
                      <a:pt x="0" y="336945"/>
                      <a:pt x="68058" y="268995"/>
                      <a:pt x="151811" y="268995"/>
                    </a:cubicBezTo>
                    <a:close/>
                    <a:moveTo>
                      <a:pt x="462556" y="35000"/>
                    </a:moveTo>
                    <a:cubicBezTo>
                      <a:pt x="507897" y="38368"/>
                      <a:pt x="543847" y="76296"/>
                      <a:pt x="543847" y="122571"/>
                    </a:cubicBezTo>
                    <a:cubicBezTo>
                      <a:pt x="543847" y="168847"/>
                      <a:pt x="507897" y="206775"/>
                      <a:pt x="462556" y="210143"/>
                    </a:cubicBezTo>
                    <a:cubicBezTo>
                      <a:pt x="476936" y="184223"/>
                      <a:pt x="485153" y="154349"/>
                      <a:pt x="485153" y="122571"/>
                    </a:cubicBezTo>
                    <a:cubicBezTo>
                      <a:pt x="485153" y="90794"/>
                      <a:pt x="476936" y="60920"/>
                      <a:pt x="462556" y="35000"/>
                    </a:cubicBezTo>
                    <a:close/>
                    <a:moveTo>
                      <a:pt x="145224" y="35000"/>
                    </a:moveTo>
                    <a:cubicBezTo>
                      <a:pt x="130698" y="60920"/>
                      <a:pt x="122481" y="90794"/>
                      <a:pt x="122481" y="122571"/>
                    </a:cubicBezTo>
                    <a:cubicBezTo>
                      <a:pt x="122481" y="154349"/>
                      <a:pt x="130698" y="184223"/>
                      <a:pt x="145224" y="210143"/>
                    </a:cubicBezTo>
                    <a:cubicBezTo>
                      <a:pt x="99739" y="206775"/>
                      <a:pt x="63791" y="168847"/>
                      <a:pt x="63791" y="122571"/>
                    </a:cubicBezTo>
                    <a:cubicBezTo>
                      <a:pt x="63791" y="76296"/>
                      <a:pt x="99739" y="38368"/>
                      <a:pt x="145224" y="35000"/>
                    </a:cubicBezTo>
                    <a:close/>
                    <a:moveTo>
                      <a:pt x="303892" y="0"/>
                    </a:moveTo>
                    <a:cubicBezTo>
                      <a:pt x="345103" y="0"/>
                      <a:pt x="381620" y="20502"/>
                      <a:pt x="403912" y="51694"/>
                    </a:cubicBezTo>
                    <a:cubicBezTo>
                      <a:pt x="418138" y="71756"/>
                      <a:pt x="426497" y="96212"/>
                      <a:pt x="426497" y="122572"/>
                    </a:cubicBezTo>
                    <a:cubicBezTo>
                      <a:pt x="426497" y="148931"/>
                      <a:pt x="418138" y="173387"/>
                      <a:pt x="403912" y="193450"/>
                    </a:cubicBezTo>
                    <a:cubicBezTo>
                      <a:pt x="381620" y="224642"/>
                      <a:pt x="345103" y="245144"/>
                      <a:pt x="303892" y="245144"/>
                    </a:cubicBezTo>
                    <a:cubicBezTo>
                      <a:pt x="236137" y="245144"/>
                      <a:pt x="181141" y="190082"/>
                      <a:pt x="181141" y="122572"/>
                    </a:cubicBezTo>
                    <a:cubicBezTo>
                      <a:pt x="181141" y="55062"/>
                      <a:pt x="236137" y="0"/>
                      <a:pt x="303892" y="0"/>
                    </a:cubicBezTo>
                    <a:close/>
                  </a:path>
                </a:pathLst>
              </a:cu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grpSp>
        <p:grpSp>
          <p:nvGrpSpPr>
            <p:cNvPr id="11" name="íŝliḑê"/>
            <p:cNvGrpSpPr/>
            <p:nvPr/>
          </p:nvGrpSpPr>
          <p:grpSpPr>
            <a:xfrm>
              <a:off x="6315582" y="2771854"/>
              <a:ext cx="1837017" cy="3371770"/>
              <a:chOff x="1590204" y="2771854"/>
              <a:chExt cx="1837017" cy="3371770"/>
            </a:xfrm>
          </p:grpSpPr>
          <p:grpSp>
            <p:nvGrpSpPr>
              <p:cNvPr id="20" name="ïşļiḍê"/>
              <p:cNvGrpSpPr/>
              <p:nvPr/>
            </p:nvGrpSpPr>
            <p:grpSpPr>
              <a:xfrm>
                <a:off x="1590204" y="3773705"/>
                <a:ext cx="1837017" cy="2369919"/>
                <a:chOff x="1661922" y="3773705"/>
                <a:chExt cx="1837017" cy="2369919"/>
              </a:xfrm>
            </p:grpSpPr>
            <p:sp>
              <p:nvSpPr>
                <p:cNvPr id="22" name="ï$ḻîḋé">
                  <a:extLst>
                    <a:ext uri="{FF2B5EF4-FFF2-40B4-BE49-F238E27FC236}">
                      <a16:creationId xmlns:a16="http://schemas.microsoft.com/office/drawing/2014/main" id="{5918C20A-B309-4173-9157-A1FC5DBA4BC1}"/>
                    </a:ext>
                  </a:extLst>
                </p:cNvPr>
                <p:cNvSpPr/>
                <p:nvPr/>
              </p:nvSpPr>
              <p:spPr>
                <a:xfrm>
                  <a:off x="2112118" y="3773705"/>
                  <a:ext cx="936624" cy="936190"/>
                </a:xfrm>
                <a:custGeom>
                  <a:avLst/>
                  <a:gdLst>
                    <a:gd name="connsiteX0" fmla="*/ 0 w 1260455"/>
                    <a:gd name="connsiteY0" fmla="*/ 630228 h 1260455"/>
                    <a:gd name="connsiteX1" fmla="*/ 630228 w 1260455"/>
                    <a:gd name="connsiteY1" fmla="*/ 0 h 1260455"/>
                    <a:gd name="connsiteX2" fmla="*/ 1260456 w 1260455"/>
                    <a:gd name="connsiteY2" fmla="*/ 630228 h 1260455"/>
                    <a:gd name="connsiteX3" fmla="*/ 630228 w 1260455"/>
                    <a:gd name="connsiteY3" fmla="*/ 1260456 h 1260455"/>
                    <a:gd name="connsiteX4" fmla="*/ 0 w 1260455"/>
                    <a:gd name="connsiteY4" fmla="*/ 630228 h 1260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0455" h="1260455">
                      <a:moveTo>
                        <a:pt x="0" y="630228"/>
                      </a:moveTo>
                      <a:cubicBezTo>
                        <a:pt x="0" y="282163"/>
                        <a:pt x="282163" y="0"/>
                        <a:pt x="630228" y="0"/>
                      </a:cubicBezTo>
                      <a:cubicBezTo>
                        <a:pt x="978293" y="0"/>
                        <a:pt x="1260456" y="282163"/>
                        <a:pt x="1260456" y="630228"/>
                      </a:cubicBezTo>
                      <a:cubicBezTo>
                        <a:pt x="1260456" y="978293"/>
                        <a:pt x="978293" y="1260456"/>
                        <a:pt x="630228" y="1260456"/>
                      </a:cubicBezTo>
                      <a:cubicBezTo>
                        <a:pt x="282163" y="1260456"/>
                        <a:pt x="0" y="978293"/>
                        <a:pt x="0" y="630228"/>
                      </a:cubicBezTo>
                      <a:close/>
                    </a:path>
                  </a:pathLst>
                </a:cu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a:r>
                    <a:rPr lang="en-US" altLang="zh-CN" b="1"/>
                    <a:t>X</a:t>
                  </a:r>
                  <a:r>
                    <a:rPr lang="en-US" altLang="zh-CN" sz="100" b="1"/>
                    <a:t> </a:t>
                  </a:r>
                  <a:r>
                    <a:rPr lang="en-US" altLang="zh-CN" b="1"/>
                    <a:t>XX</a:t>
                  </a:r>
                  <a:endParaRPr lang="zh-CN" altLang="en-US" b="1" dirty="0"/>
                </a:p>
              </p:txBody>
            </p:sp>
            <p:sp>
              <p:nvSpPr>
                <p:cNvPr id="23" name="ïŝ1ïďé">
                  <a:extLst>
                    <a:ext uri="{FF2B5EF4-FFF2-40B4-BE49-F238E27FC236}">
                      <a16:creationId xmlns:a16="http://schemas.microsoft.com/office/drawing/2014/main" id="{B40F5E8D-FBEB-4054-86D5-66BEF7C4392C}"/>
                    </a:ext>
                  </a:extLst>
                </p:cNvPr>
                <p:cNvSpPr txBox="1"/>
                <p:nvPr/>
              </p:nvSpPr>
              <p:spPr>
                <a:xfrm>
                  <a:off x="1661922" y="4796117"/>
                  <a:ext cx="1837017" cy="1347507"/>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spcBef>
                      <a:spcPct val="0"/>
                    </a:spcBef>
                  </a:pPr>
                  <a:r>
                    <a:rPr lang="en-US" altLang="zh-CN" sz="1000" dirty="0"/>
                    <a:t>Supporting text </a:t>
                  </a:r>
                  <a:r>
                    <a:rPr lang="en-US" altLang="zh-CN" sz="1000"/>
                    <a:t>here.</a:t>
                  </a:r>
                  <a:r>
                    <a:rPr lang="en-US" altLang="zh-CN" sz="100"/>
                    <a:t> </a:t>
                  </a:r>
                  <a:endParaRPr lang="en-US" altLang="zh-CN" sz="100" dirty="0"/>
                </a:p>
                <a:p>
                  <a:pPr algn="ctr">
                    <a:lnSpc>
                      <a:spcPct val="150000"/>
                    </a:lnSpc>
                    <a:spcBef>
                      <a:spcPct val="0"/>
                    </a:spcBef>
                  </a:pPr>
                  <a:r>
                    <a:rPr lang="en-US" altLang="zh-CN" sz="1000" dirty="0"/>
                    <a:t>Supporting text here.</a:t>
                  </a:r>
                </a:p>
                <a:p>
                  <a:pPr algn="ctr">
                    <a:lnSpc>
                      <a:spcPct val="150000"/>
                    </a:lnSpc>
                    <a:spcBef>
                      <a:spcPct val="0"/>
                    </a:spcBef>
                  </a:pPr>
                  <a:endParaRPr lang="en-US" altLang="zh-CN" sz="1000" dirty="0"/>
                </a:p>
                <a:p>
                  <a:pPr algn="ctr">
                    <a:lnSpc>
                      <a:spcPct val="150000"/>
                    </a:lnSpc>
                    <a:spcBef>
                      <a:spcPct val="0"/>
                    </a:spcBef>
                  </a:pPr>
                  <a:r>
                    <a:rPr lang="en-US" altLang="zh-CN" sz="1000" dirty="0"/>
                    <a:t>……</a:t>
                  </a:r>
                </a:p>
              </p:txBody>
            </p:sp>
          </p:grpSp>
          <p:sp>
            <p:nvSpPr>
              <p:cNvPr id="21" name="ïś1íḍè"/>
              <p:cNvSpPr/>
              <p:nvPr/>
            </p:nvSpPr>
            <p:spPr>
              <a:xfrm>
                <a:off x="2226324" y="2771854"/>
                <a:ext cx="564776" cy="518143"/>
              </a:xfrm>
              <a:custGeom>
                <a:avLst/>
                <a:gdLst>
                  <a:gd name="connsiteX0" fmla="*/ 303857 w 607639"/>
                  <a:gd name="connsiteY0" fmla="*/ 303714 h 557467"/>
                  <a:gd name="connsiteX1" fmla="*/ 352986 w 607639"/>
                  <a:gd name="connsiteY1" fmla="*/ 309132 h 557467"/>
                  <a:gd name="connsiteX2" fmla="*/ 514597 w 607639"/>
                  <a:gd name="connsiteY2" fmla="*/ 449845 h 557467"/>
                  <a:gd name="connsiteX3" fmla="*/ 528676 w 607639"/>
                  <a:gd name="connsiteY3" fmla="*/ 528182 h 557467"/>
                  <a:gd name="connsiteX4" fmla="*/ 499345 w 607639"/>
                  <a:gd name="connsiteY4" fmla="*/ 557467 h 557467"/>
                  <a:gd name="connsiteX5" fmla="*/ 108223 w 607639"/>
                  <a:gd name="connsiteY5" fmla="*/ 557467 h 557467"/>
                  <a:gd name="connsiteX6" fmla="*/ 78892 w 607639"/>
                  <a:gd name="connsiteY6" fmla="*/ 528182 h 557467"/>
                  <a:gd name="connsiteX7" fmla="*/ 303857 w 607639"/>
                  <a:gd name="connsiteY7" fmla="*/ 303714 h 557467"/>
                  <a:gd name="connsiteX8" fmla="*/ 455825 w 607639"/>
                  <a:gd name="connsiteY8" fmla="*/ 268995 h 557467"/>
                  <a:gd name="connsiteX9" fmla="*/ 607639 w 607639"/>
                  <a:gd name="connsiteY9" fmla="*/ 420565 h 557467"/>
                  <a:gd name="connsiteX10" fmla="*/ 578303 w 607639"/>
                  <a:gd name="connsiteY10" fmla="*/ 449854 h 557467"/>
                  <a:gd name="connsiteX11" fmla="*/ 576396 w 607639"/>
                  <a:gd name="connsiteY11" fmla="*/ 449854 h 557467"/>
                  <a:gd name="connsiteX12" fmla="*/ 424875 w 607639"/>
                  <a:gd name="connsiteY12" fmla="*/ 272217 h 557467"/>
                  <a:gd name="connsiteX13" fmla="*/ 455825 w 607639"/>
                  <a:gd name="connsiteY13" fmla="*/ 268995 h 557467"/>
                  <a:gd name="connsiteX14" fmla="*/ 151811 w 607639"/>
                  <a:gd name="connsiteY14" fmla="*/ 268995 h 557467"/>
                  <a:gd name="connsiteX15" fmla="*/ 182906 w 607639"/>
                  <a:gd name="connsiteY15" fmla="*/ 272217 h 557467"/>
                  <a:gd name="connsiteX16" fmla="*/ 31389 w 607639"/>
                  <a:gd name="connsiteY16" fmla="*/ 449854 h 557467"/>
                  <a:gd name="connsiteX17" fmla="*/ 29335 w 607639"/>
                  <a:gd name="connsiteY17" fmla="*/ 449854 h 557467"/>
                  <a:gd name="connsiteX18" fmla="*/ 0 w 607639"/>
                  <a:gd name="connsiteY18" fmla="*/ 420565 h 557467"/>
                  <a:gd name="connsiteX19" fmla="*/ 151811 w 607639"/>
                  <a:gd name="connsiteY19" fmla="*/ 268995 h 557467"/>
                  <a:gd name="connsiteX20" fmla="*/ 462556 w 607639"/>
                  <a:gd name="connsiteY20" fmla="*/ 35000 h 557467"/>
                  <a:gd name="connsiteX21" fmla="*/ 543847 w 607639"/>
                  <a:gd name="connsiteY21" fmla="*/ 122571 h 557467"/>
                  <a:gd name="connsiteX22" fmla="*/ 462556 w 607639"/>
                  <a:gd name="connsiteY22" fmla="*/ 210143 h 557467"/>
                  <a:gd name="connsiteX23" fmla="*/ 485153 w 607639"/>
                  <a:gd name="connsiteY23" fmla="*/ 122571 h 557467"/>
                  <a:gd name="connsiteX24" fmla="*/ 462556 w 607639"/>
                  <a:gd name="connsiteY24" fmla="*/ 35000 h 557467"/>
                  <a:gd name="connsiteX25" fmla="*/ 145224 w 607639"/>
                  <a:gd name="connsiteY25" fmla="*/ 35000 h 557467"/>
                  <a:gd name="connsiteX26" fmla="*/ 122481 w 607639"/>
                  <a:gd name="connsiteY26" fmla="*/ 122571 h 557467"/>
                  <a:gd name="connsiteX27" fmla="*/ 145224 w 607639"/>
                  <a:gd name="connsiteY27" fmla="*/ 210143 h 557467"/>
                  <a:gd name="connsiteX28" fmla="*/ 63791 w 607639"/>
                  <a:gd name="connsiteY28" fmla="*/ 122571 h 557467"/>
                  <a:gd name="connsiteX29" fmla="*/ 145224 w 607639"/>
                  <a:gd name="connsiteY29" fmla="*/ 35000 h 557467"/>
                  <a:gd name="connsiteX30" fmla="*/ 303892 w 607639"/>
                  <a:gd name="connsiteY30" fmla="*/ 0 h 557467"/>
                  <a:gd name="connsiteX31" fmla="*/ 403912 w 607639"/>
                  <a:gd name="connsiteY31" fmla="*/ 51694 h 557467"/>
                  <a:gd name="connsiteX32" fmla="*/ 426497 w 607639"/>
                  <a:gd name="connsiteY32" fmla="*/ 122572 h 557467"/>
                  <a:gd name="connsiteX33" fmla="*/ 403912 w 607639"/>
                  <a:gd name="connsiteY33" fmla="*/ 193450 h 557467"/>
                  <a:gd name="connsiteX34" fmla="*/ 303892 w 607639"/>
                  <a:gd name="connsiteY34" fmla="*/ 245144 h 557467"/>
                  <a:gd name="connsiteX35" fmla="*/ 181141 w 607639"/>
                  <a:gd name="connsiteY35" fmla="*/ 122572 h 557467"/>
                  <a:gd name="connsiteX36" fmla="*/ 303892 w 607639"/>
                  <a:gd name="connsiteY36" fmla="*/ 0 h 55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7639" h="557467">
                    <a:moveTo>
                      <a:pt x="303857" y="303714"/>
                    </a:moveTo>
                    <a:cubicBezTo>
                      <a:pt x="320722" y="303714"/>
                      <a:pt x="337148" y="305618"/>
                      <a:pt x="352986" y="309132"/>
                    </a:cubicBezTo>
                    <a:cubicBezTo>
                      <a:pt x="427486" y="325824"/>
                      <a:pt x="488200" y="379562"/>
                      <a:pt x="514597" y="449845"/>
                    </a:cubicBezTo>
                    <a:cubicBezTo>
                      <a:pt x="523690" y="474298"/>
                      <a:pt x="528676" y="500655"/>
                      <a:pt x="528676" y="528182"/>
                    </a:cubicBezTo>
                    <a:cubicBezTo>
                      <a:pt x="528676" y="544289"/>
                      <a:pt x="515477" y="557467"/>
                      <a:pt x="499345" y="557467"/>
                    </a:cubicBezTo>
                    <a:lnTo>
                      <a:pt x="108223" y="557467"/>
                    </a:lnTo>
                    <a:cubicBezTo>
                      <a:pt x="92091" y="557467"/>
                      <a:pt x="78892" y="544289"/>
                      <a:pt x="78892" y="528182"/>
                    </a:cubicBezTo>
                    <a:cubicBezTo>
                      <a:pt x="78892" y="404307"/>
                      <a:pt x="179789" y="303714"/>
                      <a:pt x="303857" y="303714"/>
                    </a:cubicBezTo>
                    <a:close/>
                    <a:moveTo>
                      <a:pt x="455825" y="268995"/>
                    </a:moveTo>
                    <a:cubicBezTo>
                      <a:pt x="539579" y="268995"/>
                      <a:pt x="607639" y="336945"/>
                      <a:pt x="607639" y="420565"/>
                    </a:cubicBezTo>
                    <a:cubicBezTo>
                      <a:pt x="607639" y="436674"/>
                      <a:pt x="594584" y="449854"/>
                      <a:pt x="578303" y="449854"/>
                    </a:cubicBezTo>
                    <a:lnTo>
                      <a:pt x="576396" y="449854"/>
                    </a:lnTo>
                    <a:cubicBezTo>
                      <a:pt x="553661" y="371360"/>
                      <a:pt x="497775" y="306631"/>
                      <a:pt x="424875" y="272217"/>
                    </a:cubicBezTo>
                    <a:cubicBezTo>
                      <a:pt x="434996" y="270020"/>
                      <a:pt x="445410" y="268995"/>
                      <a:pt x="455825" y="268995"/>
                    </a:cubicBezTo>
                    <a:close/>
                    <a:moveTo>
                      <a:pt x="151811" y="268995"/>
                    </a:moveTo>
                    <a:cubicBezTo>
                      <a:pt x="162371" y="268995"/>
                      <a:pt x="172785" y="270020"/>
                      <a:pt x="182906" y="272217"/>
                    </a:cubicBezTo>
                    <a:cubicBezTo>
                      <a:pt x="110008" y="306631"/>
                      <a:pt x="53977" y="371360"/>
                      <a:pt x="31389" y="449854"/>
                    </a:cubicBezTo>
                    <a:lnTo>
                      <a:pt x="29335" y="449854"/>
                    </a:lnTo>
                    <a:cubicBezTo>
                      <a:pt x="13201" y="449854"/>
                      <a:pt x="0" y="436674"/>
                      <a:pt x="0" y="420565"/>
                    </a:cubicBezTo>
                    <a:cubicBezTo>
                      <a:pt x="0" y="336945"/>
                      <a:pt x="68058" y="268995"/>
                      <a:pt x="151811" y="268995"/>
                    </a:cubicBezTo>
                    <a:close/>
                    <a:moveTo>
                      <a:pt x="462556" y="35000"/>
                    </a:moveTo>
                    <a:cubicBezTo>
                      <a:pt x="507897" y="38368"/>
                      <a:pt x="543847" y="76296"/>
                      <a:pt x="543847" y="122571"/>
                    </a:cubicBezTo>
                    <a:cubicBezTo>
                      <a:pt x="543847" y="168847"/>
                      <a:pt x="507897" y="206775"/>
                      <a:pt x="462556" y="210143"/>
                    </a:cubicBezTo>
                    <a:cubicBezTo>
                      <a:pt x="476936" y="184223"/>
                      <a:pt x="485153" y="154349"/>
                      <a:pt x="485153" y="122571"/>
                    </a:cubicBezTo>
                    <a:cubicBezTo>
                      <a:pt x="485153" y="90794"/>
                      <a:pt x="476936" y="60920"/>
                      <a:pt x="462556" y="35000"/>
                    </a:cubicBezTo>
                    <a:close/>
                    <a:moveTo>
                      <a:pt x="145224" y="35000"/>
                    </a:moveTo>
                    <a:cubicBezTo>
                      <a:pt x="130698" y="60920"/>
                      <a:pt x="122481" y="90794"/>
                      <a:pt x="122481" y="122571"/>
                    </a:cubicBezTo>
                    <a:cubicBezTo>
                      <a:pt x="122481" y="154349"/>
                      <a:pt x="130698" y="184223"/>
                      <a:pt x="145224" y="210143"/>
                    </a:cubicBezTo>
                    <a:cubicBezTo>
                      <a:pt x="99739" y="206775"/>
                      <a:pt x="63791" y="168847"/>
                      <a:pt x="63791" y="122571"/>
                    </a:cubicBezTo>
                    <a:cubicBezTo>
                      <a:pt x="63791" y="76296"/>
                      <a:pt x="99739" y="38368"/>
                      <a:pt x="145224" y="35000"/>
                    </a:cubicBezTo>
                    <a:close/>
                    <a:moveTo>
                      <a:pt x="303892" y="0"/>
                    </a:moveTo>
                    <a:cubicBezTo>
                      <a:pt x="345103" y="0"/>
                      <a:pt x="381620" y="20502"/>
                      <a:pt x="403912" y="51694"/>
                    </a:cubicBezTo>
                    <a:cubicBezTo>
                      <a:pt x="418138" y="71756"/>
                      <a:pt x="426497" y="96212"/>
                      <a:pt x="426497" y="122572"/>
                    </a:cubicBezTo>
                    <a:cubicBezTo>
                      <a:pt x="426497" y="148931"/>
                      <a:pt x="418138" y="173387"/>
                      <a:pt x="403912" y="193450"/>
                    </a:cubicBezTo>
                    <a:cubicBezTo>
                      <a:pt x="381620" y="224642"/>
                      <a:pt x="345103" y="245144"/>
                      <a:pt x="303892" y="245144"/>
                    </a:cubicBezTo>
                    <a:cubicBezTo>
                      <a:pt x="236137" y="245144"/>
                      <a:pt x="181141" y="190082"/>
                      <a:pt x="181141" y="122572"/>
                    </a:cubicBezTo>
                    <a:cubicBezTo>
                      <a:pt x="181141" y="55062"/>
                      <a:pt x="236137" y="0"/>
                      <a:pt x="303892" y="0"/>
                    </a:cubicBezTo>
                    <a:close/>
                  </a:path>
                </a:pathLst>
              </a:cu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grpSp>
        <p:grpSp>
          <p:nvGrpSpPr>
            <p:cNvPr id="12" name="ïşḷiḓè"/>
            <p:cNvGrpSpPr/>
            <p:nvPr/>
          </p:nvGrpSpPr>
          <p:grpSpPr>
            <a:xfrm>
              <a:off x="8591763" y="2771854"/>
              <a:ext cx="1837017" cy="3371770"/>
              <a:chOff x="1590204" y="2771854"/>
              <a:chExt cx="1837017" cy="3371770"/>
            </a:xfrm>
          </p:grpSpPr>
          <p:grpSp>
            <p:nvGrpSpPr>
              <p:cNvPr id="16" name="îšḻiďê"/>
              <p:cNvGrpSpPr/>
              <p:nvPr/>
            </p:nvGrpSpPr>
            <p:grpSpPr>
              <a:xfrm>
                <a:off x="1590204" y="3773705"/>
                <a:ext cx="1837017" cy="2369919"/>
                <a:chOff x="1661922" y="3773705"/>
                <a:chExt cx="1837017" cy="2369919"/>
              </a:xfrm>
            </p:grpSpPr>
            <p:sp>
              <p:nvSpPr>
                <p:cNvPr id="18" name="íṧľîḑe">
                  <a:extLst>
                    <a:ext uri="{FF2B5EF4-FFF2-40B4-BE49-F238E27FC236}">
                      <a16:creationId xmlns:a16="http://schemas.microsoft.com/office/drawing/2014/main" id="{5918C20A-B309-4173-9157-A1FC5DBA4BC1}"/>
                    </a:ext>
                  </a:extLst>
                </p:cNvPr>
                <p:cNvSpPr/>
                <p:nvPr/>
              </p:nvSpPr>
              <p:spPr>
                <a:xfrm>
                  <a:off x="2112118" y="3773705"/>
                  <a:ext cx="936624" cy="936190"/>
                </a:xfrm>
                <a:custGeom>
                  <a:avLst/>
                  <a:gdLst>
                    <a:gd name="connsiteX0" fmla="*/ 0 w 1260455"/>
                    <a:gd name="connsiteY0" fmla="*/ 630228 h 1260455"/>
                    <a:gd name="connsiteX1" fmla="*/ 630228 w 1260455"/>
                    <a:gd name="connsiteY1" fmla="*/ 0 h 1260455"/>
                    <a:gd name="connsiteX2" fmla="*/ 1260456 w 1260455"/>
                    <a:gd name="connsiteY2" fmla="*/ 630228 h 1260455"/>
                    <a:gd name="connsiteX3" fmla="*/ 630228 w 1260455"/>
                    <a:gd name="connsiteY3" fmla="*/ 1260456 h 1260455"/>
                    <a:gd name="connsiteX4" fmla="*/ 0 w 1260455"/>
                    <a:gd name="connsiteY4" fmla="*/ 630228 h 1260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0455" h="1260455">
                      <a:moveTo>
                        <a:pt x="0" y="630228"/>
                      </a:moveTo>
                      <a:cubicBezTo>
                        <a:pt x="0" y="282163"/>
                        <a:pt x="282163" y="0"/>
                        <a:pt x="630228" y="0"/>
                      </a:cubicBezTo>
                      <a:cubicBezTo>
                        <a:pt x="978293" y="0"/>
                        <a:pt x="1260456" y="282163"/>
                        <a:pt x="1260456" y="630228"/>
                      </a:cubicBezTo>
                      <a:cubicBezTo>
                        <a:pt x="1260456" y="978293"/>
                        <a:pt x="978293" y="1260456"/>
                        <a:pt x="630228" y="1260456"/>
                      </a:cubicBezTo>
                      <a:cubicBezTo>
                        <a:pt x="282163" y="1260456"/>
                        <a:pt x="0" y="978293"/>
                        <a:pt x="0" y="630228"/>
                      </a:cubicBezTo>
                      <a:close/>
                    </a:path>
                  </a:pathLst>
                </a:cu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a:r>
                    <a:rPr lang="en-US" altLang="zh-CN" b="1"/>
                    <a:t>X</a:t>
                  </a:r>
                  <a:r>
                    <a:rPr lang="en-US" altLang="zh-CN" sz="100" b="1"/>
                    <a:t> </a:t>
                  </a:r>
                  <a:r>
                    <a:rPr lang="en-US" altLang="zh-CN" b="1"/>
                    <a:t>XX</a:t>
                  </a:r>
                  <a:endParaRPr lang="zh-CN" altLang="en-US" b="1" dirty="0"/>
                </a:p>
              </p:txBody>
            </p:sp>
            <p:sp>
              <p:nvSpPr>
                <p:cNvPr id="19" name="iS1iḍe">
                  <a:extLst>
                    <a:ext uri="{FF2B5EF4-FFF2-40B4-BE49-F238E27FC236}">
                      <a16:creationId xmlns:a16="http://schemas.microsoft.com/office/drawing/2014/main" id="{B40F5E8D-FBEB-4054-86D5-66BEF7C4392C}"/>
                    </a:ext>
                  </a:extLst>
                </p:cNvPr>
                <p:cNvSpPr txBox="1"/>
                <p:nvPr/>
              </p:nvSpPr>
              <p:spPr>
                <a:xfrm>
                  <a:off x="1661922" y="4796117"/>
                  <a:ext cx="1837017" cy="1347507"/>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spcBef>
                      <a:spcPct val="0"/>
                    </a:spcBef>
                  </a:pPr>
                  <a:r>
                    <a:rPr lang="en-US" altLang="zh-CN" sz="1000" dirty="0"/>
                    <a:t>Supporting text </a:t>
                  </a:r>
                  <a:r>
                    <a:rPr lang="en-US" altLang="zh-CN" sz="1000"/>
                    <a:t>here.</a:t>
                  </a:r>
                  <a:r>
                    <a:rPr lang="en-US" altLang="zh-CN" sz="100"/>
                    <a:t> </a:t>
                  </a:r>
                  <a:endParaRPr lang="en-US" altLang="zh-CN" sz="100" dirty="0"/>
                </a:p>
                <a:p>
                  <a:pPr algn="ctr">
                    <a:lnSpc>
                      <a:spcPct val="150000"/>
                    </a:lnSpc>
                    <a:spcBef>
                      <a:spcPct val="0"/>
                    </a:spcBef>
                  </a:pPr>
                  <a:r>
                    <a:rPr lang="en-US" altLang="zh-CN" sz="1000" dirty="0"/>
                    <a:t>Supporting text here.</a:t>
                  </a:r>
                </a:p>
                <a:p>
                  <a:pPr algn="ctr">
                    <a:lnSpc>
                      <a:spcPct val="150000"/>
                    </a:lnSpc>
                    <a:spcBef>
                      <a:spcPct val="0"/>
                    </a:spcBef>
                  </a:pPr>
                  <a:endParaRPr lang="en-US" altLang="zh-CN" sz="1000" dirty="0"/>
                </a:p>
                <a:p>
                  <a:pPr algn="ctr">
                    <a:lnSpc>
                      <a:spcPct val="150000"/>
                    </a:lnSpc>
                    <a:spcBef>
                      <a:spcPct val="0"/>
                    </a:spcBef>
                  </a:pPr>
                  <a:r>
                    <a:rPr lang="en-US" altLang="zh-CN" sz="1000" dirty="0"/>
                    <a:t>……</a:t>
                  </a:r>
                </a:p>
              </p:txBody>
            </p:sp>
          </p:grpSp>
          <p:sp>
            <p:nvSpPr>
              <p:cNvPr id="17" name="íṡ1idê"/>
              <p:cNvSpPr/>
              <p:nvPr/>
            </p:nvSpPr>
            <p:spPr>
              <a:xfrm>
                <a:off x="2226324" y="2771854"/>
                <a:ext cx="564776" cy="518143"/>
              </a:xfrm>
              <a:custGeom>
                <a:avLst/>
                <a:gdLst>
                  <a:gd name="connsiteX0" fmla="*/ 303857 w 607639"/>
                  <a:gd name="connsiteY0" fmla="*/ 303714 h 557467"/>
                  <a:gd name="connsiteX1" fmla="*/ 352986 w 607639"/>
                  <a:gd name="connsiteY1" fmla="*/ 309132 h 557467"/>
                  <a:gd name="connsiteX2" fmla="*/ 514597 w 607639"/>
                  <a:gd name="connsiteY2" fmla="*/ 449845 h 557467"/>
                  <a:gd name="connsiteX3" fmla="*/ 528676 w 607639"/>
                  <a:gd name="connsiteY3" fmla="*/ 528182 h 557467"/>
                  <a:gd name="connsiteX4" fmla="*/ 499345 w 607639"/>
                  <a:gd name="connsiteY4" fmla="*/ 557467 h 557467"/>
                  <a:gd name="connsiteX5" fmla="*/ 108223 w 607639"/>
                  <a:gd name="connsiteY5" fmla="*/ 557467 h 557467"/>
                  <a:gd name="connsiteX6" fmla="*/ 78892 w 607639"/>
                  <a:gd name="connsiteY6" fmla="*/ 528182 h 557467"/>
                  <a:gd name="connsiteX7" fmla="*/ 303857 w 607639"/>
                  <a:gd name="connsiteY7" fmla="*/ 303714 h 557467"/>
                  <a:gd name="connsiteX8" fmla="*/ 455825 w 607639"/>
                  <a:gd name="connsiteY8" fmla="*/ 268995 h 557467"/>
                  <a:gd name="connsiteX9" fmla="*/ 607639 w 607639"/>
                  <a:gd name="connsiteY9" fmla="*/ 420565 h 557467"/>
                  <a:gd name="connsiteX10" fmla="*/ 578303 w 607639"/>
                  <a:gd name="connsiteY10" fmla="*/ 449854 h 557467"/>
                  <a:gd name="connsiteX11" fmla="*/ 576396 w 607639"/>
                  <a:gd name="connsiteY11" fmla="*/ 449854 h 557467"/>
                  <a:gd name="connsiteX12" fmla="*/ 424875 w 607639"/>
                  <a:gd name="connsiteY12" fmla="*/ 272217 h 557467"/>
                  <a:gd name="connsiteX13" fmla="*/ 455825 w 607639"/>
                  <a:gd name="connsiteY13" fmla="*/ 268995 h 557467"/>
                  <a:gd name="connsiteX14" fmla="*/ 151811 w 607639"/>
                  <a:gd name="connsiteY14" fmla="*/ 268995 h 557467"/>
                  <a:gd name="connsiteX15" fmla="*/ 182906 w 607639"/>
                  <a:gd name="connsiteY15" fmla="*/ 272217 h 557467"/>
                  <a:gd name="connsiteX16" fmla="*/ 31389 w 607639"/>
                  <a:gd name="connsiteY16" fmla="*/ 449854 h 557467"/>
                  <a:gd name="connsiteX17" fmla="*/ 29335 w 607639"/>
                  <a:gd name="connsiteY17" fmla="*/ 449854 h 557467"/>
                  <a:gd name="connsiteX18" fmla="*/ 0 w 607639"/>
                  <a:gd name="connsiteY18" fmla="*/ 420565 h 557467"/>
                  <a:gd name="connsiteX19" fmla="*/ 151811 w 607639"/>
                  <a:gd name="connsiteY19" fmla="*/ 268995 h 557467"/>
                  <a:gd name="connsiteX20" fmla="*/ 462556 w 607639"/>
                  <a:gd name="connsiteY20" fmla="*/ 35000 h 557467"/>
                  <a:gd name="connsiteX21" fmla="*/ 543847 w 607639"/>
                  <a:gd name="connsiteY21" fmla="*/ 122571 h 557467"/>
                  <a:gd name="connsiteX22" fmla="*/ 462556 w 607639"/>
                  <a:gd name="connsiteY22" fmla="*/ 210143 h 557467"/>
                  <a:gd name="connsiteX23" fmla="*/ 485153 w 607639"/>
                  <a:gd name="connsiteY23" fmla="*/ 122571 h 557467"/>
                  <a:gd name="connsiteX24" fmla="*/ 462556 w 607639"/>
                  <a:gd name="connsiteY24" fmla="*/ 35000 h 557467"/>
                  <a:gd name="connsiteX25" fmla="*/ 145224 w 607639"/>
                  <a:gd name="connsiteY25" fmla="*/ 35000 h 557467"/>
                  <a:gd name="connsiteX26" fmla="*/ 122481 w 607639"/>
                  <a:gd name="connsiteY26" fmla="*/ 122571 h 557467"/>
                  <a:gd name="connsiteX27" fmla="*/ 145224 w 607639"/>
                  <a:gd name="connsiteY27" fmla="*/ 210143 h 557467"/>
                  <a:gd name="connsiteX28" fmla="*/ 63791 w 607639"/>
                  <a:gd name="connsiteY28" fmla="*/ 122571 h 557467"/>
                  <a:gd name="connsiteX29" fmla="*/ 145224 w 607639"/>
                  <a:gd name="connsiteY29" fmla="*/ 35000 h 557467"/>
                  <a:gd name="connsiteX30" fmla="*/ 303892 w 607639"/>
                  <a:gd name="connsiteY30" fmla="*/ 0 h 557467"/>
                  <a:gd name="connsiteX31" fmla="*/ 403912 w 607639"/>
                  <a:gd name="connsiteY31" fmla="*/ 51694 h 557467"/>
                  <a:gd name="connsiteX32" fmla="*/ 426497 w 607639"/>
                  <a:gd name="connsiteY32" fmla="*/ 122572 h 557467"/>
                  <a:gd name="connsiteX33" fmla="*/ 403912 w 607639"/>
                  <a:gd name="connsiteY33" fmla="*/ 193450 h 557467"/>
                  <a:gd name="connsiteX34" fmla="*/ 303892 w 607639"/>
                  <a:gd name="connsiteY34" fmla="*/ 245144 h 557467"/>
                  <a:gd name="connsiteX35" fmla="*/ 181141 w 607639"/>
                  <a:gd name="connsiteY35" fmla="*/ 122572 h 557467"/>
                  <a:gd name="connsiteX36" fmla="*/ 303892 w 607639"/>
                  <a:gd name="connsiteY36" fmla="*/ 0 h 55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7639" h="557467">
                    <a:moveTo>
                      <a:pt x="303857" y="303714"/>
                    </a:moveTo>
                    <a:cubicBezTo>
                      <a:pt x="320722" y="303714"/>
                      <a:pt x="337148" y="305618"/>
                      <a:pt x="352986" y="309132"/>
                    </a:cubicBezTo>
                    <a:cubicBezTo>
                      <a:pt x="427486" y="325824"/>
                      <a:pt x="488200" y="379562"/>
                      <a:pt x="514597" y="449845"/>
                    </a:cubicBezTo>
                    <a:cubicBezTo>
                      <a:pt x="523690" y="474298"/>
                      <a:pt x="528676" y="500655"/>
                      <a:pt x="528676" y="528182"/>
                    </a:cubicBezTo>
                    <a:cubicBezTo>
                      <a:pt x="528676" y="544289"/>
                      <a:pt x="515477" y="557467"/>
                      <a:pt x="499345" y="557467"/>
                    </a:cubicBezTo>
                    <a:lnTo>
                      <a:pt x="108223" y="557467"/>
                    </a:lnTo>
                    <a:cubicBezTo>
                      <a:pt x="92091" y="557467"/>
                      <a:pt x="78892" y="544289"/>
                      <a:pt x="78892" y="528182"/>
                    </a:cubicBezTo>
                    <a:cubicBezTo>
                      <a:pt x="78892" y="404307"/>
                      <a:pt x="179789" y="303714"/>
                      <a:pt x="303857" y="303714"/>
                    </a:cubicBezTo>
                    <a:close/>
                    <a:moveTo>
                      <a:pt x="455825" y="268995"/>
                    </a:moveTo>
                    <a:cubicBezTo>
                      <a:pt x="539579" y="268995"/>
                      <a:pt x="607639" y="336945"/>
                      <a:pt x="607639" y="420565"/>
                    </a:cubicBezTo>
                    <a:cubicBezTo>
                      <a:pt x="607639" y="436674"/>
                      <a:pt x="594584" y="449854"/>
                      <a:pt x="578303" y="449854"/>
                    </a:cubicBezTo>
                    <a:lnTo>
                      <a:pt x="576396" y="449854"/>
                    </a:lnTo>
                    <a:cubicBezTo>
                      <a:pt x="553661" y="371360"/>
                      <a:pt x="497775" y="306631"/>
                      <a:pt x="424875" y="272217"/>
                    </a:cubicBezTo>
                    <a:cubicBezTo>
                      <a:pt x="434996" y="270020"/>
                      <a:pt x="445410" y="268995"/>
                      <a:pt x="455825" y="268995"/>
                    </a:cubicBezTo>
                    <a:close/>
                    <a:moveTo>
                      <a:pt x="151811" y="268995"/>
                    </a:moveTo>
                    <a:cubicBezTo>
                      <a:pt x="162371" y="268995"/>
                      <a:pt x="172785" y="270020"/>
                      <a:pt x="182906" y="272217"/>
                    </a:cubicBezTo>
                    <a:cubicBezTo>
                      <a:pt x="110008" y="306631"/>
                      <a:pt x="53977" y="371360"/>
                      <a:pt x="31389" y="449854"/>
                    </a:cubicBezTo>
                    <a:lnTo>
                      <a:pt x="29335" y="449854"/>
                    </a:lnTo>
                    <a:cubicBezTo>
                      <a:pt x="13201" y="449854"/>
                      <a:pt x="0" y="436674"/>
                      <a:pt x="0" y="420565"/>
                    </a:cubicBezTo>
                    <a:cubicBezTo>
                      <a:pt x="0" y="336945"/>
                      <a:pt x="68058" y="268995"/>
                      <a:pt x="151811" y="268995"/>
                    </a:cubicBezTo>
                    <a:close/>
                    <a:moveTo>
                      <a:pt x="462556" y="35000"/>
                    </a:moveTo>
                    <a:cubicBezTo>
                      <a:pt x="507897" y="38368"/>
                      <a:pt x="543847" y="76296"/>
                      <a:pt x="543847" y="122571"/>
                    </a:cubicBezTo>
                    <a:cubicBezTo>
                      <a:pt x="543847" y="168847"/>
                      <a:pt x="507897" y="206775"/>
                      <a:pt x="462556" y="210143"/>
                    </a:cubicBezTo>
                    <a:cubicBezTo>
                      <a:pt x="476936" y="184223"/>
                      <a:pt x="485153" y="154349"/>
                      <a:pt x="485153" y="122571"/>
                    </a:cubicBezTo>
                    <a:cubicBezTo>
                      <a:pt x="485153" y="90794"/>
                      <a:pt x="476936" y="60920"/>
                      <a:pt x="462556" y="35000"/>
                    </a:cubicBezTo>
                    <a:close/>
                    <a:moveTo>
                      <a:pt x="145224" y="35000"/>
                    </a:moveTo>
                    <a:cubicBezTo>
                      <a:pt x="130698" y="60920"/>
                      <a:pt x="122481" y="90794"/>
                      <a:pt x="122481" y="122571"/>
                    </a:cubicBezTo>
                    <a:cubicBezTo>
                      <a:pt x="122481" y="154349"/>
                      <a:pt x="130698" y="184223"/>
                      <a:pt x="145224" y="210143"/>
                    </a:cubicBezTo>
                    <a:cubicBezTo>
                      <a:pt x="99739" y="206775"/>
                      <a:pt x="63791" y="168847"/>
                      <a:pt x="63791" y="122571"/>
                    </a:cubicBezTo>
                    <a:cubicBezTo>
                      <a:pt x="63791" y="76296"/>
                      <a:pt x="99739" y="38368"/>
                      <a:pt x="145224" y="35000"/>
                    </a:cubicBezTo>
                    <a:close/>
                    <a:moveTo>
                      <a:pt x="303892" y="0"/>
                    </a:moveTo>
                    <a:cubicBezTo>
                      <a:pt x="345103" y="0"/>
                      <a:pt x="381620" y="20502"/>
                      <a:pt x="403912" y="51694"/>
                    </a:cubicBezTo>
                    <a:cubicBezTo>
                      <a:pt x="418138" y="71756"/>
                      <a:pt x="426497" y="96212"/>
                      <a:pt x="426497" y="122572"/>
                    </a:cubicBezTo>
                    <a:cubicBezTo>
                      <a:pt x="426497" y="148931"/>
                      <a:pt x="418138" y="173387"/>
                      <a:pt x="403912" y="193450"/>
                    </a:cubicBezTo>
                    <a:cubicBezTo>
                      <a:pt x="381620" y="224642"/>
                      <a:pt x="345103" y="245144"/>
                      <a:pt x="303892" y="245144"/>
                    </a:cubicBezTo>
                    <a:cubicBezTo>
                      <a:pt x="236137" y="245144"/>
                      <a:pt x="181141" y="190082"/>
                      <a:pt x="181141" y="122572"/>
                    </a:cubicBezTo>
                    <a:cubicBezTo>
                      <a:pt x="181141" y="55062"/>
                      <a:pt x="236137" y="0"/>
                      <a:pt x="303892" y="0"/>
                    </a:cubicBezTo>
                    <a:close/>
                  </a:path>
                </a:pathLst>
              </a:cu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grpSp>
        <p:cxnSp>
          <p:nvCxnSpPr>
            <p:cNvPr id="13" name="直接连接符 12"/>
            <p:cNvCxnSpPr/>
            <p:nvPr/>
          </p:nvCxnSpPr>
          <p:spPr>
            <a:xfrm>
              <a:off x="3819819" y="4912659"/>
              <a:ext cx="0" cy="1230965"/>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14" name="直接连接符 13"/>
            <p:cNvCxnSpPr/>
            <p:nvPr/>
          </p:nvCxnSpPr>
          <p:spPr>
            <a:xfrm>
              <a:off x="6096000" y="4912659"/>
              <a:ext cx="0" cy="1230965"/>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15" name="直接连接符 14"/>
            <p:cNvCxnSpPr/>
            <p:nvPr/>
          </p:nvCxnSpPr>
          <p:spPr>
            <a:xfrm>
              <a:off x="8372180" y="4912659"/>
              <a:ext cx="0" cy="1230965"/>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766344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GB" altLang="zh-CN" dirty="0"/>
              <a:t>Prevention in after virus epidemic areas</a:t>
            </a:r>
            <a:endParaRPr lang="zh-CN" altLang="en-US" dirty="0"/>
          </a:p>
        </p:txBody>
      </p:sp>
      <p:sp>
        <p:nvSpPr>
          <p:cNvPr id="3" name="页脚占位符 2"/>
          <p:cNvSpPr>
            <a:spLocks noGrp="1"/>
          </p:cNvSpPr>
          <p:nvPr>
            <p:ph type="ftr" sz="quarter" idx="11"/>
          </p:nvPr>
        </p:nvSpPr>
        <p:spPr/>
        <p:txBody>
          <a:bodyPr/>
          <a:lstStyle/>
          <a:p>
            <a:r>
              <a:rPr lang="en-GB" altLang="zh-CN" dirty="0"/>
              <a:t>https://iSlide-PowerPoint.com </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1</a:t>
            </a:fld>
            <a:endParaRPr lang="zh-CN" altLang="en-US"/>
          </a:p>
        </p:txBody>
      </p:sp>
      <p:grpSp>
        <p:nvGrpSpPr>
          <p:cNvPr id="5" name="27779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1004596" y="1193014"/>
            <a:ext cx="10182808" cy="4855110"/>
            <a:chOff x="1004596" y="1193014"/>
            <a:chExt cx="10182808" cy="4855110"/>
          </a:xfrm>
        </p:grpSpPr>
        <p:sp>
          <p:nvSpPr>
            <p:cNvPr id="6" name="i$ḻiďè">
              <a:extLst>
                <a:ext uri="{FF2B5EF4-FFF2-40B4-BE49-F238E27FC236}">
                  <a16:creationId xmlns:a16="http://schemas.microsoft.com/office/drawing/2014/main" id="{B996AC49-479E-4995-A6C8-C6202BD3BE08}"/>
                </a:ext>
              </a:extLst>
            </p:cNvPr>
            <p:cNvSpPr/>
            <p:nvPr/>
          </p:nvSpPr>
          <p:spPr>
            <a:xfrm>
              <a:off x="1004596" y="2829436"/>
              <a:ext cx="10182808" cy="1550336"/>
            </a:xfrm>
            <a:prstGeom prst="roundRect">
              <a:avLst>
                <a:gd name="adj" fmla="val 50000"/>
              </a:avLst>
            </a:prstGeom>
            <a:solidFill>
              <a:schemeClr val="bg1">
                <a:lumMod val="95000"/>
                <a:alpha val="40000"/>
              </a:schemeClr>
            </a:solidFill>
            <a:ln w="38100">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grpSp>
          <p:nvGrpSpPr>
            <p:cNvPr id="7" name="íṡḻiḑé">
              <a:extLst>
                <a:ext uri="{FF2B5EF4-FFF2-40B4-BE49-F238E27FC236}">
                  <a16:creationId xmlns:a16="http://schemas.microsoft.com/office/drawing/2014/main" id="{89433062-0DA7-4536-B6D3-362DAA797A4F}"/>
                </a:ext>
              </a:extLst>
            </p:cNvPr>
            <p:cNvGrpSpPr/>
            <p:nvPr/>
          </p:nvGrpSpPr>
          <p:grpSpPr>
            <a:xfrm>
              <a:off x="2488163" y="2417861"/>
              <a:ext cx="823158" cy="823150"/>
              <a:chOff x="3277103" y="2131962"/>
              <a:chExt cx="671155" cy="671150"/>
            </a:xfrm>
          </p:grpSpPr>
          <p:sp>
            <p:nvSpPr>
              <p:cNvPr id="53" name="ï$1îḓé">
                <a:extLst>
                  <a:ext uri="{FF2B5EF4-FFF2-40B4-BE49-F238E27FC236}">
                    <a16:creationId xmlns:a16="http://schemas.microsoft.com/office/drawing/2014/main" id="{8259016B-5C71-4F06-8E4A-12FDA7EA249C}"/>
                  </a:ext>
                </a:extLst>
              </p:cNvPr>
              <p:cNvSpPr/>
              <p:nvPr/>
            </p:nvSpPr>
            <p:spPr>
              <a:xfrm>
                <a:off x="3277103" y="2131962"/>
                <a:ext cx="671155" cy="671150"/>
              </a:xfrm>
              <a:prstGeom prst="ellipse">
                <a:avLst/>
              </a:prstGeom>
              <a:solidFill>
                <a:schemeClr val="accent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4" name="ïsļíḑé">
                <a:extLst>
                  <a:ext uri="{FF2B5EF4-FFF2-40B4-BE49-F238E27FC236}">
                    <a16:creationId xmlns:a16="http://schemas.microsoft.com/office/drawing/2014/main" id="{47A3316C-C882-4E7B-BF6B-AFF1F9DADD53}"/>
                  </a:ext>
                </a:extLst>
              </p:cNvPr>
              <p:cNvSpPr/>
              <p:nvPr/>
            </p:nvSpPr>
            <p:spPr bwMode="auto">
              <a:xfrm>
                <a:off x="3467769" y="2342092"/>
                <a:ext cx="289626" cy="271835"/>
              </a:xfrm>
              <a:custGeom>
                <a:avLst/>
                <a:gdLst>
                  <a:gd name="connsiteX0" fmla="*/ 171677 w 606580"/>
                  <a:gd name="connsiteY0" fmla="*/ 318744 h 569322"/>
                  <a:gd name="connsiteX1" fmla="*/ 228500 w 606580"/>
                  <a:gd name="connsiteY1" fmla="*/ 375386 h 569322"/>
                  <a:gd name="connsiteX2" fmla="*/ 227108 w 606580"/>
                  <a:gd name="connsiteY2" fmla="*/ 387623 h 569322"/>
                  <a:gd name="connsiteX3" fmla="*/ 356167 w 606580"/>
                  <a:gd name="connsiteY3" fmla="*/ 468739 h 569322"/>
                  <a:gd name="connsiteX4" fmla="*/ 391728 w 606580"/>
                  <a:gd name="connsiteY4" fmla="*/ 455945 h 569322"/>
                  <a:gd name="connsiteX5" fmla="*/ 419490 w 606580"/>
                  <a:gd name="connsiteY5" fmla="*/ 463454 h 569322"/>
                  <a:gd name="connsiteX6" fmla="*/ 497019 w 606580"/>
                  <a:gd name="connsiteY6" fmla="*/ 395874 h 569322"/>
                  <a:gd name="connsiteX7" fmla="*/ 493026 w 606580"/>
                  <a:gd name="connsiteY7" fmla="*/ 375386 h 569322"/>
                  <a:gd name="connsiteX8" fmla="*/ 549849 w 606580"/>
                  <a:gd name="connsiteY8" fmla="*/ 318744 h 569322"/>
                  <a:gd name="connsiteX9" fmla="*/ 606580 w 606580"/>
                  <a:gd name="connsiteY9" fmla="*/ 375386 h 569322"/>
                  <a:gd name="connsiteX10" fmla="*/ 549849 w 606580"/>
                  <a:gd name="connsiteY10" fmla="*/ 432121 h 569322"/>
                  <a:gd name="connsiteX11" fmla="*/ 521809 w 606580"/>
                  <a:gd name="connsiteY11" fmla="*/ 424519 h 569322"/>
                  <a:gd name="connsiteX12" fmla="*/ 444466 w 606580"/>
                  <a:gd name="connsiteY12" fmla="*/ 491915 h 569322"/>
                  <a:gd name="connsiteX13" fmla="*/ 448459 w 606580"/>
                  <a:gd name="connsiteY13" fmla="*/ 512587 h 569322"/>
                  <a:gd name="connsiteX14" fmla="*/ 391728 w 606580"/>
                  <a:gd name="connsiteY14" fmla="*/ 569322 h 569322"/>
                  <a:gd name="connsiteX15" fmla="*/ 334905 w 606580"/>
                  <a:gd name="connsiteY15" fmla="*/ 512587 h 569322"/>
                  <a:gd name="connsiteX16" fmla="*/ 336112 w 606580"/>
                  <a:gd name="connsiteY16" fmla="*/ 500907 h 569322"/>
                  <a:gd name="connsiteX17" fmla="*/ 206867 w 606580"/>
                  <a:gd name="connsiteY17" fmla="*/ 419606 h 569322"/>
                  <a:gd name="connsiteX18" fmla="*/ 171677 w 606580"/>
                  <a:gd name="connsiteY18" fmla="*/ 432121 h 569322"/>
                  <a:gd name="connsiteX19" fmla="*/ 152736 w 606580"/>
                  <a:gd name="connsiteY19" fmla="*/ 428598 h 569322"/>
                  <a:gd name="connsiteX20" fmla="*/ 105847 w 606580"/>
                  <a:gd name="connsiteY20" fmla="*/ 484498 h 569322"/>
                  <a:gd name="connsiteX21" fmla="*/ 113554 w 606580"/>
                  <a:gd name="connsiteY21" fmla="*/ 512587 h 569322"/>
                  <a:gd name="connsiteX22" fmla="*/ 56823 w 606580"/>
                  <a:gd name="connsiteY22" fmla="*/ 569322 h 569322"/>
                  <a:gd name="connsiteX23" fmla="*/ 0 w 606580"/>
                  <a:gd name="connsiteY23" fmla="*/ 512587 h 569322"/>
                  <a:gd name="connsiteX24" fmla="*/ 56823 w 606580"/>
                  <a:gd name="connsiteY24" fmla="*/ 455945 h 569322"/>
                  <a:gd name="connsiteX25" fmla="*/ 77157 w 606580"/>
                  <a:gd name="connsiteY25" fmla="*/ 459839 h 569322"/>
                  <a:gd name="connsiteX26" fmla="*/ 123303 w 606580"/>
                  <a:gd name="connsiteY26" fmla="*/ 404773 h 569322"/>
                  <a:gd name="connsiteX27" fmla="*/ 114854 w 606580"/>
                  <a:gd name="connsiteY27" fmla="*/ 375386 h 569322"/>
                  <a:gd name="connsiteX28" fmla="*/ 171677 w 606580"/>
                  <a:gd name="connsiteY28" fmla="*/ 318744 h 569322"/>
                  <a:gd name="connsiteX29" fmla="*/ 316484 w 606580"/>
                  <a:gd name="connsiteY29" fmla="*/ 174937 h 569322"/>
                  <a:gd name="connsiteX30" fmla="*/ 316577 w 606580"/>
                  <a:gd name="connsiteY30" fmla="*/ 174991 h 569322"/>
                  <a:gd name="connsiteX31" fmla="*/ 316577 w 606580"/>
                  <a:gd name="connsiteY31" fmla="*/ 243818 h 569322"/>
                  <a:gd name="connsiteX32" fmla="*/ 338115 w 606580"/>
                  <a:gd name="connsiteY32" fmla="*/ 231488 h 569322"/>
                  <a:gd name="connsiteX33" fmla="*/ 346378 w 606580"/>
                  <a:gd name="connsiteY33" fmla="*/ 208497 h 569322"/>
                  <a:gd name="connsiteX34" fmla="*/ 339415 w 606580"/>
                  <a:gd name="connsiteY34" fmla="*/ 188102 h 569322"/>
                  <a:gd name="connsiteX35" fmla="*/ 316577 w 606580"/>
                  <a:gd name="connsiteY35" fmla="*/ 174991 h 569322"/>
                  <a:gd name="connsiteX36" fmla="*/ 316577 w 606580"/>
                  <a:gd name="connsiteY36" fmla="*/ 174937 h 569322"/>
                  <a:gd name="connsiteX37" fmla="*/ 290954 w 606580"/>
                  <a:gd name="connsiteY37" fmla="*/ 55995 h 569322"/>
                  <a:gd name="connsiteX38" fmla="*/ 274243 w 606580"/>
                  <a:gd name="connsiteY38" fmla="*/ 67954 h 569322"/>
                  <a:gd name="connsiteX39" fmla="*/ 268116 w 606580"/>
                  <a:gd name="connsiteY39" fmla="*/ 86681 h 569322"/>
                  <a:gd name="connsiteX40" fmla="*/ 273779 w 606580"/>
                  <a:gd name="connsiteY40" fmla="*/ 104109 h 569322"/>
                  <a:gd name="connsiteX41" fmla="*/ 290954 w 606580"/>
                  <a:gd name="connsiteY41" fmla="*/ 117088 h 569322"/>
                  <a:gd name="connsiteX42" fmla="*/ 290861 w 606580"/>
                  <a:gd name="connsiteY42" fmla="*/ 0 h 569322"/>
                  <a:gd name="connsiteX43" fmla="*/ 316484 w 606580"/>
                  <a:gd name="connsiteY43" fmla="*/ 0 h 569322"/>
                  <a:gd name="connsiteX44" fmla="*/ 316484 w 606580"/>
                  <a:gd name="connsiteY44" fmla="*/ 17522 h 569322"/>
                  <a:gd name="connsiteX45" fmla="*/ 361232 w 606580"/>
                  <a:gd name="connsiteY45" fmla="*/ 36619 h 569322"/>
                  <a:gd name="connsiteX46" fmla="*/ 382492 w 606580"/>
                  <a:gd name="connsiteY46" fmla="*/ 78893 h 569322"/>
                  <a:gd name="connsiteX47" fmla="*/ 337744 w 606580"/>
                  <a:gd name="connsiteY47" fmla="*/ 84734 h 569322"/>
                  <a:gd name="connsiteX48" fmla="*/ 316484 w 606580"/>
                  <a:gd name="connsiteY48" fmla="*/ 56458 h 569322"/>
                  <a:gd name="connsiteX49" fmla="*/ 316484 w 606580"/>
                  <a:gd name="connsiteY49" fmla="*/ 125525 h 569322"/>
                  <a:gd name="connsiteX50" fmla="*/ 374322 w 606580"/>
                  <a:gd name="connsiteY50" fmla="*/ 155283 h 569322"/>
                  <a:gd name="connsiteX51" fmla="*/ 389733 w 606580"/>
                  <a:gd name="connsiteY51" fmla="*/ 202193 h 569322"/>
                  <a:gd name="connsiteX52" fmla="*/ 370330 w 606580"/>
                  <a:gd name="connsiteY52" fmla="*/ 255963 h 569322"/>
                  <a:gd name="connsiteX53" fmla="*/ 316484 w 606580"/>
                  <a:gd name="connsiteY53" fmla="*/ 282755 h 569322"/>
                  <a:gd name="connsiteX54" fmla="*/ 316484 w 606580"/>
                  <a:gd name="connsiteY54" fmla="*/ 315851 h 569322"/>
                  <a:gd name="connsiteX55" fmla="*/ 290861 w 606580"/>
                  <a:gd name="connsiteY55" fmla="*/ 315851 h 569322"/>
                  <a:gd name="connsiteX56" fmla="*/ 290861 w 606580"/>
                  <a:gd name="connsiteY56" fmla="*/ 283682 h 569322"/>
                  <a:gd name="connsiteX57" fmla="*/ 241193 w 606580"/>
                  <a:gd name="connsiteY57" fmla="*/ 260876 h 569322"/>
                  <a:gd name="connsiteX58" fmla="*/ 216777 w 606580"/>
                  <a:gd name="connsiteY58" fmla="*/ 207106 h 569322"/>
                  <a:gd name="connsiteX59" fmla="*/ 262917 w 606580"/>
                  <a:gd name="connsiteY59" fmla="*/ 202100 h 569322"/>
                  <a:gd name="connsiteX60" fmla="*/ 273593 w 606580"/>
                  <a:gd name="connsiteY60" fmla="*/ 226482 h 569322"/>
                  <a:gd name="connsiteX61" fmla="*/ 290861 w 606580"/>
                  <a:gd name="connsiteY61" fmla="*/ 241315 h 569322"/>
                  <a:gd name="connsiteX62" fmla="*/ 290861 w 606580"/>
                  <a:gd name="connsiteY62" fmla="*/ 167335 h 569322"/>
                  <a:gd name="connsiteX63" fmla="*/ 240079 w 606580"/>
                  <a:gd name="connsiteY63" fmla="*/ 137484 h 569322"/>
                  <a:gd name="connsiteX64" fmla="*/ 223833 w 606580"/>
                  <a:gd name="connsiteY64" fmla="*/ 88813 h 569322"/>
                  <a:gd name="connsiteX65" fmla="*/ 242214 w 606580"/>
                  <a:gd name="connsiteY65" fmla="*/ 40142 h 569322"/>
                  <a:gd name="connsiteX66" fmla="*/ 290861 w 606580"/>
                  <a:gd name="connsiteY66" fmla="*/ 17522 h 569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606580" h="569322">
                    <a:moveTo>
                      <a:pt x="171677" y="318744"/>
                    </a:moveTo>
                    <a:cubicBezTo>
                      <a:pt x="203060" y="318744"/>
                      <a:pt x="228500" y="344145"/>
                      <a:pt x="228500" y="375386"/>
                    </a:cubicBezTo>
                    <a:cubicBezTo>
                      <a:pt x="228500" y="379650"/>
                      <a:pt x="227943" y="383729"/>
                      <a:pt x="227108" y="387623"/>
                    </a:cubicBezTo>
                    <a:lnTo>
                      <a:pt x="356167" y="468739"/>
                    </a:lnTo>
                    <a:cubicBezTo>
                      <a:pt x="365916" y="460859"/>
                      <a:pt x="378172" y="455945"/>
                      <a:pt x="391728" y="455945"/>
                    </a:cubicBezTo>
                    <a:cubicBezTo>
                      <a:pt x="401849" y="455945"/>
                      <a:pt x="411227" y="458819"/>
                      <a:pt x="419490" y="463454"/>
                    </a:cubicBezTo>
                    <a:lnTo>
                      <a:pt x="497019" y="395874"/>
                    </a:lnTo>
                    <a:cubicBezTo>
                      <a:pt x="494512" y="389570"/>
                      <a:pt x="493026" y="382617"/>
                      <a:pt x="493026" y="375386"/>
                    </a:cubicBezTo>
                    <a:cubicBezTo>
                      <a:pt x="493026" y="344052"/>
                      <a:pt x="518467" y="318744"/>
                      <a:pt x="549849" y="318744"/>
                    </a:cubicBezTo>
                    <a:cubicBezTo>
                      <a:pt x="581232" y="318744"/>
                      <a:pt x="606580" y="344052"/>
                      <a:pt x="606580" y="375386"/>
                    </a:cubicBezTo>
                    <a:cubicBezTo>
                      <a:pt x="606580" y="406720"/>
                      <a:pt x="581232" y="432121"/>
                      <a:pt x="549849" y="432121"/>
                    </a:cubicBezTo>
                    <a:cubicBezTo>
                      <a:pt x="539636" y="432121"/>
                      <a:pt x="530166" y="429154"/>
                      <a:pt x="521809" y="424519"/>
                    </a:cubicBezTo>
                    <a:lnTo>
                      <a:pt x="444466" y="491915"/>
                    </a:lnTo>
                    <a:cubicBezTo>
                      <a:pt x="446973" y="498311"/>
                      <a:pt x="448459" y="505264"/>
                      <a:pt x="448459" y="512587"/>
                    </a:cubicBezTo>
                    <a:cubicBezTo>
                      <a:pt x="448459" y="543921"/>
                      <a:pt x="423111" y="569322"/>
                      <a:pt x="391728" y="569322"/>
                    </a:cubicBezTo>
                    <a:cubicBezTo>
                      <a:pt x="360345" y="569322"/>
                      <a:pt x="334905" y="543921"/>
                      <a:pt x="334905" y="512587"/>
                    </a:cubicBezTo>
                    <a:cubicBezTo>
                      <a:pt x="334905" y="508601"/>
                      <a:pt x="335369" y="504708"/>
                      <a:pt x="336112" y="500907"/>
                    </a:cubicBezTo>
                    <a:lnTo>
                      <a:pt x="206867" y="419606"/>
                    </a:lnTo>
                    <a:cubicBezTo>
                      <a:pt x="197118" y="427300"/>
                      <a:pt x="185047" y="432121"/>
                      <a:pt x="171677" y="432121"/>
                    </a:cubicBezTo>
                    <a:cubicBezTo>
                      <a:pt x="164992" y="432121"/>
                      <a:pt x="158678" y="430730"/>
                      <a:pt x="152736" y="428598"/>
                    </a:cubicBezTo>
                    <a:lnTo>
                      <a:pt x="105847" y="484498"/>
                    </a:lnTo>
                    <a:cubicBezTo>
                      <a:pt x="110676" y="492842"/>
                      <a:pt x="113554" y="502390"/>
                      <a:pt x="113554" y="512587"/>
                    </a:cubicBezTo>
                    <a:cubicBezTo>
                      <a:pt x="113554" y="543921"/>
                      <a:pt x="88206" y="569322"/>
                      <a:pt x="56823" y="569322"/>
                    </a:cubicBezTo>
                    <a:cubicBezTo>
                      <a:pt x="25441" y="569322"/>
                      <a:pt x="0" y="543921"/>
                      <a:pt x="0" y="512587"/>
                    </a:cubicBezTo>
                    <a:cubicBezTo>
                      <a:pt x="0" y="481346"/>
                      <a:pt x="25441" y="455945"/>
                      <a:pt x="56823" y="455945"/>
                    </a:cubicBezTo>
                    <a:cubicBezTo>
                      <a:pt x="63973" y="455945"/>
                      <a:pt x="70843" y="457429"/>
                      <a:pt x="77157" y="459839"/>
                    </a:cubicBezTo>
                    <a:lnTo>
                      <a:pt x="123303" y="404773"/>
                    </a:lnTo>
                    <a:cubicBezTo>
                      <a:pt x="118103" y="396152"/>
                      <a:pt x="114854" y="386232"/>
                      <a:pt x="114854" y="375386"/>
                    </a:cubicBezTo>
                    <a:cubicBezTo>
                      <a:pt x="114854" y="344145"/>
                      <a:pt x="140294" y="318744"/>
                      <a:pt x="171677" y="318744"/>
                    </a:cubicBezTo>
                    <a:close/>
                    <a:moveTo>
                      <a:pt x="316484" y="174937"/>
                    </a:moveTo>
                    <a:lnTo>
                      <a:pt x="316577" y="174991"/>
                    </a:lnTo>
                    <a:lnTo>
                      <a:pt x="316577" y="243818"/>
                    </a:lnTo>
                    <a:cubicBezTo>
                      <a:pt x="325397" y="242149"/>
                      <a:pt x="332545" y="238070"/>
                      <a:pt x="338115" y="231488"/>
                    </a:cubicBezTo>
                    <a:cubicBezTo>
                      <a:pt x="343593" y="224999"/>
                      <a:pt x="346378" y="217304"/>
                      <a:pt x="346378" y="208497"/>
                    </a:cubicBezTo>
                    <a:cubicBezTo>
                      <a:pt x="346378" y="200617"/>
                      <a:pt x="344057" y="193757"/>
                      <a:pt x="339415" y="188102"/>
                    </a:cubicBezTo>
                    <a:lnTo>
                      <a:pt x="316577" y="174991"/>
                    </a:lnTo>
                    <a:lnTo>
                      <a:pt x="316577" y="174937"/>
                    </a:lnTo>
                    <a:close/>
                    <a:moveTo>
                      <a:pt x="290954" y="55995"/>
                    </a:moveTo>
                    <a:cubicBezTo>
                      <a:pt x="283991" y="58312"/>
                      <a:pt x="278421" y="62299"/>
                      <a:pt x="274243" y="67954"/>
                    </a:cubicBezTo>
                    <a:cubicBezTo>
                      <a:pt x="270158" y="73609"/>
                      <a:pt x="268116" y="79913"/>
                      <a:pt x="268116" y="86681"/>
                    </a:cubicBezTo>
                    <a:cubicBezTo>
                      <a:pt x="268116" y="92892"/>
                      <a:pt x="269973" y="98732"/>
                      <a:pt x="273779" y="104109"/>
                    </a:cubicBezTo>
                    <a:cubicBezTo>
                      <a:pt x="277493" y="109394"/>
                      <a:pt x="283249" y="113751"/>
                      <a:pt x="290954" y="117088"/>
                    </a:cubicBezTo>
                    <a:close/>
                    <a:moveTo>
                      <a:pt x="290861" y="0"/>
                    </a:moveTo>
                    <a:lnTo>
                      <a:pt x="316484" y="0"/>
                    </a:lnTo>
                    <a:lnTo>
                      <a:pt x="316484" y="17522"/>
                    </a:lnTo>
                    <a:cubicBezTo>
                      <a:pt x="335237" y="19747"/>
                      <a:pt x="350184" y="26143"/>
                      <a:pt x="361232" y="36619"/>
                    </a:cubicBezTo>
                    <a:cubicBezTo>
                      <a:pt x="372280" y="47188"/>
                      <a:pt x="379428" y="61279"/>
                      <a:pt x="382492" y="78893"/>
                    </a:cubicBezTo>
                    <a:lnTo>
                      <a:pt x="337744" y="84734"/>
                    </a:lnTo>
                    <a:cubicBezTo>
                      <a:pt x="335052" y="70828"/>
                      <a:pt x="327903" y="61464"/>
                      <a:pt x="316484" y="56458"/>
                    </a:cubicBezTo>
                    <a:lnTo>
                      <a:pt x="316484" y="125525"/>
                    </a:lnTo>
                    <a:cubicBezTo>
                      <a:pt x="344800" y="133219"/>
                      <a:pt x="364110" y="143139"/>
                      <a:pt x="374322" y="155283"/>
                    </a:cubicBezTo>
                    <a:cubicBezTo>
                      <a:pt x="384534" y="167428"/>
                      <a:pt x="389733" y="183095"/>
                      <a:pt x="389733" y="202193"/>
                    </a:cubicBezTo>
                    <a:cubicBezTo>
                      <a:pt x="389733" y="223423"/>
                      <a:pt x="383234" y="241408"/>
                      <a:pt x="370330" y="255963"/>
                    </a:cubicBezTo>
                    <a:cubicBezTo>
                      <a:pt x="357426" y="270610"/>
                      <a:pt x="339508" y="279510"/>
                      <a:pt x="316484" y="282755"/>
                    </a:cubicBezTo>
                    <a:lnTo>
                      <a:pt x="316484" y="315851"/>
                    </a:lnTo>
                    <a:lnTo>
                      <a:pt x="290861" y="315851"/>
                    </a:lnTo>
                    <a:lnTo>
                      <a:pt x="290861" y="283682"/>
                    </a:lnTo>
                    <a:cubicBezTo>
                      <a:pt x="270530" y="281179"/>
                      <a:pt x="253912" y="273577"/>
                      <a:pt x="241193" y="260876"/>
                    </a:cubicBezTo>
                    <a:cubicBezTo>
                      <a:pt x="228475" y="248175"/>
                      <a:pt x="220398" y="230283"/>
                      <a:pt x="216777" y="207106"/>
                    </a:cubicBezTo>
                    <a:lnTo>
                      <a:pt x="262917" y="202100"/>
                    </a:lnTo>
                    <a:cubicBezTo>
                      <a:pt x="264867" y="211556"/>
                      <a:pt x="268395" y="219714"/>
                      <a:pt x="273593" y="226482"/>
                    </a:cubicBezTo>
                    <a:cubicBezTo>
                      <a:pt x="278792" y="233342"/>
                      <a:pt x="284548" y="238256"/>
                      <a:pt x="290861" y="241315"/>
                    </a:cubicBezTo>
                    <a:lnTo>
                      <a:pt x="290861" y="167335"/>
                    </a:lnTo>
                    <a:cubicBezTo>
                      <a:pt x="267745" y="160753"/>
                      <a:pt x="250848" y="150834"/>
                      <a:pt x="240079" y="137484"/>
                    </a:cubicBezTo>
                    <a:cubicBezTo>
                      <a:pt x="229310" y="124041"/>
                      <a:pt x="223833" y="107910"/>
                      <a:pt x="223833" y="88813"/>
                    </a:cubicBezTo>
                    <a:cubicBezTo>
                      <a:pt x="223833" y="69530"/>
                      <a:pt x="229960" y="53306"/>
                      <a:pt x="242214" y="40142"/>
                    </a:cubicBezTo>
                    <a:cubicBezTo>
                      <a:pt x="254376" y="27070"/>
                      <a:pt x="270623" y="19468"/>
                      <a:pt x="290861" y="17522"/>
                    </a:cubicBezTo>
                    <a:close/>
                  </a:path>
                </a:pathLst>
              </a:custGeom>
              <a:solidFill>
                <a:schemeClr val="bg1"/>
              </a:solidFill>
              <a:ln w="9525">
                <a:noFill/>
                <a:round/>
              </a:ln>
            </p:spPr>
            <p:txBody>
              <a:bodyPr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dirty="0"/>
              </a:p>
            </p:txBody>
          </p:sp>
        </p:grpSp>
        <p:grpSp>
          <p:nvGrpSpPr>
            <p:cNvPr id="8" name="íṥ1íḓé">
              <a:extLst>
                <a:ext uri="{FF2B5EF4-FFF2-40B4-BE49-F238E27FC236}">
                  <a16:creationId xmlns:a16="http://schemas.microsoft.com/office/drawing/2014/main" id="{3ECC37E8-838B-4FF2-BF20-D37837E7DED3}"/>
                </a:ext>
              </a:extLst>
            </p:cNvPr>
            <p:cNvGrpSpPr/>
            <p:nvPr/>
          </p:nvGrpSpPr>
          <p:grpSpPr>
            <a:xfrm>
              <a:off x="5684421" y="2417861"/>
              <a:ext cx="823158" cy="823150"/>
              <a:chOff x="3277103" y="2131962"/>
              <a:chExt cx="671155" cy="671150"/>
            </a:xfrm>
          </p:grpSpPr>
          <p:sp>
            <p:nvSpPr>
              <p:cNvPr id="51" name="íSļîḓé">
                <a:extLst>
                  <a:ext uri="{FF2B5EF4-FFF2-40B4-BE49-F238E27FC236}">
                    <a16:creationId xmlns:a16="http://schemas.microsoft.com/office/drawing/2014/main" id="{2E35C507-BAD3-4028-B3B2-3CC0B7CDCEA5}"/>
                  </a:ext>
                </a:extLst>
              </p:cNvPr>
              <p:cNvSpPr/>
              <p:nvPr/>
            </p:nvSpPr>
            <p:spPr>
              <a:xfrm>
                <a:off x="3277103" y="2131962"/>
                <a:ext cx="671155" cy="671150"/>
              </a:xfrm>
              <a:prstGeom prst="ellipse">
                <a:avLst/>
              </a:prstGeom>
              <a:solidFill>
                <a:schemeClr val="accent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2" name="íṩ1ïḋé">
                <a:extLst>
                  <a:ext uri="{FF2B5EF4-FFF2-40B4-BE49-F238E27FC236}">
                    <a16:creationId xmlns:a16="http://schemas.microsoft.com/office/drawing/2014/main" id="{9EF84D0E-83CD-4A2B-9F4E-702A2113BAAC}"/>
                  </a:ext>
                </a:extLst>
              </p:cNvPr>
              <p:cNvSpPr/>
              <p:nvPr/>
            </p:nvSpPr>
            <p:spPr bwMode="auto">
              <a:xfrm>
                <a:off x="3467769" y="2342092"/>
                <a:ext cx="289626" cy="271835"/>
              </a:xfrm>
              <a:custGeom>
                <a:avLst/>
                <a:gdLst>
                  <a:gd name="connsiteX0" fmla="*/ 171677 w 606580"/>
                  <a:gd name="connsiteY0" fmla="*/ 318744 h 569322"/>
                  <a:gd name="connsiteX1" fmla="*/ 228500 w 606580"/>
                  <a:gd name="connsiteY1" fmla="*/ 375386 h 569322"/>
                  <a:gd name="connsiteX2" fmla="*/ 227108 w 606580"/>
                  <a:gd name="connsiteY2" fmla="*/ 387623 h 569322"/>
                  <a:gd name="connsiteX3" fmla="*/ 356167 w 606580"/>
                  <a:gd name="connsiteY3" fmla="*/ 468739 h 569322"/>
                  <a:gd name="connsiteX4" fmla="*/ 391728 w 606580"/>
                  <a:gd name="connsiteY4" fmla="*/ 455945 h 569322"/>
                  <a:gd name="connsiteX5" fmla="*/ 419490 w 606580"/>
                  <a:gd name="connsiteY5" fmla="*/ 463454 h 569322"/>
                  <a:gd name="connsiteX6" fmla="*/ 497019 w 606580"/>
                  <a:gd name="connsiteY6" fmla="*/ 395874 h 569322"/>
                  <a:gd name="connsiteX7" fmla="*/ 493026 w 606580"/>
                  <a:gd name="connsiteY7" fmla="*/ 375386 h 569322"/>
                  <a:gd name="connsiteX8" fmla="*/ 549849 w 606580"/>
                  <a:gd name="connsiteY8" fmla="*/ 318744 h 569322"/>
                  <a:gd name="connsiteX9" fmla="*/ 606580 w 606580"/>
                  <a:gd name="connsiteY9" fmla="*/ 375386 h 569322"/>
                  <a:gd name="connsiteX10" fmla="*/ 549849 w 606580"/>
                  <a:gd name="connsiteY10" fmla="*/ 432121 h 569322"/>
                  <a:gd name="connsiteX11" fmla="*/ 521809 w 606580"/>
                  <a:gd name="connsiteY11" fmla="*/ 424519 h 569322"/>
                  <a:gd name="connsiteX12" fmla="*/ 444466 w 606580"/>
                  <a:gd name="connsiteY12" fmla="*/ 491915 h 569322"/>
                  <a:gd name="connsiteX13" fmla="*/ 448459 w 606580"/>
                  <a:gd name="connsiteY13" fmla="*/ 512587 h 569322"/>
                  <a:gd name="connsiteX14" fmla="*/ 391728 w 606580"/>
                  <a:gd name="connsiteY14" fmla="*/ 569322 h 569322"/>
                  <a:gd name="connsiteX15" fmla="*/ 334905 w 606580"/>
                  <a:gd name="connsiteY15" fmla="*/ 512587 h 569322"/>
                  <a:gd name="connsiteX16" fmla="*/ 336112 w 606580"/>
                  <a:gd name="connsiteY16" fmla="*/ 500907 h 569322"/>
                  <a:gd name="connsiteX17" fmla="*/ 206867 w 606580"/>
                  <a:gd name="connsiteY17" fmla="*/ 419606 h 569322"/>
                  <a:gd name="connsiteX18" fmla="*/ 171677 w 606580"/>
                  <a:gd name="connsiteY18" fmla="*/ 432121 h 569322"/>
                  <a:gd name="connsiteX19" fmla="*/ 152736 w 606580"/>
                  <a:gd name="connsiteY19" fmla="*/ 428598 h 569322"/>
                  <a:gd name="connsiteX20" fmla="*/ 105847 w 606580"/>
                  <a:gd name="connsiteY20" fmla="*/ 484498 h 569322"/>
                  <a:gd name="connsiteX21" fmla="*/ 113554 w 606580"/>
                  <a:gd name="connsiteY21" fmla="*/ 512587 h 569322"/>
                  <a:gd name="connsiteX22" fmla="*/ 56823 w 606580"/>
                  <a:gd name="connsiteY22" fmla="*/ 569322 h 569322"/>
                  <a:gd name="connsiteX23" fmla="*/ 0 w 606580"/>
                  <a:gd name="connsiteY23" fmla="*/ 512587 h 569322"/>
                  <a:gd name="connsiteX24" fmla="*/ 56823 w 606580"/>
                  <a:gd name="connsiteY24" fmla="*/ 455945 h 569322"/>
                  <a:gd name="connsiteX25" fmla="*/ 77157 w 606580"/>
                  <a:gd name="connsiteY25" fmla="*/ 459839 h 569322"/>
                  <a:gd name="connsiteX26" fmla="*/ 123303 w 606580"/>
                  <a:gd name="connsiteY26" fmla="*/ 404773 h 569322"/>
                  <a:gd name="connsiteX27" fmla="*/ 114854 w 606580"/>
                  <a:gd name="connsiteY27" fmla="*/ 375386 h 569322"/>
                  <a:gd name="connsiteX28" fmla="*/ 171677 w 606580"/>
                  <a:gd name="connsiteY28" fmla="*/ 318744 h 569322"/>
                  <a:gd name="connsiteX29" fmla="*/ 316484 w 606580"/>
                  <a:gd name="connsiteY29" fmla="*/ 174937 h 569322"/>
                  <a:gd name="connsiteX30" fmla="*/ 316577 w 606580"/>
                  <a:gd name="connsiteY30" fmla="*/ 174991 h 569322"/>
                  <a:gd name="connsiteX31" fmla="*/ 316577 w 606580"/>
                  <a:gd name="connsiteY31" fmla="*/ 243818 h 569322"/>
                  <a:gd name="connsiteX32" fmla="*/ 338115 w 606580"/>
                  <a:gd name="connsiteY32" fmla="*/ 231488 h 569322"/>
                  <a:gd name="connsiteX33" fmla="*/ 346378 w 606580"/>
                  <a:gd name="connsiteY33" fmla="*/ 208497 h 569322"/>
                  <a:gd name="connsiteX34" fmla="*/ 339415 w 606580"/>
                  <a:gd name="connsiteY34" fmla="*/ 188102 h 569322"/>
                  <a:gd name="connsiteX35" fmla="*/ 316577 w 606580"/>
                  <a:gd name="connsiteY35" fmla="*/ 174991 h 569322"/>
                  <a:gd name="connsiteX36" fmla="*/ 316577 w 606580"/>
                  <a:gd name="connsiteY36" fmla="*/ 174937 h 569322"/>
                  <a:gd name="connsiteX37" fmla="*/ 290954 w 606580"/>
                  <a:gd name="connsiteY37" fmla="*/ 55995 h 569322"/>
                  <a:gd name="connsiteX38" fmla="*/ 274243 w 606580"/>
                  <a:gd name="connsiteY38" fmla="*/ 67954 h 569322"/>
                  <a:gd name="connsiteX39" fmla="*/ 268116 w 606580"/>
                  <a:gd name="connsiteY39" fmla="*/ 86681 h 569322"/>
                  <a:gd name="connsiteX40" fmla="*/ 273779 w 606580"/>
                  <a:gd name="connsiteY40" fmla="*/ 104109 h 569322"/>
                  <a:gd name="connsiteX41" fmla="*/ 290954 w 606580"/>
                  <a:gd name="connsiteY41" fmla="*/ 117088 h 569322"/>
                  <a:gd name="connsiteX42" fmla="*/ 290861 w 606580"/>
                  <a:gd name="connsiteY42" fmla="*/ 0 h 569322"/>
                  <a:gd name="connsiteX43" fmla="*/ 316484 w 606580"/>
                  <a:gd name="connsiteY43" fmla="*/ 0 h 569322"/>
                  <a:gd name="connsiteX44" fmla="*/ 316484 w 606580"/>
                  <a:gd name="connsiteY44" fmla="*/ 17522 h 569322"/>
                  <a:gd name="connsiteX45" fmla="*/ 361232 w 606580"/>
                  <a:gd name="connsiteY45" fmla="*/ 36619 h 569322"/>
                  <a:gd name="connsiteX46" fmla="*/ 382492 w 606580"/>
                  <a:gd name="connsiteY46" fmla="*/ 78893 h 569322"/>
                  <a:gd name="connsiteX47" fmla="*/ 337744 w 606580"/>
                  <a:gd name="connsiteY47" fmla="*/ 84734 h 569322"/>
                  <a:gd name="connsiteX48" fmla="*/ 316484 w 606580"/>
                  <a:gd name="connsiteY48" fmla="*/ 56458 h 569322"/>
                  <a:gd name="connsiteX49" fmla="*/ 316484 w 606580"/>
                  <a:gd name="connsiteY49" fmla="*/ 125525 h 569322"/>
                  <a:gd name="connsiteX50" fmla="*/ 374322 w 606580"/>
                  <a:gd name="connsiteY50" fmla="*/ 155283 h 569322"/>
                  <a:gd name="connsiteX51" fmla="*/ 389733 w 606580"/>
                  <a:gd name="connsiteY51" fmla="*/ 202193 h 569322"/>
                  <a:gd name="connsiteX52" fmla="*/ 370330 w 606580"/>
                  <a:gd name="connsiteY52" fmla="*/ 255963 h 569322"/>
                  <a:gd name="connsiteX53" fmla="*/ 316484 w 606580"/>
                  <a:gd name="connsiteY53" fmla="*/ 282755 h 569322"/>
                  <a:gd name="connsiteX54" fmla="*/ 316484 w 606580"/>
                  <a:gd name="connsiteY54" fmla="*/ 315851 h 569322"/>
                  <a:gd name="connsiteX55" fmla="*/ 290861 w 606580"/>
                  <a:gd name="connsiteY55" fmla="*/ 315851 h 569322"/>
                  <a:gd name="connsiteX56" fmla="*/ 290861 w 606580"/>
                  <a:gd name="connsiteY56" fmla="*/ 283682 h 569322"/>
                  <a:gd name="connsiteX57" fmla="*/ 241193 w 606580"/>
                  <a:gd name="connsiteY57" fmla="*/ 260876 h 569322"/>
                  <a:gd name="connsiteX58" fmla="*/ 216777 w 606580"/>
                  <a:gd name="connsiteY58" fmla="*/ 207106 h 569322"/>
                  <a:gd name="connsiteX59" fmla="*/ 262917 w 606580"/>
                  <a:gd name="connsiteY59" fmla="*/ 202100 h 569322"/>
                  <a:gd name="connsiteX60" fmla="*/ 273593 w 606580"/>
                  <a:gd name="connsiteY60" fmla="*/ 226482 h 569322"/>
                  <a:gd name="connsiteX61" fmla="*/ 290861 w 606580"/>
                  <a:gd name="connsiteY61" fmla="*/ 241315 h 569322"/>
                  <a:gd name="connsiteX62" fmla="*/ 290861 w 606580"/>
                  <a:gd name="connsiteY62" fmla="*/ 167335 h 569322"/>
                  <a:gd name="connsiteX63" fmla="*/ 240079 w 606580"/>
                  <a:gd name="connsiteY63" fmla="*/ 137484 h 569322"/>
                  <a:gd name="connsiteX64" fmla="*/ 223833 w 606580"/>
                  <a:gd name="connsiteY64" fmla="*/ 88813 h 569322"/>
                  <a:gd name="connsiteX65" fmla="*/ 242214 w 606580"/>
                  <a:gd name="connsiteY65" fmla="*/ 40142 h 569322"/>
                  <a:gd name="connsiteX66" fmla="*/ 290861 w 606580"/>
                  <a:gd name="connsiteY66" fmla="*/ 17522 h 569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606580" h="569322">
                    <a:moveTo>
                      <a:pt x="171677" y="318744"/>
                    </a:moveTo>
                    <a:cubicBezTo>
                      <a:pt x="203060" y="318744"/>
                      <a:pt x="228500" y="344145"/>
                      <a:pt x="228500" y="375386"/>
                    </a:cubicBezTo>
                    <a:cubicBezTo>
                      <a:pt x="228500" y="379650"/>
                      <a:pt x="227943" y="383729"/>
                      <a:pt x="227108" y="387623"/>
                    </a:cubicBezTo>
                    <a:lnTo>
                      <a:pt x="356167" y="468739"/>
                    </a:lnTo>
                    <a:cubicBezTo>
                      <a:pt x="365916" y="460859"/>
                      <a:pt x="378172" y="455945"/>
                      <a:pt x="391728" y="455945"/>
                    </a:cubicBezTo>
                    <a:cubicBezTo>
                      <a:pt x="401849" y="455945"/>
                      <a:pt x="411227" y="458819"/>
                      <a:pt x="419490" y="463454"/>
                    </a:cubicBezTo>
                    <a:lnTo>
                      <a:pt x="497019" y="395874"/>
                    </a:lnTo>
                    <a:cubicBezTo>
                      <a:pt x="494512" y="389570"/>
                      <a:pt x="493026" y="382617"/>
                      <a:pt x="493026" y="375386"/>
                    </a:cubicBezTo>
                    <a:cubicBezTo>
                      <a:pt x="493026" y="344052"/>
                      <a:pt x="518467" y="318744"/>
                      <a:pt x="549849" y="318744"/>
                    </a:cubicBezTo>
                    <a:cubicBezTo>
                      <a:pt x="581232" y="318744"/>
                      <a:pt x="606580" y="344052"/>
                      <a:pt x="606580" y="375386"/>
                    </a:cubicBezTo>
                    <a:cubicBezTo>
                      <a:pt x="606580" y="406720"/>
                      <a:pt x="581232" y="432121"/>
                      <a:pt x="549849" y="432121"/>
                    </a:cubicBezTo>
                    <a:cubicBezTo>
                      <a:pt x="539636" y="432121"/>
                      <a:pt x="530166" y="429154"/>
                      <a:pt x="521809" y="424519"/>
                    </a:cubicBezTo>
                    <a:lnTo>
                      <a:pt x="444466" y="491915"/>
                    </a:lnTo>
                    <a:cubicBezTo>
                      <a:pt x="446973" y="498311"/>
                      <a:pt x="448459" y="505264"/>
                      <a:pt x="448459" y="512587"/>
                    </a:cubicBezTo>
                    <a:cubicBezTo>
                      <a:pt x="448459" y="543921"/>
                      <a:pt x="423111" y="569322"/>
                      <a:pt x="391728" y="569322"/>
                    </a:cubicBezTo>
                    <a:cubicBezTo>
                      <a:pt x="360345" y="569322"/>
                      <a:pt x="334905" y="543921"/>
                      <a:pt x="334905" y="512587"/>
                    </a:cubicBezTo>
                    <a:cubicBezTo>
                      <a:pt x="334905" y="508601"/>
                      <a:pt x="335369" y="504708"/>
                      <a:pt x="336112" y="500907"/>
                    </a:cubicBezTo>
                    <a:lnTo>
                      <a:pt x="206867" y="419606"/>
                    </a:lnTo>
                    <a:cubicBezTo>
                      <a:pt x="197118" y="427300"/>
                      <a:pt x="185047" y="432121"/>
                      <a:pt x="171677" y="432121"/>
                    </a:cubicBezTo>
                    <a:cubicBezTo>
                      <a:pt x="164992" y="432121"/>
                      <a:pt x="158678" y="430730"/>
                      <a:pt x="152736" y="428598"/>
                    </a:cubicBezTo>
                    <a:lnTo>
                      <a:pt x="105847" y="484498"/>
                    </a:lnTo>
                    <a:cubicBezTo>
                      <a:pt x="110676" y="492842"/>
                      <a:pt x="113554" y="502390"/>
                      <a:pt x="113554" y="512587"/>
                    </a:cubicBezTo>
                    <a:cubicBezTo>
                      <a:pt x="113554" y="543921"/>
                      <a:pt x="88206" y="569322"/>
                      <a:pt x="56823" y="569322"/>
                    </a:cubicBezTo>
                    <a:cubicBezTo>
                      <a:pt x="25441" y="569322"/>
                      <a:pt x="0" y="543921"/>
                      <a:pt x="0" y="512587"/>
                    </a:cubicBezTo>
                    <a:cubicBezTo>
                      <a:pt x="0" y="481346"/>
                      <a:pt x="25441" y="455945"/>
                      <a:pt x="56823" y="455945"/>
                    </a:cubicBezTo>
                    <a:cubicBezTo>
                      <a:pt x="63973" y="455945"/>
                      <a:pt x="70843" y="457429"/>
                      <a:pt x="77157" y="459839"/>
                    </a:cubicBezTo>
                    <a:lnTo>
                      <a:pt x="123303" y="404773"/>
                    </a:lnTo>
                    <a:cubicBezTo>
                      <a:pt x="118103" y="396152"/>
                      <a:pt x="114854" y="386232"/>
                      <a:pt x="114854" y="375386"/>
                    </a:cubicBezTo>
                    <a:cubicBezTo>
                      <a:pt x="114854" y="344145"/>
                      <a:pt x="140294" y="318744"/>
                      <a:pt x="171677" y="318744"/>
                    </a:cubicBezTo>
                    <a:close/>
                    <a:moveTo>
                      <a:pt x="316484" y="174937"/>
                    </a:moveTo>
                    <a:lnTo>
                      <a:pt x="316577" y="174991"/>
                    </a:lnTo>
                    <a:lnTo>
                      <a:pt x="316577" y="243818"/>
                    </a:lnTo>
                    <a:cubicBezTo>
                      <a:pt x="325397" y="242149"/>
                      <a:pt x="332545" y="238070"/>
                      <a:pt x="338115" y="231488"/>
                    </a:cubicBezTo>
                    <a:cubicBezTo>
                      <a:pt x="343593" y="224999"/>
                      <a:pt x="346378" y="217304"/>
                      <a:pt x="346378" y="208497"/>
                    </a:cubicBezTo>
                    <a:cubicBezTo>
                      <a:pt x="346378" y="200617"/>
                      <a:pt x="344057" y="193757"/>
                      <a:pt x="339415" y="188102"/>
                    </a:cubicBezTo>
                    <a:lnTo>
                      <a:pt x="316577" y="174991"/>
                    </a:lnTo>
                    <a:lnTo>
                      <a:pt x="316577" y="174937"/>
                    </a:lnTo>
                    <a:close/>
                    <a:moveTo>
                      <a:pt x="290954" y="55995"/>
                    </a:moveTo>
                    <a:cubicBezTo>
                      <a:pt x="283991" y="58312"/>
                      <a:pt x="278421" y="62299"/>
                      <a:pt x="274243" y="67954"/>
                    </a:cubicBezTo>
                    <a:cubicBezTo>
                      <a:pt x="270158" y="73609"/>
                      <a:pt x="268116" y="79913"/>
                      <a:pt x="268116" y="86681"/>
                    </a:cubicBezTo>
                    <a:cubicBezTo>
                      <a:pt x="268116" y="92892"/>
                      <a:pt x="269973" y="98732"/>
                      <a:pt x="273779" y="104109"/>
                    </a:cubicBezTo>
                    <a:cubicBezTo>
                      <a:pt x="277493" y="109394"/>
                      <a:pt x="283249" y="113751"/>
                      <a:pt x="290954" y="117088"/>
                    </a:cubicBezTo>
                    <a:close/>
                    <a:moveTo>
                      <a:pt x="290861" y="0"/>
                    </a:moveTo>
                    <a:lnTo>
                      <a:pt x="316484" y="0"/>
                    </a:lnTo>
                    <a:lnTo>
                      <a:pt x="316484" y="17522"/>
                    </a:lnTo>
                    <a:cubicBezTo>
                      <a:pt x="335237" y="19747"/>
                      <a:pt x="350184" y="26143"/>
                      <a:pt x="361232" y="36619"/>
                    </a:cubicBezTo>
                    <a:cubicBezTo>
                      <a:pt x="372280" y="47188"/>
                      <a:pt x="379428" y="61279"/>
                      <a:pt x="382492" y="78893"/>
                    </a:cubicBezTo>
                    <a:lnTo>
                      <a:pt x="337744" y="84734"/>
                    </a:lnTo>
                    <a:cubicBezTo>
                      <a:pt x="335052" y="70828"/>
                      <a:pt x="327903" y="61464"/>
                      <a:pt x="316484" y="56458"/>
                    </a:cubicBezTo>
                    <a:lnTo>
                      <a:pt x="316484" y="125525"/>
                    </a:lnTo>
                    <a:cubicBezTo>
                      <a:pt x="344800" y="133219"/>
                      <a:pt x="364110" y="143139"/>
                      <a:pt x="374322" y="155283"/>
                    </a:cubicBezTo>
                    <a:cubicBezTo>
                      <a:pt x="384534" y="167428"/>
                      <a:pt x="389733" y="183095"/>
                      <a:pt x="389733" y="202193"/>
                    </a:cubicBezTo>
                    <a:cubicBezTo>
                      <a:pt x="389733" y="223423"/>
                      <a:pt x="383234" y="241408"/>
                      <a:pt x="370330" y="255963"/>
                    </a:cubicBezTo>
                    <a:cubicBezTo>
                      <a:pt x="357426" y="270610"/>
                      <a:pt x="339508" y="279510"/>
                      <a:pt x="316484" y="282755"/>
                    </a:cubicBezTo>
                    <a:lnTo>
                      <a:pt x="316484" y="315851"/>
                    </a:lnTo>
                    <a:lnTo>
                      <a:pt x="290861" y="315851"/>
                    </a:lnTo>
                    <a:lnTo>
                      <a:pt x="290861" y="283682"/>
                    </a:lnTo>
                    <a:cubicBezTo>
                      <a:pt x="270530" y="281179"/>
                      <a:pt x="253912" y="273577"/>
                      <a:pt x="241193" y="260876"/>
                    </a:cubicBezTo>
                    <a:cubicBezTo>
                      <a:pt x="228475" y="248175"/>
                      <a:pt x="220398" y="230283"/>
                      <a:pt x="216777" y="207106"/>
                    </a:cubicBezTo>
                    <a:lnTo>
                      <a:pt x="262917" y="202100"/>
                    </a:lnTo>
                    <a:cubicBezTo>
                      <a:pt x="264867" y="211556"/>
                      <a:pt x="268395" y="219714"/>
                      <a:pt x="273593" y="226482"/>
                    </a:cubicBezTo>
                    <a:cubicBezTo>
                      <a:pt x="278792" y="233342"/>
                      <a:pt x="284548" y="238256"/>
                      <a:pt x="290861" y="241315"/>
                    </a:cubicBezTo>
                    <a:lnTo>
                      <a:pt x="290861" y="167335"/>
                    </a:lnTo>
                    <a:cubicBezTo>
                      <a:pt x="267745" y="160753"/>
                      <a:pt x="250848" y="150834"/>
                      <a:pt x="240079" y="137484"/>
                    </a:cubicBezTo>
                    <a:cubicBezTo>
                      <a:pt x="229310" y="124041"/>
                      <a:pt x="223833" y="107910"/>
                      <a:pt x="223833" y="88813"/>
                    </a:cubicBezTo>
                    <a:cubicBezTo>
                      <a:pt x="223833" y="69530"/>
                      <a:pt x="229960" y="53306"/>
                      <a:pt x="242214" y="40142"/>
                    </a:cubicBezTo>
                    <a:cubicBezTo>
                      <a:pt x="254376" y="27070"/>
                      <a:pt x="270623" y="19468"/>
                      <a:pt x="290861" y="17522"/>
                    </a:cubicBezTo>
                    <a:close/>
                  </a:path>
                </a:pathLst>
              </a:custGeom>
              <a:solidFill>
                <a:schemeClr val="bg1"/>
              </a:solidFill>
              <a:ln w="9525">
                <a:noFill/>
                <a:round/>
              </a:ln>
            </p:spPr>
            <p:txBody>
              <a:bodyPr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grpSp>
        <p:grpSp>
          <p:nvGrpSpPr>
            <p:cNvPr id="9" name="iśļîḋé">
              <a:extLst>
                <a:ext uri="{FF2B5EF4-FFF2-40B4-BE49-F238E27FC236}">
                  <a16:creationId xmlns:a16="http://schemas.microsoft.com/office/drawing/2014/main" id="{CDC3BC30-8979-4FBD-A4BE-990F5095BD50}"/>
                </a:ext>
              </a:extLst>
            </p:cNvPr>
            <p:cNvGrpSpPr/>
            <p:nvPr/>
          </p:nvGrpSpPr>
          <p:grpSpPr>
            <a:xfrm>
              <a:off x="8880679" y="2417861"/>
              <a:ext cx="823158" cy="823150"/>
              <a:chOff x="3277103" y="2131962"/>
              <a:chExt cx="671155" cy="671150"/>
            </a:xfrm>
          </p:grpSpPr>
          <p:sp>
            <p:nvSpPr>
              <p:cNvPr id="49" name="îśḷídè">
                <a:extLst>
                  <a:ext uri="{FF2B5EF4-FFF2-40B4-BE49-F238E27FC236}">
                    <a16:creationId xmlns:a16="http://schemas.microsoft.com/office/drawing/2014/main" id="{29523ECF-7B41-4843-AF9A-B5003ADF0FAA}"/>
                  </a:ext>
                </a:extLst>
              </p:cNvPr>
              <p:cNvSpPr/>
              <p:nvPr/>
            </p:nvSpPr>
            <p:spPr>
              <a:xfrm>
                <a:off x="3277103" y="2131962"/>
                <a:ext cx="671155" cy="671150"/>
              </a:xfrm>
              <a:prstGeom prst="ellipse">
                <a:avLst/>
              </a:prstGeom>
              <a:solidFill>
                <a:schemeClr val="accent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50" name="iṣ1iḋè">
                <a:extLst>
                  <a:ext uri="{FF2B5EF4-FFF2-40B4-BE49-F238E27FC236}">
                    <a16:creationId xmlns:a16="http://schemas.microsoft.com/office/drawing/2014/main" id="{4FB35A1C-65ED-45B8-9888-270C6B1E0573}"/>
                  </a:ext>
                </a:extLst>
              </p:cNvPr>
              <p:cNvSpPr/>
              <p:nvPr/>
            </p:nvSpPr>
            <p:spPr bwMode="auto">
              <a:xfrm>
                <a:off x="3467769" y="2342092"/>
                <a:ext cx="289626" cy="271835"/>
              </a:xfrm>
              <a:custGeom>
                <a:avLst/>
                <a:gdLst>
                  <a:gd name="connsiteX0" fmla="*/ 171677 w 606580"/>
                  <a:gd name="connsiteY0" fmla="*/ 318744 h 569322"/>
                  <a:gd name="connsiteX1" fmla="*/ 228500 w 606580"/>
                  <a:gd name="connsiteY1" fmla="*/ 375386 h 569322"/>
                  <a:gd name="connsiteX2" fmla="*/ 227108 w 606580"/>
                  <a:gd name="connsiteY2" fmla="*/ 387623 h 569322"/>
                  <a:gd name="connsiteX3" fmla="*/ 356167 w 606580"/>
                  <a:gd name="connsiteY3" fmla="*/ 468739 h 569322"/>
                  <a:gd name="connsiteX4" fmla="*/ 391728 w 606580"/>
                  <a:gd name="connsiteY4" fmla="*/ 455945 h 569322"/>
                  <a:gd name="connsiteX5" fmla="*/ 419490 w 606580"/>
                  <a:gd name="connsiteY5" fmla="*/ 463454 h 569322"/>
                  <a:gd name="connsiteX6" fmla="*/ 497019 w 606580"/>
                  <a:gd name="connsiteY6" fmla="*/ 395874 h 569322"/>
                  <a:gd name="connsiteX7" fmla="*/ 493026 w 606580"/>
                  <a:gd name="connsiteY7" fmla="*/ 375386 h 569322"/>
                  <a:gd name="connsiteX8" fmla="*/ 549849 w 606580"/>
                  <a:gd name="connsiteY8" fmla="*/ 318744 h 569322"/>
                  <a:gd name="connsiteX9" fmla="*/ 606580 w 606580"/>
                  <a:gd name="connsiteY9" fmla="*/ 375386 h 569322"/>
                  <a:gd name="connsiteX10" fmla="*/ 549849 w 606580"/>
                  <a:gd name="connsiteY10" fmla="*/ 432121 h 569322"/>
                  <a:gd name="connsiteX11" fmla="*/ 521809 w 606580"/>
                  <a:gd name="connsiteY11" fmla="*/ 424519 h 569322"/>
                  <a:gd name="connsiteX12" fmla="*/ 444466 w 606580"/>
                  <a:gd name="connsiteY12" fmla="*/ 491915 h 569322"/>
                  <a:gd name="connsiteX13" fmla="*/ 448459 w 606580"/>
                  <a:gd name="connsiteY13" fmla="*/ 512587 h 569322"/>
                  <a:gd name="connsiteX14" fmla="*/ 391728 w 606580"/>
                  <a:gd name="connsiteY14" fmla="*/ 569322 h 569322"/>
                  <a:gd name="connsiteX15" fmla="*/ 334905 w 606580"/>
                  <a:gd name="connsiteY15" fmla="*/ 512587 h 569322"/>
                  <a:gd name="connsiteX16" fmla="*/ 336112 w 606580"/>
                  <a:gd name="connsiteY16" fmla="*/ 500907 h 569322"/>
                  <a:gd name="connsiteX17" fmla="*/ 206867 w 606580"/>
                  <a:gd name="connsiteY17" fmla="*/ 419606 h 569322"/>
                  <a:gd name="connsiteX18" fmla="*/ 171677 w 606580"/>
                  <a:gd name="connsiteY18" fmla="*/ 432121 h 569322"/>
                  <a:gd name="connsiteX19" fmla="*/ 152736 w 606580"/>
                  <a:gd name="connsiteY19" fmla="*/ 428598 h 569322"/>
                  <a:gd name="connsiteX20" fmla="*/ 105847 w 606580"/>
                  <a:gd name="connsiteY20" fmla="*/ 484498 h 569322"/>
                  <a:gd name="connsiteX21" fmla="*/ 113554 w 606580"/>
                  <a:gd name="connsiteY21" fmla="*/ 512587 h 569322"/>
                  <a:gd name="connsiteX22" fmla="*/ 56823 w 606580"/>
                  <a:gd name="connsiteY22" fmla="*/ 569322 h 569322"/>
                  <a:gd name="connsiteX23" fmla="*/ 0 w 606580"/>
                  <a:gd name="connsiteY23" fmla="*/ 512587 h 569322"/>
                  <a:gd name="connsiteX24" fmla="*/ 56823 w 606580"/>
                  <a:gd name="connsiteY24" fmla="*/ 455945 h 569322"/>
                  <a:gd name="connsiteX25" fmla="*/ 77157 w 606580"/>
                  <a:gd name="connsiteY25" fmla="*/ 459839 h 569322"/>
                  <a:gd name="connsiteX26" fmla="*/ 123303 w 606580"/>
                  <a:gd name="connsiteY26" fmla="*/ 404773 h 569322"/>
                  <a:gd name="connsiteX27" fmla="*/ 114854 w 606580"/>
                  <a:gd name="connsiteY27" fmla="*/ 375386 h 569322"/>
                  <a:gd name="connsiteX28" fmla="*/ 171677 w 606580"/>
                  <a:gd name="connsiteY28" fmla="*/ 318744 h 569322"/>
                  <a:gd name="connsiteX29" fmla="*/ 316484 w 606580"/>
                  <a:gd name="connsiteY29" fmla="*/ 174937 h 569322"/>
                  <a:gd name="connsiteX30" fmla="*/ 316577 w 606580"/>
                  <a:gd name="connsiteY30" fmla="*/ 174991 h 569322"/>
                  <a:gd name="connsiteX31" fmla="*/ 316577 w 606580"/>
                  <a:gd name="connsiteY31" fmla="*/ 243818 h 569322"/>
                  <a:gd name="connsiteX32" fmla="*/ 338115 w 606580"/>
                  <a:gd name="connsiteY32" fmla="*/ 231488 h 569322"/>
                  <a:gd name="connsiteX33" fmla="*/ 346378 w 606580"/>
                  <a:gd name="connsiteY33" fmla="*/ 208497 h 569322"/>
                  <a:gd name="connsiteX34" fmla="*/ 339415 w 606580"/>
                  <a:gd name="connsiteY34" fmla="*/ 188102 h 569322"/>
                  <a:gd name="connsiteX35" fmla="*/ 316577 w 606580"/>
                  <a:gd name="connsiteY35" fmla="*/ 174991 h 569322"/>
                  <a:gd name="connsiteX36" fmla="*/ 316577 w 606580"/>
                  <a:gd name="connsiteY36" fmla="*/ 174937 h 569322"/>
                  <a:gd name="connsiteX37" fmla="*/ 290954 w 606580"/>
                  <a:gd name="connsiteY37" fmla="*/ 55995 h 569322"/>
                  <a:gd name="connsiteX38" fmla="*/ 274243 w 606580"/>
                  <a:gd name="connsiteY38" fmla="*/ 67954 h 569322"/>
                  <a:gd name="connsiteX39" fmla="*/ 268116 w 606580"/>
                  <a:gd name="connsiteY39" fmla="*/ 86681 h 569322"/>
                  <a:gd name="connsiteX40" fmla="*/ 273779 w 606580"/>
                  <a:gd name="connsiteY40" fmla="*/ 104109 h 569322"/>
                  <a:gd name="connsiteX41" fmla="*/ 290954 w 606580"/>
                  <a:gd name="connsiteY41" fmla="*/ 117088 h 569322"/>
                  <a:gd name="connsiteX42" fmla="*/ 290861 w 606580"/>
                  <a:gd name="connsiteY42" fmla="*/ 0 h 569322"/>
                  <a:gd name="connsiteX43" fmla="*/ 316484 w 606580"/>
                  <a:gd name="connsiteY43" fmla="*/ 0 h 569322"/>
                  <a:gd name="connsiteX44" fmla="*/ 316484 w 606580"/>
                  <a:gd name="connsiteY44" fmla="*/ 17522 h 569322"/>
                  <a:gd name="connsiteX45" fmla="*/ 361232 w 606580"/>
                  <a:gd name="connsiteY45" fmla="*/ 36619 h 569322"/>
                  <a:gd name="connsiteX46" fmla="*/ 382492 w 606580"/>
                  <a:gd name="connsiteY46" fmla="*/ 78893 h 569322"/>
                  <a:gd name="connsiteX47" fmla="*/ 337744 w 606580"/>
                  <a:gd name="connsiteY47" fmla="*/ 84734 h 569322"/>
                  <a:gd name="connsiteX48" fmla="*/ 316484 w 606580"/>
                  <a:gd name="connsiteY48" fmla="*/ 56458 h 569322"/>
                  <a:gd name="connsiteX49" fmla="*/ 316484 w 606580"/>
                  <a:gd name="connsiteY49" fmla="*/ 125525 h 569322"/>
                  <a:gd name="connsiteX50" fmla="*/ 374322 w 606580"/>
                  <a:gd name="connsiteY50" fmla="*/ 155283 h 569322"/>
                  <a:gd name="connsiteX51" fmla="*/ 389733 w 606580"/>
                  <a:gd name="connsiteY51" fmla="*/ 202193 h 569322"/>
                  <a:gd name="connsiteX52" fmla="*/ 370330 w 606580"/>
                  <a:gd name="connsiteY52" fmla="*/ 255963 h 569322"/>
                  <a:gd name="connsiteX53" fmla="*/ 316484 w 606580"/>
                  <a:gd name="connsiteY53" fmla="*/ 282755 h 569322"/>
                  <a:gd name="connsiteX54" fmla="*/ 316484 w 606580"/>
                  <a:gd name="connsiteY54" fmla="*/ 315851 h 569322"/>
                  <a:gd name="connsiteX55" fmla="*/ 290861 w 606580"/>
                  <a:gd name="connsiteY55" fmla="*/ 315851 h 569322"/>
                  <a:gd name="connsiteX56" fmla="*/ 290861 w 606580"/>
                  <a:gd name="connsiteY56" fmla="*/ 283682 h 569322"/>
                  <a:gd name="connsiteX57" fmla="*/ 241193 w 606580"/>
                  <a:gd name="connsiteY57" fmla="*/ 260876 h 569322"/>
                  <a:gd name="connsiteX58" fmla="*/ 216777 w 606580"/>
                  <a:gd name="connsiteY58" fmla="*/ 207106 h 569322"/>
                  <a:gd name="connsiteX59" fmla="*/ 262917 w 606580"/>
                  <a:gd name="connsiteY59" fmla="*/ 202100 h 569322"/>
                  <a:gd name="connsiteX60" fmla="*/ 273593 w 606580"/>
                  <a:gd name="connsiteY60" fmla="*/ 226482 h 569322"/>
                  <a:gd name="connsiteX61" fmla="*/ 290861 w 606580"/>
                  <a:gd name="connsiteY61" fmla="*/ 241315 h 569322"/>
                  <a:gd name="connsiteX62" fmla="*/ 290861 w 606580"/>
                  <a:gd name="connsiteY62" fmla="*/ 167335 h 569322"/>
                  <a:gd name="connsiteX63" fmla="*/ 240079 w 606580"/>
                  <a:gd name="connsiteY63" fmla="*/ 137484 h 569322"/>
                  <a:gd name="connsiteX64" fmla="*/ 223833 w 606580"/>
                  <a:gd name="connsiteY64" fmla="*/ 88813 h 569322"/>
                  <a:gd name="connsiteX65" fmla="*/ 242214 w 606580"/>
                  <a:gd name="connsiteY65" fmla="*/ 40142 h 569322"/>
                  <a:gd name="connsiteX66" fmla="*/ 290861 w 606580"/>
                  <a:gd name="connsiteY66" fmla="*/ 17522 h 569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606580" h="569322">
                    <a:moveTo>
                      <a:pt x="171677" y="318744"/>
                    </a:moveTo>
                    <a:cubicBezTo>
                      <a:pt x="203060" y="318744"/>
                      <a:pt x="228500" y="344145"/>
                      <a:pt x="228500" y="375386"/>
                    </a:cubicBezTo>
                    <a:cubicBezTo>
                      <a:pt x="228500" y="379650"/>
                      <a:pt x="227943" y="383729"/>
                      <a:pt x="227108" y="387623"/>
                    </a:cubicBezTo>
                    <a:lnTo>
                      <a:pt x="356167" y="468739"/>
                    </a:lnTo>
                    <a:cubicBezTo>
                      <a:pt x="365916" y="460859"/>
                      <a:pt x="378172" y="455945"/>
                      <a:pt x="391728" y="455945"/>
                    </a:cubicBezTo>
                    <a:cubicBezTo>
                      <a:pt x="401849" y="455945"/>
                      <a:pt x="411227" y="458819"/>
                      <a:pt x="419490" y="463454"/>
                    </a:cubicBezTo>
                    <a:lnTo>
                      <a:pt x="497019" y="395874"/>
                    </a:lnTo>
                    <a:cubicBezTo>
                      <a:pt x="494512" y="389570"/>
                      <a:pt x="493026" y="382617"/>
                      <a:pt x="493026" y="375386"/>
                    </a:cubicBezTo>
                    <a:cubicBezTo>
                      <a:pt x="493026" y="344052"/>
                      <a:pt x="518467" y="318744"/>
                      <a:pt x="549849" y="318744"/>
                    </a:cubicBezTo>
                    <a:cubicBezTo>
                      <a:pt x="581232" y="318744"/>
                      <a:pt x="606580" y="344052"/>
                      <a:pt x="606580" y="375386"/>
                    </a:cubicBezTo>
                    <a:cubicBezTo>
                      <a:pt x="606580" y="406720"/>
                      <a:pt x="581232" y="432121"/>
                      <a:pt x="549849" y="432121"/>
                    </a:cubicBezTo>
                    <a:cubicBezTo>
                      <a:pt x="539636" y="432121"/>
                      <a:pt x="530166" y="429154"/>
                      <a:pt x="521809" y="424519"/>
                    </a:cubicBezTo>
                    <a:lnTo>
                      <a:pt x="444466" y="491915"/>
                    </a:lnTo>
                    <a:cubicBezTo>
                      <a:pt x="446973" y="498311"/>
                      <a:pt x="448459" y="505264"/>
                      <a:pt x="448459" y="512587"/>
                    </a:cubicBezTo>
                    <a:cubicBezTo>
                      <a:pt x="448459" y="543921"/>
                      <a:pt x="423111" y="569322"/>
                      <a:pt x="391728" y="569322"/>
                    </a:cubicBezTo>
                    <a:cubicBezTo>
                      <a:pt x="360345" y="569322"/>
                      <a:pt x="334905" y="543921"/>
                      <a:pt x="334905" y="512587"/>
                    </a:cubicBezTo>
                    <a:cubicBezTo>
                      <a:pt x="334905" y="508601"/>
                      <a:pt x="335369" y="504708"/>
                      <a:pt x="336112" y="500907"/>
                    </a:cubicBezTo>
                    <a:lnTo>
                      <a:pt x="206867" y="419606"/>
                    </a:lnTo>
                    <a:cubicBezTo>
                      <a:pt x="197118" y="427300"/>
                      <a:pt x="185047" y="432121"/>
                      <a:pt x="171677" y="432121"/>
                    </a:cubicBezTo>
                    <a:cubicBezTo>
                      <a:pt x="164992" y="432121"/>
                      <a:pt x="158678" y="430730"/>
                      <a:pt x="152736" y="428598"/>
                    </a:cubicBezTo>
                    <a:lnTo>
                      <a:pt x="105847" y="484498"/>
                    </a:lnTo>
                    <a:cubicBezTo>
                      <a:pt x="110676" y="492842"/>
                      <a:pt x="113554" y="502390"/>
                      <a:pt x="113554" y="512587"/>
                    </a:cubicBezTo>
                    <a:cubicBezTo>
                      <a:pt x="113554" y="543921"/>
                      <a:pt x="88206" y="569322"/>
                      <a:pt x="56823" y="569322"/>
                    </a:cubicBezTo>
                    <a:cubicBezTo>
                      <a:pt x="25441" y="569322"/>
                      <a:pt x="0" y="543921"/>
                      <a:pt x="0" y="512587"/>
                    </a:cubicBezTo>
                    <a:cubicBezTo>
                      <a:pt x="0" y="481346"/>
                      <a:pt x="25441" y="455945"/>
                      <a:pt x="56823" y="455945"/>
                    </a:cubicBezTo>
                    <a:cubicBezTo>
                      <a:pt x="63973" y="455945"/>
                      <a:pt x="70843" y="457429"/>
                      <a:pt x="77157" y="459839"/>
                    </a:cubicBezTo>
                    <a:lnTo>
                      <a:pt x="123303" y="404773"/>
                    </a:lnTo>
                    <a:cubicBezTo>
                      <a:pt x="118103" y="396152"/>
                      <a:pt x="114854" y="386232"/>
                      <a:pt x="114854" y="375386"/>
                    </a:cubicBezTo>
                    <a:cubicBezTo>
                      <a:pt x="114854" y="344145"/>
                      <a:pt x="140294" y="318744"/>
                      <a:pt x="171677" y="318744"/>
                    </a:cubicBezTo>
                    <a:close/>
                    <a:moveTo>
                      <a:pt x="316484" y="174937"/>
                    </a:moveTo>
                    <a:lnTo>
                      <a:pt x="316577" y="174991"/>
                    </a:lnTo>
                    <a:lnTo>
                      <a:pt x="316577" y="243818"/>
                    </a:lnTo>
                    <a:cubicBezTo>
                      <a:pt x="325397" y="242149"/>
                      <a:pt x="332545" y="238070"/>
                      <a:pt x="338115" y="231488"/>
                    </a:cubicBezTo>
                    <a:cubicBezTo>
                      <a:pt x="343593" y="224999"/>
                      <a:pt x="346378" y="217304"/>
                      <a:pt x="346378" y="208497"/>
                    </a:cubicBezTo>
                    <a:cubicBezTo>
                      <a:pt x="346378" y="200617"/>
                      <a:pt x="344057" y="193757"/>
                      <a:pt x="339415" y="188102"/>
                    </a:cubicBezTo>
                    <a:lnTo>
                      <a:pt x="316577" y="174991"/>
                    </a:lnTo>
                    <a:lnTo>
                      <a:pt x="316577" y="174937"/>
                    </a:lnTo>
                    <a:close/>
                    <a:moveTo>
                      <a:pt x="290954" y="55995"/>
                    </a:moveTo>
                    <a:cubicBezTo>
                      <a:pt x="283991" y="58312"/>
                      <a:pt x="278421" y="62299"/>
                      <a:pt x="274243" y="67954"/>
                    </a:cubicBezTo>
                    <a:cubicBezTo>
                      <a:pt x="270158" y="73609"/>
                      <a:pt x="268116" y="79913"/>
                      <a:pt x="268116" y="86681"/>
                    </a:cubicBezTo>
                    <a:cubicBezTo>
                      <a:pt x="268116" y="92892"/>
                      <a:pt x="269973" y="98732"/>
                      <a:pt x="273779" y="104109"/>
                    </a:cubicBezTo>
                    <a:cubicBezTo>
                      <a:pt x="277493" y="109394"/>
                      <a:pt x="283249" y="113751"/>
                      <a:pt x="290954" y="117088"/>
                    </a:cubicBezTo>
                    <a:close/>
                    <a:moveTo>
                      <a:pt x="290861" y="0"/>
                    </a:moveTo>
                    <a:lnTo>
                      <a:pt x="316484" y="0"/>
                    </a:lnTo>
                    <a:lnTo>
                      <a:pt x="316484" y="17522"/>
                    </a:lnTo>
                    <a:cubicBezTo>
                      <a:pt x="335237" y="19747"/>
                      <a:pt x="350184" y="26143"/>
                      <a:pt x="361232" y="36619"/>
                    </a:cubicBezTo>
                    <a:cubicBezTo>
                      <a:pt x="372280" y="47188"/>
                      <a:pt x="379428" y="61279"/>
                      <a:pt x="382492" y="78893"/>
                    </a:cubicBezTo>
                    <a:lnTo>
                      <a:pt x="337744" y="84734"/>
                    </a:lnTo>
                    <a:cubicBezTo>
                      <a:pt x="335052" y="70828"/>
                      <a:pt x="327903" y="61464"/>
                      <a:pt x="316484" y="56458"/>
                    </a:cubicBezTo>
                    <a:lnTo>
                      <a:pt x="316484" y="125525"/>
                    </a:lnTo>
                    <a:cubicBezTo>
                      <a:pt x="344800" y="133219"/>
                      <a:pt x="364110" y="143139"/>
                      <a:pt x="374322" y="155283"/>
                    </a:cubicBezTo>
                    <a:cubicBezTo>
                      <a:pt x="384534" y="167428"/>
                      <a:pt x="389733" y="183095"/>
                      <a:pt x="389733" y="202193"/>
                    </a:cubicBezTo>
                    <a:cubicBezTo>
                      <a:pt x="389733" y="223423"/>
                      <a:pt x="383234" y="241408"/>
                      <a:pt x="370330" y="255963"/>
                    </a:cubicBezTo>
                    <a:cubicBezTo>
                      <a:pt x="357426" y="270610"/>
                      <a:pt x="339508" y="279510"/>
                      <a:pt x="316484" y="282755"/>
                    </a:cubicBezTo>
                    <a:lnTo>
                      <a:pt x="316484" y="315851"/>
                    </a:lnTo>
                    <a:lnTo>
                      <a:pt x="290861" y="315851"/>
                    </a:lnTo>
                    <a:lnTo>
                      <a:pt x="290861" y="283682"/>
                    </a:lnTo>
                    <a:cubicBezTo>
                      <a:pt x="270530" y="281179"/>
                      <a:pt x="253912" y="273577"/>
                      <a:pt x="241193" y="260876"/>
                    </a:cubicBezTo>
                    <a:cubicBezTo>
                      <a:pt x="228475" y="248175"/>
                      <a:pt x="220398" y="230283"/>
                      <a:pt x="216777" y="207106"/>
                    </a:cubicBezTo>
                    <a:lnTo>
                      <a:pt x="262917" y="202100"/>
                    </a:lnTo>
                    <a:cubicBezTo>
                      <a:pt x="264867" y="211556"/>
                      <a:pt x="268395" y="219714"/>
                      <a:pt x="273593" y="226482"/>
                    </a:cubicBezTo>
                    <a:cubicBezTo>
                      <a:pt x="278792" y="233342"/>
                      <a:pt x="284548" y="238256"/>
                      <a:pt x="290861" y="241315"/>
                    </a:cubicBezTo>
                    <a:lnTo>
                      <a:pt x="290861" y="167335"/>
                    </a:lnTo>
                    <a:cubicBezTo>
                      <a:pt x="267745" y="160753"/>
                      <a:pt x="250848" y="150834"/>
                      <a:pt x="240079" y="137484"/>
                    </a:cubicBezTo>
                    <a:cubicBezTo>
                      <a:pt x="229310" y="124041"/>
                      <a:pt x="223833" y="107910"/>
                      <a:pt x="223833" y="88813"/>
                    </a:cubicBezTo>
                    <a:cubicBezTo>
                      <a:pt x="223833" y="69530"/>
                      <a:pt x="229960" y="53306"/>
                      <a:pt x="242214" y="40142"/>
                    </a:cubicBezTo>
                    <a:cubicBezTo>
                      <a:pt x="254376" y="27070"/>
                      <a:pt x="270623" y="19468"/>
                      <a:pt x="290861" y="17522"/>
                    </a:cubicBezTo>
                    <a:close/>
                  </a:path>
                </a:pathLst>
              </a:custGeom>
              <a:solidFill>
                <a:schemeClr val="bg1"/>
              </a:solidFill>
              <a:ln w="9525">
                <a:noFill/>
                <a:round/>
              </a:ln>
            </p:spPr>
            <p:txBody>
              <a:bodyPr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grpSp>
        <p:grpSp>
          <p:nvGrpSpPr>
            <p:cNvPr id="10" name="îślíďè">
              <a:extLst>
                <a:ext uri="{FF2B5EF4-FFF2-40B4-BE49-F238E27FC236}">
                  <a16:creationId xmlns:a16="http://schemas.microsoft.com/office/drawing/2014/main" id="{B19C68F4-4BCC-4F0B-9377-7A9248A90B9E}"/>
                </a:ext>
              </a:extLst>
            </p:cNvPr>
            <p:cNvGrpSpPr/>
            <p:nvPr/>
          </p:nvGrpSpPr>
          <p:grpSpPr>
            <a:xfrm>
              <a:off x="2488163" y="3968197"/>
              <a:ext cx="823158" cy="823150"/>
              <a:chOff x="3277103" y="2131962"/>
              <a:chExt cx="671155" cy="671150"/>
            </a:xfrm>
          </p:grpSpPr>
          <p:sp>
            <p:nvSpPr>
              <p:cNvPr id="47" name="ïśliḋé">
                <a:extLst>
                  <a:ext uri="{FF2B5EF4-FFF2-40B4-BE49-F238E27FC236}">
                    <a16:creationId xmlns:a16="http://schemas.microsoft.com/office/drawing/2014/main" id="{075B580C-ED85-4EDC-9049-96E9EE664FF3}"/>
                  </a:ext>
                </a:extLst>
              </p:cNvPr>
              <p:cNvSpPr/>
              <p:nvPr/>
            </p:nvSpPr>
            <p:spPr>
              <a:xfrm>
                <a:off x="3277103" y="2131962"/>
                <a:ext cx="671155" cy="671150"/>
              </a:xfrm>
              <a:prstGeom prst="ellipse">
                <a:avLst/>
              </a:prstGeom>
              <a:solidFill>
                <a:schemeClr val="accent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48" name="ï$ľíḓê">
                <a:extLst>
                  <a:ext uri="{FF2B5EF4-FFF2-40B4-BE49-F238E27FC236}">
                    <a16:creationId xmlns:a16="http://schemas.microsoft.com/office/drawing/2014/main" id="{81E75737-51A3-4B50-9D34-0C3D1F8844EC}"/>
                  </a:ext>
                </a:extLst>
              </p:cNvPr>
              <p:cNvSpPr/>
              <p:nvPr/>
            </p:nvSpPr>
            <p:spPr bwMode="auto">
              <a:xfrm>
                <a:off x="3467769" y="2342092"/>
                <a:ext cx="289626" cy="271835"/>
              </a:xfrm>
              <a:custGeom>
                <a:avLst/>
                <a:gdLst>
                  <a:gd name="connsiteX0" fmla="*/ 171677 w 606580"/>
                  <a:gd name="connsiteY0" fmla="*/ 318744 h 569322"/>
                  <a:gd name="connsiteX1" fmla="*/ 228500 w 606580"/>
                  <a:gd name="connsiteY1" fmla="*/ 375386 h 569322"/>
                  <a:gd name="connsiteX2" fmla="*/ 227108 w 606580"/>
                  <a:gd name="connsiteY2" fmla="*/ 387623 h 569322"/>
                  <a:gd name="connsiteX3" fmla="*/ 356167 w 606580"/>
                  <a:gd name="connsiteY3" fmla="*/ 468739 h 569322"/>
                  <a:gd name="connsiteX4" fmla="*/ 391728 w 606580"/>
                  <a:gd name="connsiteY4" fmla="*/ 455945 h 569322"/>
                  <a:gd name="connsiteX5" fmla="*/ 419490 w 606580"/>
                  <a:gd name="connsiteY5" fmla="*/ 463454 h 569322"/>
                  <a:gd name="connsiteX6" fmla="*/ 497019 w 606580"/>
                  <a:gd name="connsiteY6" fmla="*/ 395874 h 569322"/>
                  <a:gd name="connsiteX7" fmla="*/ 493026 w 606580"/>
                  <a:gd name="connsiteY7" fmla="*/ 375386 h 569322"/>
                  <a:gd name="connsiteX8" fmla="*/ 549849 w 606580"/>
                  <a:gd name="connsiteY8" fmla="*/ 318744 h 569322"/>
                  <a:gd name="connsiteX9" fmla="*/ 606580 w 606580"/>
                  <a:gd name="connsiteY9" fmla="*/ 375386 h 569322"/>
                  <a:gd name="connsiteX10" fmla="*/ 549849 w 606580"/>
                  <a:gd name="connsiteY10" fmla="*/ 432121 h 569322"/>
                  <a:gd name="connsiteX11" fmla="*/ 521809 w 606580"/>
                  <a:gd name="connsiteY11" fmla="*/ 424519 h 569322"/>
                  <a:gd name="connsiteX12" fmla="*/ 444466 w 606580"/>
                  <a:gd name="connsiteY12" fmla="*/ 491915 h 569322"/>
                  <a:gd name="connsiteX13" fmla="*/ 448459 w 606580"/>
                  <a:gd name="connsiteY13" fmla="*/ 512587 h 569322"/>
                  <a:gd name="connsiteX14" fmla="*/ 391728 w 606580"/>
                  <a:gd name="connsiteY14" fmla="*/ 569322 h 569322"/>
                  <a:gd name="connsiteX15" fmla="*/ 334905 w 606580"/>
                  <a:gd name="connsiteY15" fmla="*/ 512587 h 569322"/>
                  <a:gd name="connsiteX16" fmla="*/ 336112 w 606580"/>
                  <a:gd name="connsiteY16" fmla="*/ 500907 h 569322"/>
                  <a:gd name="connsiteX17" fmla="*/ 206867 w 606580"/>
                  <a:gd name="connsiteY17" fmla="*/ 419606 h 569322"/>
                  <a:gd name="connsiteX18" fmla="*/ 171677 w 606580"/>
                  <a:gd name="connsiteY18" fmla="*/ 432121 h 569322"/>
                  <a:gd name="connsiteX19" fmla="*/ 152736 w 606580"/>
                  <a:gd name="connsiteY19" fmla="*/ 428598 h 569322"/>
                  <a:gd name="connsiteX20" fmla="*/ 105847 w 606580"/>
                  <a:gd name="connsiteY20" fmla="*/ 484498 h 569322"/>
                  <a:gd name="connsiteX21" fmla="*/ 113554 w 606580"/>
                  <a:gd name="connsiteY21" fmla="*/ 512587 h 569322"/>
                  <a:gd name="connsiteX22" fmla="*/ 56823 w 606580"/>
                  <a:gd name="connsiteY22" fmla="*/ 569322 h 569322"/>
                  <a:gd name="connsiteX23" fmla="*/ 0 w 606580"/>
                  <a:gd name="connsiteY23" fmla="*/ 512587 h 569322"/>
                  <a:gd name="connsiteX24" fmla="*/ 56823 w 606580"/>
                  <a:gd name="connsiteY24" fmla="*/ 455945 h 569322"/>
                  <a:gd name="connsiteX25" fmla="*/ 77157 w 606580"/>
                  <a:gd name="connsiteY25" fmla="*/ 459839 h 569322"/>
                  <a:gd name="connsiteX26" fmla="*/ 123303 w 606580"/>
                  <a:gd name="connsiteY26" fmla="*/ 404773 h 569322"/>
                  <a:gd name="connsiteX27" fmla="*/ 114854 w 606580"/>
                  <a:gd name="connsiteY27" fmla="*/ 375386 h 569322"/>
                  <a:gd name="connsiteX28" fmla="*/ 171677 w 606580"/>
                  <a:gd name="connsiteY28" fmla="*/ 318744 h 569322"/>
                  <a:gd name="connsiteX29" fmla="*/ 316484 w 606580"/>
                  <a:gd name="connsiteY29" fmla="*/ 174937 h 569322"/>
                  <a:gd name="connsiteX30" fmla="*/ 316577 w 606580"/>
                  <a:gd name="connsiteY30" fmla="*/ 174991 h 569322"/>
                  <a:gd name="connsiteX31" fmla="*/ 316577 w 606580"/>
                  <a:gd name="connsiteY31" fmla="*/ 243818 h 569322"/>
                  <a:gd name="connsiteX32" fmla="*/ 338115 w 606580"/>
                  <a:gd name="connsiteY32" fmla="*/ 231488 h 569322"/>
                  <a:gd name="connsiteX33" fmla="*/ 346378 w 606580"/>
                  <a:gd name="connsiteY33" fmla="*/ 208497 h 569322"/>
                  <a:gd name="connsiteX34" fmla="*/ 339415 w 606580"/>
                  <a:gd name="connsiteY34" fmla="*/ 188102 h 569322"/>
                  <a:gd name="connsiteX35" fmla="*/ 316577 w 606580"/>
                  <a:gd name="connsiteY35" fmla="*/ 174991 h 569322"/>
                  <a:gd name="connsiteX36" fmla="*/ 316577 w 606580"/>
                  <a:gd name="connsiteY36" fmla="*/ 174937 h 569322"/>
                  <a:gd name="connsiteX37" fmla="*/ 290954 w 606580"/>
                  <a:gd name="connsiteY37" fmla="*/ 55995 h 569322"/>
                  <a:gd name="connsiteX38" fmla="*/ 274243 w 606580"/>
                  <a:gd name="connsiteY38" fmla="*/ 67954 h 569322"/>
                  <a:gd name="connsiteX39" fmla="*/ 268116 w 606580"/>
                  <a:gd name="connsiteY39" fmla="*/ 86681 h 569322"/>
                  <a:gd name="connsiteX40" fmla="*/ 273779 w 606580"/>
                  <a:gd name="connsiteY40" fmla="*/ 104109 h 569322"/>
                  <a:gd name="connsiteX41" fmla="*/ 290954 w 606580"/>
                  <a:gd name="connsiteY41" fmla="*/ 117088 h 569322"/>
                  <a:gd name="connsiteX42" fmla="*/ 290861 w 606580"/>
                  <a:gd name="connsiteY42" fmla="*/ 0 h 569322"/>
                  <a:gd name="connsiteX43" fmla="*/ 316484 w 606580"/>
                  <a:gd name="connsiteY43" fmla="*/ 0 h 569322"/>
                  <a:gd name="connsiteX44" fmla="*/ 316484 w 606580"/>
                  <a:gd name="connsiteY44" fmla="*/ 17522 h 569322"/>
                  <a:gd name="connsiteX45" fmla="*/ 361232 w 606580"/>
                  <a:gd name="connsiteY45" fmla="*/ 36619 h 569322"/>
                  <a:gd name="connsiteX46" fmla="*/ 382492 w 606580"/>
                  <a:gd name="connsiteY46" fmla="*/ 78893 h 569322"/>
                  <a:gd name="connsiteX47" fmla="*/ 337744 w 606580"/>
                  <a:gd name="connsiteY47" fmla="*/ 84734 h 569322"/>
                  <a:gd name="connsiteX48" fmla="*/ 316484 w 606580"/>
                  <a:gd name="connsiteY48" fmla="*/ 56458 h 569322"/>
                  <a:gd name="connsiteX49" fmla="*/ 316484 w 606580"/>
                  <a:gd name="connsiteY49" fmla="*/ 125525 h 569322"/>
                  <a:gd name="connsiteX50" fmla="*/ 374322 w 606580"/>
                  <a:gd name="connsiteY50" fmla="*/ 155283 h 569322"/>
                  <a:gd name="connsiteX51" fmla="*/ 389733 w 606580"/>
                  <a:gd name="connsiteY51" fmla="*/ 202193 h 569322"/>
                  <a:gd name="connsiteX52" fmla="*/ 370330 w 606580"/>
                  <a:gd name="connsiteY52" fmla="*/ 255963 h 569322"/>
                  <a:gd name="connsiteX53" fmla="*/ 316484 w 606580"/>
                  <a:gd name="connsiteY53" fmla="*/ 282755 h 569322"/>
                  <a:gd name="connsiteX54" fmla="*/ 316484 w 606580"/>
                  <a:gd name="connsiteY54" fmla="*/ 315851 h 569322"/>
                  <a:gd name="connsiteX55" fmla="*/ 290861 w 606580"/>
                  <a:gd name="connsiteY55" fmla="*/ 315851 h 569322"/>
                  <a:gd name="connsiteX56" fmla="*/ 290861 w 606580"/>
                  <a:gd name="connsiteY56" fmla="*/ 283682 h 569322"/>
                  <a:gd name="connsiteX57" fmla="*/ 241193 w 606580"/>
                  <a:gd name="connsiteY57" fmla="*/ 260876 h 569322"/>
                  <a:gd name="connsiteX58" fmla="*/ 216777 w 606580"/>
                  <a:gd name="connsiteY58" fmla="*/ 207106 h 569322"/>
                  <a:gd name="connsiteX59" fmla="*/ 262917 w 606580"/>
                  <a:gd name="connsiteY59" fmla="*/ 202100 h 569322"/>
                  <a:gd name="connsiteX60" fmla="*/ 273593 w 606580"/>
                  <a:gd name="connsiteY60" fmla="*/ 226482 h 569322"/>
                  <a:gd name="connsiteX61" fmla="*/ 290861 w 606580"/>
                  <a:gd name="connsiteY61" fmla="*/ 241315 h 569322"/>
                  <a:gd name="connsiteX62" fmla="*/ 290861 w 606580"/>
                  <a:gd name="connsiteY62" fmla="*/ 167335 h 569322"/>
                  <a:gd name="connsiteX63" fmla="*/ 240079 w 606580"/>
                  <a:gd name="connsiteY63" fmla="*/ 137484 h 569322"/>
                  <a:gd name="connsiteX64" fmla="*/ 223833 w 606580"/>
                  <a:gd name="connsiteY64" fmla="*/ 88813 h 569322"/>
                  <a:gd name="connsiteX65" fmla="*/ 242214 w 606580"/>
                  <a:gd name="connsiteY65" fmla="*/ 40142 h 569322"/>
                  <a:gd name="connsiteX66" fmla="*/ 290861 w 606580"/>
                  <a:gd name="connsiteY66" fmla="*/ 17522 h 569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606580" h="569322">
                    <a:moveTo>
                      <a:pt x="171677" y="318744"/>
                    </a:moveTo>
                    <a:cubicBezTo>
                      <a:pt x="203060" y="318744"/>
                      <a:pt x="228500" y="344145"/>
                      <a:pt x="228500" y="375386"/>
                    </a:cubicBezTo>
                    <a:cubicBezTo>
                      <a:pt x="228500" y="379650"/>
                      <a:pt x="227943" y="383729"/>
                      <a:pt x="227108" y="387623"/>
                    </a:cubicBezTo>
                    <a:lnTo>
                      <a:pt x="356167" y="468739"/>
                    </a:lnTo>
                    <a:cubicBezTo>
                      <a:pt x="365916" y="460859"/>
                      <a:pt x="378172" y="455945"/>
                      <a:pt x="391728" y="455945"/>
                    </a:cubicBezTo>
                    <a:cubicBezTo>
                      <a:pt x="401849" y="455945"/>
                      <a:pt x="411227" y="458819"/>
                      <a:pt x="419490" y="463454"/>
                    </a:cubicBezTo>
                    <a:lnTo>
                      <a:pt x="497019" y="395874"/>
                    </a:lnTo>
                    <a:cubicBezTo>
                      <a:pt x="494512" y="389570"/>
                      <a:pt x="493026" y="382617"/>
                      <a:pt x="493026" y="375386"/>
                    </a:cubicBezTo>
                    <a:cubicBezTo>
                      <a:pt x="493026" y="344052"/>
                      <a:pt x="518467" y="318744"/>
                      <a:pt x="549849" y="318744"/>
                    </a:cubicBezTo>
                    <a:cubicBezTo>
                      <a:pt x="581232" y="318744"/>
                      <a:pt x="606580" y="344052"/>
                      <a:pt x="606580" y="375386"/>
                    </a:cubicBezTo>
                    <a:cubicBezTo>
                      <a:pt x="606580" y="406720"/>
                      <a:pt x="581232" y="432121"/>
                      <a:pt x="549849" y="432121"/>
                    </a:cubicBezTo>
                    <a:cubicBezTo>
                      <a:pt x="539636" y="432121"/>
                      <a:pt x="530166" y="429154"/>
                      <a:pt x="521809" y="424519"/>
                    </a:cubicBezTo>
                    <a:lnTo>
                      <a:pt x="444466" y="491915"/>
                    </a:lnTo>
                    <a:cubicBezTo>
                      <a:pt x="446973" y="498311"/>
                      <a:pt x="448459" y="505264"/>
                      <a:pt x="448459" y="512587"/>
                    </a:cubicBezTo>
                    <a:cubicBezTo>
                      <a:pt x="448459" y="543921"/>
                      <a:pt x="423111" y="569322"/>
                      <a:pt x="391728" y="569322"/>
                    </a:cubicBezTo>
                    <a:cubicBezTo>
                      <a:pt x="360345" y="569322"/>
                      <a:pt x="334905" y="543921"/>
                      <a:pt x="334905" y="512587"/>
                    </a:cubicBezTo>
                    <a:cubicBezTo>
                      <a:pt x="334905" y="508601"/>
                      <a:pt x="335369" y="504708"/>
                      <a:pt x="336112" y="500907"/>
                    </a:cubicBezTo>
                    <a:lnTo>
                      <a:pt x="206867" y="419606"/>
                    </a:lnTo>
                    <a:cubicBezTo>
                      <a:pt x="197118" y="427300"/>
                      <a:pt x="185047" y="432121"/>
                      <a:pt x="171677" y="432121"/>
                    </a:cubicBezTo>
                    <a:cubicBezTo>
                      <a:pt x="164992" y="432121"/>
                      <a:pt x="158678" y="430730"/>
                      <a:pt x="152736" y="428598"/>
                    </a:cubicBezTo>
                    <a:lnTo>
                      <a:pt x="105847" y="484498"/>
                    </a:lnTo>
                    <a:cubicBezTo>
                      <a:pt x="110676" y="492842"/>
                      <a:pt x="113554" y="502390"/>
                      <a:pt x="113554" y="512587"/>
                    </a:cubicBezTo>
                    <a:cubicBezTo>
                      <a:pt x="113554" y="543921"/>
                      <a:pt x="88206" y="569322"/>
                      <a:pt x="56823" y="569322"/>
                    </a:cubicBezTo>
                    <a:cubicBezTo>
                      <a:pt x="25441" y="569322"/>
                      <a:pt x="0" y="543921"/>
                      <a:pt x="0" y="512587"/>
                    </a:cubicBezTo>
                    <a:cubicBezTo>
                      <a:pt x="0" y="481346"/>
                      <a:pt x="25441" y="455945"/>
                      <a:pt x="56823" y="455945"/>
                    </a:cubicBezTo>
                    <a:cubicBezTo>
                      <a:pt x="63973" y="455945"/>
                      <a:pt x="70843" y="457429"/>
                      <a:pt x="77157" y="459839"/>
                    </a:cubicBezTo>
                    <a:lnTo>
                      <a:pt x="123303" y="404773"/>
                    </a:lnTo>
                    <a:cubicBezTo>
                      <a:pt x="118103" y="396152"/>
                      <a:pt x="114854" y="386232"/>
                      <a:pt x="114854" y="375386"/>
                    </a:cubicBezTo>
                    <a:cubicBezTo>
                      <a:pt x="114854" y="344145"/>
                      <a:pt x="140294" y="318744"/>
                      <a:pt x="171677" y="318744"/>
                    </a:cubicBezTo>
                    <a:close/>
                    <a:moveTo>
                      <a:pt x="316484" y="174937"/>
                    </a:moveTo>
                    <a:lnTo>
                      <a:pt x="316577" y="174991"/>
                    </a:lnTo>
                    <a:lnTo>
                      <a:pt x="316577" y="243818"/>
                    </a:lnTo>
                    <a:cubicBezTo>
                      <a:pt x="325397" y="242149"/>
                      <a:pt x="332545" y="238070"/>
                      <a:pt x="338115" y="231488"/>
                    </a:cubicBezTo>
                    <a:cubicBezTo>
                      <a:pt x="343593" y="224999"/>
                      <a:pt x="346378" y="217304"/>
                      <a:pt x="346378" y="208497"/>
                    </a:cubicBezTo>
                    <a:cubicBezTo>
                      <a:pt x="346378" y="200617"/>
                      <a:pt x="344057" y="193757"/>
                      <a:pt x="339415" y="188102"/>
                    </a:cubicBezTo>
                    <a:lnTo>
                      <a:pt x="316577" y="174991"/>
                    </a:lnTo>
                    <a:lnTo>
                      <a:pt x="316577" y="174937"/>
                    </a:lnTo>
                    <a:close/>
                    <a:moveTo>
                      <a:pt x="290954" y="55995"/>
                    </a:moveTo>
                    <a:cubicBezTo>
                      <a:pt x="283991" y="58312"/>
                      <a:pt x="278421" y="62299"/>
                      <a:pt x="274243" y="67954"/>
                    </a:cubicBezTo>
                    <a:cubicBezTo>
                      <a:pt x="270158" y="73609"/>
                      <a:pt x="268116" y="79913"/>
                      <a:pt x="268116" y="86681"/>
                    </a:cubicBezTo>
                    <a:cubicBezTo>
                      <a:pt x="268116" y="92892"/>
                      <a:pt x="269973" y="98732"/>
                      <a:pt x="273779" y="104109"/>
                    </a:cubicBezTo>
                    <a:cubicBezTo>
                      <a:pt x="277493" y="109394"/>
                      <a:pt x="283249" y="113751"/>
                      <a:pt x="290954" y="117088"/>
                    </a:cubicBezTo>
                    <a:close/>
                    <a:moveTo>
                      <a:pt x="290861" y="0"/>
                    </a:moveTo>
                    <a:lnTo>
                      <a:pt x="316484" y="0"/>
                    </a:lnTo>
                    <a:lnTo>
                      <a:pt x="316484" y="17522"/>
                    </a:lnTo>
                    <a:cubicBezTo>
                      <a:pt x="335237" y="19747"/>
                      <a:pt x="350184" y="26143"/>
                      <a:pt x="361232" y="36619"/>
                    </a:cubicBezTo>
                    <a:cubicBezTo>
                      <a:pt x="372280" y="47188"/>
                      <a:pt x="379428" y="61279"/>
                      <a:pt x="382492" y="78893"/>
                    </a:cubicBezTo>
                    <a:lnTo>
                      <a:pt x="337744" y="84734"/>
                    </a:lnTo>
                    <a:cubicBezTo>
                      <a:pt x="335052" y="70828"/>
                      <a:pt x="327903" y="61464"/>
                      <a:pt x="316484" y="56458"/>
                    </a:cubicBezTo>
                    <a:lnTo>
                      <a:pt x="316484" y="125525"/>
                    </a:lnTo>
                    <a:cubicBezTo>
                      <a:pt x="344800" y="133219"/>
                      <a:pt x="364110" y="143139"/>
                      <a:pt x="374322" y="155283"/>
                    </a:cubicBezTo>
                    <a:cubicBezTo>
                      <a:pt x="384534" y="167428"/>
                      <a:pt x="389733" y="183095"/>
                      <a:pt x="389733" y="202193"/>
                    </a:cubicBezTo>
                    <a:cubicBezTo>
                      <a:pt x="389733" y="223423"/>
                      <a:pt x="383234" y="241408"/>
                      <a:pt x="370330" y="255963"/>
                    </a:cubicBezTo>
                    <a:cubicBezTo>
                      <a:pt x="357426" y="270610"/>
                      <a:pt x="339508" y="279510"/>
                      <a:pt x="316484" y="282755"/>
                    </a:cubicBezTo>
                    <a:lnTo>
                      <a:pt x="316484" y="315851"/>
                    </a:lnTo>
                    <a:lnTo>
                      <a:pt x="290861" y="315851"/>
                    </a:lnTo>
                    <a:lnTo>
                      <a:pt x="290861" y="283682"/>
                    </a:lnTo>
                    <a:cubicBezTo>
                      <a:pt x="270530" y="281179"/>
                      <a:pt x="253912" y="273577"/>
                      <a:pt x="241193" y="260876"/>
                    </a:cubicBezTo>
                    <a:cubicBezTo>
                      <a:pt x="228475" y="248175"/>
                      <a:pt x="220398" y="230283"/>
                      <a:pt x="216777" y="207106"/>
                    </a:cubicBezTo>
                    <a:lnTo>
                      <a:pt x="262917" y="202100"/>
                    </a:lnTo>
                    <a:cubicBezTo>
                      <a:pt x="264867" y="211556"/>
                      <a:pt x="268395" y="219714"/>
                      <a:pt x="273593" y="226482"/>
                    </a:cubicBezTo>
                    <a:cubicBezTo>
                      <a:pt x="278792" y="233342"/>
                      <a:pt x="284548" y="238256"/>
                      <a:pt x="290861" y="241315"/>
                    </a:cubicBezTo>
                    <a:lnTo>
                      <a:pt x="290861" y="167335"/>
                    </a:lnTo>
                    <a:cubicBezTo>
                      <a:pt x="267745" y="160753"/>
                      <a:pt x="250848" y="150834"/>
                      <a:pt x="240079" y="137484"/>
                    </a:cubicBezTo>
                    <a:cubicBezTo>
                      <a:pt x="229310" y="124041"/>
                      <a:pt x="223833" y="107910"/>
                      <a:pt x="223833" y="88813"/>
                    </a:cubicBezTo>
                    <a:cubicBezTo>
                      <a:pt x="223833" y="69530"/>
                      <a:pt x="229960" y="53306"/>
                      <a:pt x="242214" y="40142"/>
                    </a:cubicBezTo>
                    <a:cubicBezTo>
                      <a:pt x="254376" y="27070"/>
                      <a:pt x="270623" y="19468"/>
                      <a:pt x="290861" y="17522"/>
                    </a:cubicBezTo>
                    <a:close/>
                  </a:path>
                </a:pathLst>
              </a:custGeom>
              <a:solidFill>
                <a:schemeClr val="bg1"/>
              </a:solidFill>
              <a:ln w="9525">
                <a:noFill/>
                <a:round/>
              </a:ln>
            </p:spPr>
            <p:txBody>
              <a:bodyPr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grpSp>
        <p:grpSp>
          <p:nvGrpSpPr>
            <p:cNvPr id="11" name="í$1îḓè">
              <a:extLst>
                <a:ext uri="{FF2B5EF4-FFF2-40B4-BE49-F238E27FC236}">
                  <a16:creationId xmlns:a16="http://schemas.microsoft.com/office/drawing/2014/main" id="{624C010F-7574-478E-9A4C-172AACB0171E}"/>
                </a:ext>
              </a:extLst>
            </p:cNvPr>
            <p:cNvGrpSpPr/>
            <p:nvPr/>
          </p:nvGrpSpPr>
          <p:grpSpPr>
            <a:xfrm>
              <a:off x="5684421" y="3968197"/>
              <a:ext cx="823158" cy="823150"/>
              <a:chOff x="3277103" y="2131962"/>
              <a:chExt cx="671155" cy="671150"/>
            </a:xfrm>
          </p:grpSpPr>
          <p:sp>
            <p:nvSpPr>
              <p:cNvPr id="45" name="iṩľíḓè">
                <a:extLst>
                  <a:ext uri="{FF2B5EF4-FFF2-40B4-BE49-F238E27FC236}">
                    <a16:creationId xmlns:a16="http://schemas.microsoft.com/office/drawing/2014/main" id="{B49F64CD-72DC-4537-BA23-8305D509BC41}"/>
                  </a:ext>
                </a:extLst>
              </p:cNvPr>
              <p:cNvSpPr/>
              <p:nvPr/>
            </p:nvSpPr>
            <p:spPr>
              <a:xfrm>
                <a:off x="3277103" y="2131962"/>
                <a:ext cx="671155" cy="671150"/>
              </a:xfrm>
              <a:prstGeom prst="ellipse">
                <a:avLst/>
              </a:prstGeom>
              <a:solidFill>
                <a:schemeClr val="accent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46" name="íšḻîďè">
                <a:extLst>
                  <a:ext uri="{FF2B5EF4-FFF2-40B4-BE49-F238E27FC236}">
                    <a16:creationId xmlns:a16="http://schemas.microsoft.com/office/drawing/2014/main" id="{A3F6A843-3CD1-4B9F-88E7-4694058B883B}"/>
                  </a:ext>
                </a:extLst>
              </p:cNvPr>
              <p:cNvSpPr/>
              <p:nvPr/>
            </p:nvSpPr>
            <p:spPr bwMode="auto">
              <a:xfrm>
                <a:off x="3467769" y="2342092"/>
                <a:ext cx="289626" cy="271835"/>
              </a:xfrm>
              <a:custGeom>
                <a:avLst/>
                <a:gdLst>
                  <a:gd name="connsiteX0" fmla="*/ 171677 w 606580"/>
                  <a:gd name="connsiteY0" fmla="*/ 318744 h 569322"/>
                  <a:gd name="connsiteX1" fmla="*/ 228500 w 606580"/>
                  <a:gd name="connsiteY1" fmla="*/ 375386 h 569322"/>
                  <a:gd name="connsiteX2" fmla="*/ 227108 w 606580"/>
                  <a:gd name="connsiteY2" fmla="*/ 387623 h 569322"/>
                  <a:gd name="connsiteX3" fmla="*/ 356167 w 606580"/>
                  <a:gd name="connsiteY3" fmla="*/ 468739 h 569322"/>
                  <a:gd name="connsiteX4" fmla="*/ 391728 w 606580"/>
                  <a:gd name="connsiteY4" fmla="*/ 455945 h 569322"/>
                  <a:gd name="connsiteX5" fmla="*/ 419490 w 606580"/>
                  <a:gd name="connsiteY5" fmla="*/ 463454 h 569322"/>
                  <a:gd name="connsiteX6" fmla="*/ 497019 w 606580"/>
                  <a:gd name="connsiteY6" fmla="*/ 395874 h 569322"/>
                  <a:gd name="connsiteX7" fmla="*/ 493026 w 606580"/>
                  <a:gd name="connsiteY7" fmla="*/ 375386 h 569322"/>
                  <a:gd name="connsiteX8" fmla="*/ 549849 w 606580"/>
                  <a:gd name="connsiteY8" fmla="*/ 318744 h 569322"/>
                  <a:gd name="connsiteX9" fmla="*/ 606580 w 606580"/>
                  <a:gd name="connsiteY9" fmla="*/ 375386 h 569322"/>
                  <a:gd name="connsiteX10" fmla="*/ 549849 w 606580"/>
                  <a:gd name="connsiteY10" fmla="*/ 432121 h 569322"/>
                  <a:gd name="connsiteX11" fmla="*/ 521809 w 606580"/>
                  <a:gd name="connsiteY11" fmla="*/ 424519 h 569322"/>
                  <a:gd name="connsiteX12" fmla="*/ 444466 w 606580"/>
                  <a:gd name="connsiteY12" fmla="*/ 491915 h 569322"/>
                  <a:gd name="connsiteX13" fmla="*/ 448459 w 606580"/>
                  <a:gd name="connsiteY13" fmla="*/ 512587 h 569322"/>
                  <a:gd name="connsiteX14" fmla="*/ 391728 w 606580"/>
                  <a:gd name="connsiteY14" fmla="*/ 569322 h 569322"/>
                  <a:gd name="connsiteX15" fmla="*/ 334905 w 606580"/>
                  <a:gd name="connsiteY15" fmla="*/ 512587 h 569322"/>
                  <a:gd name="connsiteX16" fmla="*/ 336112 w 606580"/>
                  <a:gd name="connsiteY16" fmla="*/ 500907 h 569322"/>
                  <a:gd name="connsiteX17" fmla="*/ 206867 w 606580"/>
                  <a:gd name="connsiteY17" fmla="*/ 419606 h 569322"/>
                  <a:gd name="connsiteX18" fmla="*/ 171677 w 606580"/>
                  <a:gd name="connsiteY18" fmla="*/ 432121 h 569322"/>
                  <a:gd name="connsiteX19" fmla="*/ 152736 w 606580"/>
                  <a:gd name="connsiteY19" fmla="*/ 428598 h 569322"/>
                  <a:gd name="connsiteX20" fmla="*/ 105847 w 606580"/>
                  <a:gd name="connsiteY20" fmla="*/ 484498 h 569322"/>
                  <a:gd name="connsiteX21" fmla="*/ 113554 w 606580"/>
                  <a:gd name="connsiteY21" fmla="*/ 512587 h 569322"/>
                  <a:gd name="connsiteX22" fmla="*/ 56823 w 606580"/>
                  <a:gd name="connsiteY22" fmla="*/ 569322 h 569322"/>
                  <a:gd name="connsiteX23" fmla="*/ 0 w 606580"/>
                  <a:gd name="connsiteY23" fmla="*/ 512587 h 569322"/>
                  <a:gd name="connsiteX24" fmla="*/ 56823 w 606580"/>
                  <a:gd name="connsiteY24" fmla="*/ 455945 h 569322"/>
                  <a:gd name="connsiteX25" fmla="*/ 77157 w 606580"/>
                  <a:gd name="connsiteY25" fmla="*/ 459839 h 569322"/>
                  <a:gd name="connsiteX26" fmla="*/ 123303 w 606580"/>
                  <a:gd name="connsiteY26" fmla="*/ 404773 h 569322"/>
                  <a:gd name="connsiteX27" fmla="*/ 114854 w 606580"/>
                  <a:gd name="connsiteY27" fmla="*/ 375386 h 569322"/>
                  <a:gd name="connsiteX28" fmla="*/ 171677 w 606580"/>
                  <a:gd name="connsiteY28" fmla="*/ 318744 h 569322"/>
                  <a:gd name="connsiteX29" fmla="*/ 316484 w 606580"/>
                  <a:gd name="connsiteY29" fmla="*/ 174937 h 569322"/>
                  <a:gd name="connsiteX30" fmla="*/ 316577 w 606580"/>
                  <a:gd name="connsiteY30" fmla="*/ 174991 h 569322"/>
                  <a:gd name="connsiteX31" fmla="*/ 316577 w 606580"/>
                  <a:gd name="connsiteY31" fmla="*/ 243818 h 569322"/>
                  <a:gd name="connsiteX32" fmla="*/ 338115 w 606580"/>
                  <a:gd name="connsiteY32" fmla="*/ 231488 h 569322"/>
                  <a:gd name="connsiteX33" fmla="*/ 346378 w 606580"/>
                  <a:gd name="connsiteY33" fmla="*/ 208497 h 569322"/>
                  <a:gd name="connsiteX34" fmla="*/ 339415 w 606580"/>
                  <a:gd name="connsiteY34" fmla="*/ 188102 h 569322"/>
                  <a:gd name="connsiteX35" fmla="*/ 316577 w 606580"/>
                  <a:gd name="connsiteY35" fmla="*/ 174991 h 569322"/>
                  <a:gd name="connsiteX36" fmla="*/ 316577 w 606580"/>
                  <a:gd name="connsiteY36" fmla="*/ 174937 h 569322"/>
                  <a:gd name="connsiteX37" fmla="*/ 290954 w 606580"/>
                  <a:gd name="connsiteY37" fmla="*/ 55995 h 569322"/>
                  <a:gd name="connsiteX38" fmla="*/ 274243 w 606580"/>
                  <a:gd name="connsiteY38" fmla="*/ 67954 h 569322"/>
                  <a:gd name="connsiteX39" fmla="*/ 268116 w 606580"/>
                  <a:gd name="connsiteY39" fmla="*/ 86681 h 569322"/>
                  <a:gd name="connsiteX40" fmla="*/ 273779 w 606580"/>
                  <a:gd name="connsiteY40" fmla="*/ 104109 h 569322"/>
                  <a:gd name="connsiteX41" fmla="*/ 290954 w 606580"/>
                  <a:gd name="connsiteY41" fmla="*/ 117088 h 569322"/>
                  <a:gd name="connsiteX42" fmla="*/ 290861 w 606580"/>
                  <a:gd name="connsiteY42" fmla="*/ 0 h 569322"/>
                  <a:gd name="connsiteX43" fmla="*/ 316484 w 606580"/>
                  <a:gd name="connsiteY43" fmla="*/ 0 h 569322"/>
                  <a:gd name="connsiteX44" fmla="*/ 316484 w 606580"/>
                  <a:gd name="connsiteY44" fmla="*/ 17522 h 569322"/>
                  <a:gd name="connsiteX45" fmla="*/ 361232 w 606580"/>
                  <a:gd name="connsiteY45" fmla="*/ 36619 h 569322"/>
                  <a:gd name="connsiteX46" fmla="*/ 382492 w 606580"/>
                  <a:gd name="connsiteY46" fmla="*/ 78893 h 569322"/>
                  <a:gd name="connsiteX47" fmla="*/ 337744 w 606580"/>
                  <a:gd name="connsiteY47" fmla="*/ 84734 h 569322"/>
                  <a:gd name="connsiteX48" fmla="*/ 316484 w 606580"/>
                  <a:gd name="connsiteY48" fmla="*/ 56458 h 569322"/>
                  <a:gd name="connsiteX49" fmla="*/ 316484 w 606580"/>
                  <a:gd name="connsiteY49" fmla="*/ 125525 h 569322"/>
                  <a:gd name="connsiteX50" fmla="*/ 374322 w 606580"/>
                  <a:gd name="connsiteY50" fmla="*/ 155283 h 569322"/>
                  <a:gd name="connsiteX51" fmla="*/ 389733 w 606580"/>
                  <a:gd name="connsiteY51" fmla="*/ 202193 h 569322"/>
                  <a:gd name="connsiteX52" fmla="*/ 370330 w 606580"/>
                  <a:gd name="connsiteY52" fmla="*/ 255963 h 569322"/>
                  <a:gd name="connsiteX53" fmla="*/ 316484 w 606580"/>
                  <a:gd name="connsiteY53" fmla="*/ 282755 h 569322"/>
                  <a:gd name="connsiteX54" fmla="*/ 316484 w 606580"/>
                  <a:gd name="connsiteY54" fmla="*/ 315851 h 569322"/>
                  <a:gd name="connsiteX55" fmla="*/ 290861 w 606580"/>
                  <a:gd name="connsiteY55" fmla="*/ 315851 h 569322"/>
                  <a:gd name="connsiteX56" fmla="*/ 290861 w 606580"/>
                  <a:gd name="connsiteY56" fmla="*/ 283682 h 569322"/>
                  <a:gd name="connsiteX57" fmla="*/ 241193 w 606580"/>
                  <a:gd name="connsiteY57" fmla="*/ 260876 h 569322"/>
                  <a:gd name="connsiteX58" fmla="*/ 216777 w 606580"/>
                  <a:gd name="connsiteY58" fmla="*/ 207106 h 569322"/>
                  <a:gd name="connsiteX59" fmla="*/ 262917 w 606580"/>
                  <a:gd name="connsiteY59" fmla="*/ 202100 h 569322"/>
                  <a:gd name="connsiteX60" fmla="*/ 273593 w 606580"/>
                  <a:gd name="connsiteY60" fmla="*/ 226482 h 569322"/>
                  <a:gd name="connsiteX61" fmla="*/ 290861 w 606580"/>
                  <a:gd name="connsiteY61" fmla="*/ 241315 h 569322"/>
                  <a:gd name="connsiteX62" fmla="*/ 290861 w 606580"/>
                  <a:gd name="connsiteY62" fmla="*/ 167335 h 569322"/>
                  <a:gd name="connsiteX63" fmla="*/ 240079 w 606580"/>
                  <a:gd name="connsiteY63" fmla="*/ 137484 h 569322"/>
                  <a:gd name="connsiteX64" fmla="*/ 223833 w 606580"/>
                  <a:gd name="connsiteY64" fmla="*/ 88813 h 569322"/>
                  <a:gd name="connsiteX65" fmla="*/ 242214 w 606580"/>
                  <a:gd name="connsiteY65" fmla="*/ 40142 h 569322"/>
                  <a:gd name="connsiteX66" fmla="*/ 290861 w 606580"/>
                  <a:gd name="connsiteY66" fmla="*/ 17522 h 569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606580" h="569322">
                    <a:moveTo>
                      <a:pt x="171677" y="318744"/>
                    </a:moveTo>
                    <a:cubicBezTo>
                      <a:pt x="203060" y="318744"/>
                      <a:pt x="228500" y="344145"/>
                      <a:pt x="228500" y="375386"/>
                    </a:cubicBezTo>
                    <a:cubicBezTo>
                      <a:pt x="228500" y="379650"/>
                      <a:pt x="227943" y="383729"/>
                      <a:pt x="227108" y="387623"/>
                    </a:cubicBezTo>
                    <a:lnTo>
                      <a:pt x="356167" y="468739"/>
                    </a:lnTo>
                    <a:cubicBezTo>
                      <a:pt x="365916" y="460859"/>
                      <a:pt x="378172" y="455945"/>
                      <a:pt x="391728" y="455945"/>
                    </a:cubicBezTo>
                    <a:cubicBezTo>
                      <a:pt x="401849" y="455945"/>
                      <a:pt x="411227" y="458819"/>
                      <a:pt x="419490" y="463454"/>
                    </a:cubicBezTo>
                    <a:lnTo>
                      <a:pt x="497019" y="395874"/>
                    </a:lnTo>
                    <a:cubicBezTo>
                      <a:pt x="494512" y="389570"/>
                      <a:pt x="493026" y="382617"/>
                      <a:pt x="493026" y="375386"/>
                    </a:cubicBezTo>
                    <a:cubicBezTo>
                      <a:pt x="493026" y="344052"/>
                      <a:pt x="518467" y="318744"/>
                      <a:pt x="549849" y="318744"/>
                    </a:cubicBezTo>
                    <a:cubicBezTo>
                      <a:pt x="581232" y="318744"/>
                      <a:pt x="606580" y="344052"/>
                      <a:pt x="606580" y="375386"/>
                    </a:cubicBezTo>
                    <a:cubicBezTo>
                      <a:pt x="606580" y="406720"/>
                      <a:pt x="581232" y="432121"/>
                      <a:pt x="549849" y="432121"/>
                    </a:cubicBezTo>
                    <a:cubicBezTo>
                      <a:pt x="539636" y="432121"/>
                      <a:pt x="530166" y="429154"/>
                      <a:pt x="521809" y="424519"/>
                    </a:cubicBezTo>
                    <a:lnTo>
                      <a:pt x="444466" y="491915"/>
                    </a:lnTo>
                    <a:cubicBezTo>
                      <a:pt x="446973" y="498311"/>
                      <a:pt x="448459" y="505264"/>
                      <a:pt x="448459" y="512587"/>
                    </a:cubicBezTo>
                    <a:cubicBezTo>
                      <a:pt x="448459" y="543921"/>
                      <a:pt x="423111" y="569322"/>
                      <a:pt x="391728" y="569322"/>
                    </a:cubicBezTo>
                    <a:cubicBezTo>
                      <a:pt x="360345" y="569322"/>
                      <a:pt x="334905" y="543921"/>
                      <a:pt x="334905" y="512587"/>
                    </a:cubicBezTo>
                    <a:cubicBezTo>
                      <a:pt x="334905" y="508601"/>
                      <a:pt x="335369" y="504708"/>
                      <a:pt x="336112" y="500907"/>
                    </a:cubicBezTo>
                    <a:lnTo>
                      <a:pt x="206867" y="419606"/>
                    </a:lnTo>
                    <a:cubicBezTo>
                      <a:pt x="197118" y="427300"/>
                      <a:pt x="185047" y="432121"/>
                      <a:pt x="171677" y="432121"/>
                    </a:cubicBezTo>
                    <a:cubicBezTo>
                      <a:pt x="164992" y="432121"/>
                      <a:pt x="158678" y="430730"/>
                      <a:pt x="152736" y="428598"/>
                    </a:cubicBezTo>
                    <a:lnTo>
                      <a:pt x="105847" y="484498"/>
                    </a:lnTo>
                    <a:cubicBezTo>
                      <a:pt x="110676" y="492842"/>
                      <a:pt x="113554" y="502390"/>
                      <a:pt x="113554" y="512587"/>
                    </a:cubicBezTo>
                    <a:cubicBezTo>
                      <a:pt x="113554" y="543921"/>
                      <a:pt x="88206" y="569322"/>
                      <a:pt x="56823" y="569322"/>
                    </a:cubicBezTo>
                    <a:cubicBezTo>
                      <a:pt x="25441" y="569322"/>
                      <a:pt x="0" y="543921"/>
                      <a:pt x="0" y="512587"/>
                    </a:cubicBezTo>
                    <a:cubicBezTo>
                      <a:pt x="0" y="481346"/>
                      <a:pt x="25441" y="455945"/>
                      <a:pt x="56823" y="455945"/>
                    </a:cubicBezTo>
                    <a:cubicBezTo>
                      <a:pt x="63973" y="455945"/>
                      <a:pt x="70843" y="457429"/>
                      <a:pt x="77157" y="459839"/>
                    </a:cubicBezTo>
                    <a:lnTo>
                      <a:pt x="123303" y="404773"/>
                    </a:lnTo>
                    <a:cubicBezTo>
                      <a:pt x="118103" y="396152"/>
                      <a:pt x="114854" y="386232"/>
                      <a:pt x="114854" y="375386"/>
                    </a:cubicBezTo>
                    <a:cubicBezTo>
                      <a:pt x="114854" y="344145"/>
                      <a:pt x="140294" y="318744"/>
                      <a:pt x="171677" y="318744"/>
                    </a:cubicBezTo>
                    <a:close/>
                    <a:moveTo>
                      <a:pt x="316484" y="174937"/>
                    </a:moveTo>
                    <a:lnTo>
                      <a:pt x="316577" y="174991"/>
                    </a:lnTo>
                    <a:lnTo>
                      <a:pt x="316577" y="243818"/>
                    </a:lnTo>
                    <a:cubicBezTo>
                      <a:pt x="325397" y="242149"/>
                      <a:pt x="332545" y="238070"/>
                      <a:pt x="338115" y="231488"/>
                    </a:cubicBezTo>
                    <a:cubicBezTo>
                      <a:pt x="343593" y="224999"/>
                      <a:pt x="346378" y="217304"/>
                      <a:pt x="346378" y="208497"/>
                    </a:cubicBezTo>
                    <a:cubicBezTo>
                      <a:pt x="346378" y="200617"/>
                      <a:pt x="344057" y="193757"/>
                      <a:pt x="339415" y="188102"/>
                    </a:cubicBezTo>
                    <a:lnTo>
                      <a:pt x="316577" y="174991"/>
                    </a:lnTo>
                    <a:lnTo>
                      <a:pt x="316577" y="174937"/>
                    </a:lnTo>
                    <a:close/>
                    <a:moveTo>
                      <a:pt x="290954" y="55995"/>
                    </a:moveTo>
                    <a:cubicBezTo>
                      <a:pt x="283991" y="58312"/>
                      <a:pt x="278421" y="62299"/>
                      <a:pt x="274243" y="67954"/>
                    </a:cubicBezTo>
                    <a:cubicBezTo>
                      <a:pt x="270158" y="73609"/>
                      <a:pt x="268116" y="79913"/>
                      <a:pt x="268116" y="86681"/>
                    </a:cubicBezTo>
                    <a:cubicBezTo>
                      <a:pt x="268116" y="92892"/>
                      <a:pt x="269973" y="98732"/>
                      <a:pt x="273779" y="104109"/>
                    </a:cubicBezTo>
                    <a:cubicBezTo>
                      <a:pt x="277493" y="109394"/>
                      <a:pt x="283249" y="113751"/>
                      <a:pt x="290954" y="117088"/>
                    </a:cubicBezTo>
                    <a:close/>
                    <a:moveTo>
                      <a:pt x="290861" y="0"/>
                    </a:moveTo>
                    <a:lnTo>
                      <a:pt x="316484" y="0"/>
                    </a:lnTo>
                    <a:lnTo>
                      <a:pt x="316484" y="17522"/>
                    </a:lnTo>
                    <a:cubicBezTo>
                      <a:pt x="335237" y="19747"/>
                      <a:pt x="350184" y="26143"/>
                      <a:pt x="361232" y="36619"/>
                    </a:cubicBezTo>
                    <a:cubicBezTo>
                      <a:pt x="372280" y="47188"/>
                      <a:pt x="379428" y="61279"/>
                      <a:pt x="382492" y="78893"/>
                    </a:cubicBezTo>
                    <a:lnTo>
                      <a:pt x="337744" y="84734"/>
                    </a:lnTo>
                    <a:cubicBezTo>
                      <a:pt x="335052" y="70828"/>
                      <a:pt x="327903" y="61464"/>
                      <a:pt x="316484" y="56458"/>
                    </a:cubicBezTo>
                    <a:lnTo>
                      <a:pt x="316484" y="125525"/>
                    </a:lnTo>
                    <a:cubicBezTo>
                      <a:pt x="344800" y="133219"/>
                      <a:pt x="364110" y="143139"/>
                      <a:pt x="374322" y="155283"/>
                    </a:cubicBezTo>
                    <a:cubicBezTo>
                      <a:pt x="384534" y="167428"/>
                      <a:pt x="389733" y="183095"/>
                      <a:pt x="389733" y="202193"/>
                    </a:cubicBezTo>
                    <a:cubicBezTo>
                      <a:pt x="389733" y="223423"/>
                      <a:pt x="383234" y="241408"/>
                      <a:pt x="370330" y="255963"/>
                    </a:cubicBezTo>
                    <a:cubicBezTo>
                      <a:pt x="357426" y="270610"/>
                      <a:pt x="339508" y="279510"/>
                      <a:pt x="316484" y="282755"/>
                    </a:cubicBezTo>
                    <a:lnTo>
                      <a:pt x="316484" y="315851"/>
                    </a:lnTo>
                    <a:lnTo>
                      <a:pt x="290861" y="315851"/>
                    </a:lnTo>
                    <a:lnTo>
                      <a:pt x="290861" y="283682"/>
                    </a:lnTo>
                    <a:cubicBezTo>
                      <a:pt x="270530" y="281179"/>
                      <a:pt x="253912" y="273577"/>
                      <a:pt x="241193" y="260876"/>
                    </a:cubicBezTo>
                    <a:cubicBezTo>
                      <a:pt x="228475" y="248175"/>
                      <a:pt x="220398" y="230283"/>
                      <a:pt x="216777" y="207106"/>
                    </a:cubicBezTo>
                    <a:lnTo>
                      <a:pt x="262917" y="202100"/>
                    </a:lnTo>
                    <a:cubicBezTo>
                      <a:pt x="264867" y="211556"/>
                      <a:pt x="268395" y="219714"/>
                      <a:pt x="273593" y="226482"/>
                    </a:cubicBezTo>
                    <a:cubicBezTo>
                      <a:pt x="278792" y="233342"/>
                      <a:pt x="284548" y="238256"/>
                      <a:pt x="290861" y="241315"/>
                    </a:cubicBezTo>
                    <a:lnTo>
                      <a:pt x="290861" y="167335"/>
                    </a:lnTo>
                    <a:cubicBezTo>
                      <a:pt x="267745" y="160753"/>
                      <a:pt x="250848" y="150834"/>
                      <a:pt x="240079" y="137484"/>
                    </a:cubicBezTo>
                    <a:cubicBezTo>
                      <a:pt x="229310" y="124041"/>
                      <a:pt x="223833" y="107910"/>
                      <a:pt x="223833" y="88813"/>
                    </a:cubicBezTo>
                    <a:cubicBezTo>
                      <a:pt x="223833" y="69530"/>
                      <a:pt x="229960" y="53306"/>
                      <a:pt x="242214" y="40142"/>
                    </a:cubicBezTo>
                    <a:cubicBezTo>
                      <a:pt x="254376" y="27070"/>
                      <a:pt x="270623" y="19468"/>
                      <a:pt x="290861" y="17522"/>
                    </a:cubicBezTo>
                    <a:close/>
                  </a:path>
                </a:pathLst>
              </a:custGeom>
              <a:solidFill>
                <a:schemeClr val="bg1"/>
              </a:solidFill>
              <a:ln w="9525">
                <a:noFill/>
                <a:round/>
              </a:ln>
            </p:spPr>
            <p:txBody>
              <a:bodyPr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grpSp>
        <p:grpSp>
          <p:nvGrpSpPr>
            <p:cNvPr id="12" name="íṡlîḓe">
              <a:extLst>
                <a:ext uri="{FF2B5EF4-FFF2-40B4-BE49-F238E27FC236}">
                  <a16:creationId xmlns:a16="http://schemas.microsoft.com/office/drawing/2014/main" id="{4752713A-709A-48F9-8D2D-52B6DD272099}"/>
                </a:ext>
              </a:extLst>
            </p:cNvPr>
            <p:cNvGrpSpPr/>
            <p:nvPr/>
          </p:nvGrpSpPr>
          <p:grpSpPr>
            <a:xfrm>
              <a:off x="8880679" y="3968197"/>
              <a:ext cx="823158" cy="823150"/>
              <a:chOff x="3277103" y="2131962"/>
              <a:chExt cx="671155" cy="671150"/>
            </a:xfrm>
          </p:grpSpPr>
          <p:sp>
            <p:nvSpPr>
              <p:cNvPr id="43" name="ïṩ1iḍê">
                <a:extLst>
                  <a:ext uri="{FF2B5EF4-FFF2-40B4-BE49-F238E27FC236}">
                    <a16:creationId xmlns:a16="http://schemas.microsoft.com/office/drawing/2014/main" id="{31175D57-739B-4116-97C0-28F6172C8DF2}"/>
                  </a:ext>
                </a:extLst>
              </p:cNvPr>
              <p:cNvSpPr/>
              <p:nvPr/>
            </p:nvSpPr>
            <p:spPr>
              <a:xfrm>
                <a:off x="3277103" y="2131962"/>
                <a:ext cx="671155" cy="671150"/>
              </a:xfrm>
              <a:prstGeom prst="ellipse">
                <a:avLst/>
              </a:prstGeom>
              <a:solidFill>
                <a:schemeClr val="accent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a:p>
            </p:txBody>
          </p:sp>
          <p:sp>
            <p:nvSpPr>
              <p:cNvPr id="44" name="íṡḷíďè">
                <a:extLst>
                  <a:ext uri="{FF2B5EF4-FFF2-40B4-BE49-F238E27FC236}">
                    <a16:creationId xmlns:a16="http://schemas.microsoft.com/office/drawing/2014/main" id="{15354FD7-97F4-4A87-A400-A5FAFA12F734}"/>
                  </a:ext>
                </a:extLst>
              </p:cNvPr>
              <p:cNvSpPr/>
              <p:nvPr/>
            </p:nvSpPr>
            <p:spPr bwMode="auto">
              <a:xfrm>
                <a:off x="3467769" y="2342092"/>
                <a:ext cx="289626" cy="271835"/>
              </a:xfrm>
              <a:custGeom>
                <a:avLst/>
                <a:gdLst>
                  <a:gd name="connsiteX0" fmla="*/ 171677 w 606580"/>
                  <a:gd name="connsiteY0" fmla="*/ 318744 h 569322"/>
                  <a:gd name="connsiteX1" fmla="*/ 228500 w 606580"/>
                  <a:gd name="connsiteY1" fmla="*/ 375386 h 569322"/>
                  <a:gd name="connsiteX2" fmla="*/ 227108 w 606580"/>
                  <a:gd name="connsiteY2" fmla="*/ 387623 h 569322"/>
                  <a:gd name="connsiteX3" fmla="*/ 356167 w 606580"/>
                  <a:gd name="connsiteY3" fmla="*/ 468739 h 569322"/>
                  <a:gd name="connsiteX4" fmla="*/ 391728 w 606580"/>
                  <a:gd name="connsiteY4" fmla="*/ 455945 h 569322"/>
                  <a:gd name="connsiteX5" fmla="*/ 419490 w 606580"/>
                  <a:gd name="connsiteY5" fmla="*/ 463454 h 569322"/>
                  <a:gd name="connsiteX6" fmla="*/ 497019 w 606580"/>
                  <a:gd name="connsiteY6" fmla="*/ 395874 h 569322"/>
                  <a:gd name="connsiteX7" fmla="*/ 493026 w 606580"/>
                  <a:gd name="connsiteY7" fmla="*/ 375386 h 569322"/>
                  <a:gd name="connsiteX8" fmla="*/ 549849 w 606580"/>
                  <a:gd name="connsiteY8" fmla="*/ 318744 h 569322"/>
                  <a:gd name="connsiteX9" fmla="*/ 606580 w 606580"/>
                  <a:gd name="connsiteY9" fmla="*/ 375386 h 569322"/>
                  <a:gd name="connsiteX10" fmla="*/ 549849 w 606580"/>
                  <a:gd name="connsiteY10" fmla="*/ 432121 h 569322"/>
                  <a:gd name="connsiteX11" fmla="*/ 521809 w 606580"/>
                  <a:gd name="connsiteY11" fmla="*/ 424519 h 569322"/>
                  <a:gd name="connsiteX12" fmla="*/ 444466 w 606580"/>
                  <a:gd name="connsiteY12" fmla="*/ 491915 h 569322"/>
                  <a:gd name="connsiteX13" fmla="*/ 448459 w 606580"/>
                  <a:gd name="connsiteY13" fmla="*/ 512587 h 569322"/>
                  <a:gd name="connsiteX14" fmla="*/ 391728 w 606580"/>
                  <a:gd name="connsiteY14" fmla="*/ 569322 h 569322"/>
                  <a:gd name="connsiteX15" fmla="*/ 334905 w 606580"/>
                  <a:gd name="connsiteY15" fmla="*/ 512587 h 569322"/>
                  <a:gd name="connsiteX16" fmla="*/ 336112 w 606580"/>
                  <a:gd name="connsiteY16" fmla="*/ 500907 h 569322"/>
                  <a:gd name="connsiteX17" fmla="*/ 206867 w 606580"/>
                  <a:gd name="connsiteY17" fmla="*/ 419606 h 569322"/>
                  <a:gd name="connsiteX18" fmla="*/ 171677 w 606580"/>
                  <a:gd name="connsiteY18" fmla="*/ 432121 h 569322"/>
                  <a:gd name="connsiteX19" fmla="*/ 152736 w 606580"/>
                  <a:gd name="connsiteY19" fmla="*/ 428598 h 569322"/>
                  <a:gd name="connsiteX20" fmla="*/ 105847 w 606580"/>
                  <a:gd name="connsiteY20" fmla="*/ 484498 h 569322"/>
                  <a:gd name="connsiteX21" fmla="*/ 113554 w 606580"/>
                  <a:gd name="connsiteY21" fmla="*/ 512587 h 569322"/>
                  <a:gd name="connsiteX22" fmla="*/ 56823 w 606580"/>
                  <a:gd name="connsiteY22" fmla="*/ 569322 h 569322"/>
                  <a:gd name="connsiteX23" fmla="*/ 0 w 606580"/>
                  <a:gd name="connsiteY23" fmla="*/ 512587 h 569322"/>
                  <a:gd name="connsiteX24" fmla="*/ 56823 w 606580"/>
                  <a:gd name="connsiteY24" fmla="*/ 455945 h 569322"/>
                  <a:gd name="connsiteX25" fmla="*/ 77157 w 606580"/>
                  <a:gd name="connsiteY25" fmla="*/ 459839 h 569322"/>
                  <a:gd name="connsiteX26" fmla="*/ 123303 w 606580"/>
                  <a:gd name="connsiteY26" fmla="*/ 404773 h 569322"/>
                  <a:gd name="connsiteX27" fmla="*/ 114854 w 606580"/>
                  <a:gd name="connsiteY27" fmla="*/ 375386 h 569322"/>
                  <a:gd name="connsiteX28" fmla="*/ 171677 w 606580"/>
                  <a:gd name="connsiteY28" fmla="*/ 318744 h 569322"/>
                  <a:gd name="connsiteX29" fmla="*/ 316484 w 606580"/>
                  <a:gd name="connsiteY29" fmla="*/ 174937 h 569322"/>
                  <a:gd name="connsiteX30" fmla="*/ 316577 w 606580"/>
                  <a:gd name="connsiteY30" fmla="*/ 174991 h 569322"/>
                  <a:gd name="connsiteX31" fmla="*/ 316577 w 606580"/>
                  <a:gd name="connsiteY31" fmla="*/ 243818 h 569322"/>
                  <a:gd name="connsiteX32" fmla="*/ 338115 w 606580"/>
                  <a:gd name="connsiteY32" fmla="*/ 231488 h 569322"/>
                  <a:gd name="connsiteX33" fmla="*/ 346378 w 606580"/>
                  <a:gd name="connsiteY33" fmla="*/ 208497 h 569322"/>
                  <a:gd name="connsiteX34" fmla="*/ 339415 w 606580"/>
                  <a:gd name="connsiteY34" fmla="*/ 188102 h 569322"/>
                  <a:gd name="connsiteX35" fmla="*/ 316577 w 606580"/>
                  <a:gd name="connsiteY35" fmla="*/ 174991 h 569322"/>
                  <a:gd name="connsiteX36" fmla="*/ 316577 w 606580"/>
                  <a:gd name="connsiteY36" fmla="*/ 174937 h 569322"/>
                  <a:gd name="connsiteX37" fmla="*/ 290954 w 606580"/>
                  <a:gd name="connsiteY37" fmla="*/ 55995 h 569322"/>
                  <a:gd name="connsiteX38" fmla="*/ 274243 w 606580"/>
                  <a:gd name="connsiteY38" fmla="*/ 67954 h 569322"/>
                  <a:gd name="connsiteX39" fmla="*/ 268116 w 606580"/>
                  <a:gd name="connsiteY39" fmla="*/ 86681 h 569322"/>
                  <a:gd name="connsiteX40" fmla="*/ 273779 w 606580"/>
                  <a:gd name="connsiteY40" fmla="*/ 104109 h 569322"/>
                  <a:gd name="connsiteX41" fmla="*/ 290954 w 606580"/>
                  <a:gd name="connsiteY41" fmla="*/ 117088 h 569322"/>
                  <a:gd name="connsiteX42" fmla="*/ 290861 w 606580"/>
                  <a:gd name="connsiteY42" fmla="*/ 0 h 569322"/>
                  <a:gd name="connsiteX43" fmla="*/ 316484 w 606580"/>
                  <a:gd name="connsiteY43" fmla="*/ 0 h 569322"/>
                  <a:gd name="connsiteX44" fmla="*/ 316484 w 606580"/>
                  <a:gd name="connsiteY44" fmla="*/ 17522 h 569322"/>
                  <a:gd name="connsiteX45" fmla="*/ 361232 w 606580"/>
                  <a:gd name="connsiteY45" fmla="*/ 36619 h 569322"/>
                  <a:gd name="connsiteX46" fmla="*/ 382492 w 606580"/>
                  <a:gd name="connsiteY46" fmla="*/ 78893 h 569322"/>
                  <a:gd name="connsiteX47" fmla="*/ 337744 w 606580"/>
                  <a:gd name="connsiteY47" fmla="*/ 84734 h 569322"/>
                  <a:gd name="connsiteX48" fmla="*/ 316484 w 606580"/>
                  <a:gd name="connsiteY48" fmla="*/ 56458 h 569322"/>
                  <a:gd name="connsiteX49" fmla="*/ 316484 w 606580"/>
                  <a:gd name="connsiteY49" fmla="*/ 125525 h 569322"/>
                  <a:gd name="connsiteX50" fmla="*/ 374322 w 606580"/>
                  <a:gd name="connsiteY50" fmla="*/ 155283 h 569322"/>
                  <a:gd name="connsiteX51" fmla="*/ 389733 w 606580"/>
                  <a:gd name="connsiteY51" fmla="*/ 202193 h 569322"/>
                  <a:gd name="connsiteX52" fmla="*/ 370330 w 606580"/>
                  <a:gd name="connsiteY52" fmla="*/ 255963 h 569322"/>
                  <a:gd name="connsiteX53" fmla="*/ 316484 w 606580"/>
                  <a:gd name="connsiteY53" fmla="*/ 282755 h 569322"/>
                  <a:gd name="connsiteX54" fmla="*/ 316484 w 606580"/>
                  <a:gd name="connsiteY54" fmla="*/ 315851 h 569322"/>
                  <a:gd name="connsiteX55" fmla="*/ 290861 w 606580"/>
                  <a:gd name="connsiteY55" fmla="*/ 315851 h 569322"/>
                  <a:gd name="connsiteX56" fmla="*/ 290861 w 606580"/>
                  <a:gd name="connsiteY56" fmla="*/ 283682 h 569322"/>
                  <a:gd name="connsiteX57" fmla="*/ 241193 w 606580"/>
                  <a:gd name="connsiteY57" fmla="*/ 260876 h 569322"/>
                  <a:gd name="connsiteX58" fmla="*/ 216777 w 606580"/>
                  <a:gd name="connsiteY58" fmla="*/ 207106 h 569322"/>
                  <a:gd name="connsiteX59" fmla="*/ 262917 w 606580"/>
                  <a:gd name="connsiteY59" fmla="*/ 202100 h 569322"/>
                  <a:gd name="connsiteX60" fmla="*/ 273593 w 606580"/>
                  <a:gd name="connsiteY60" fmla="*/ 226482 h 569322"/>
                  <a:gd name="connsiteX61" fmla="*/ 290861 w 606580"/>
                  <a:gd name="connsiteY61" fmla="*/ 241315 h 569322"/>
                  <a:gd name="connsiteX62" fmla="*/ 290861 w 606580"/>
                  <a:gd name="connsiteY62" fmla="*/ 167335 h 569322"/>
                  <a:gd name="connsiteX63" fmla="*/ 240079 w 606580"/>
                  <a:gd name="connsiteY63" fmla="*/ 137484 h 569322"/>
                  <a:gd name="connsiteX64" fmla="*/ 223833 w 606580"/>
                  <a:gd name="connsiteY64" fmla="*/ 88813 h 569322"/>
                  <a:gd name="connsiteX65" fmla="*/ 242214 w 606580"/>
                  <a:gd name="connsiteY65" fmla="*/ 40142 h 569322"/>
                  <a:gd name="connsiteX66" fmla="*/ 290861 w 606580"/>
                  <a:gd name="connsiteY66" fmla="*/ 17522 h 569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606580" h="569322">
                    <a:moveTo>
                      <a:pt x="171677" y="318744"/>
                    </a:moveTo>
                    <a:cubicBezTo>
                      <a:pt x="203060" y="318744"/>
                      <a:pt x="228500" y="344145"/>
                      <a:pt x="228500" y="375386"/>
                    </a:cubicBezTo>
                    <a:cubicBezTo>
                      <a:pt x="228500" y="379650"/>
                      <a:pt x="227943" y="383729"/>
                      <a:pt x="227108" y="387623"/>
                    </a:cubicBezTo>
                    <a:lnTo>
                      <a:pt x="356167" y="468739"/>
                    </a:lnTo>
                    <a:cubicBezTo>
                      <a:pt x="365916" y="460859"/>
                      <a:pt x="378172" y="455945"/>
                      <a:pt x="391728" y="455945"/>
                    </a:cubicBezTo>
                    <a:cubicBezTo>
                      <a:pt x="401849" y="455945"/>
                      <a:pt x="411227" y="458819"/>
                      <a:pt x="419490" y="463454"/>
                    </a:cubicBezTo>
                    <a:lnTo>
                      <a:pt x="497019" y="395874"/>
                    </a:lnTo>
                    <a:cubicBezTo>
                      <a:pt x="494512" y="389570"/>
                      <a:pt x="493026" y="382617"/>
                      <a:pt x="493026" y="375386"/>
                    </a:cubicBezTo>
                    <a:cubicBezTo>
                      <a:pt x="493026" y="344052"/>
                      <a:pt x="518467" y="318744"/>
                      <a:pt x="549849" y="318744"/>
                    </a:cubicBezTo>
                    <a:cubicBezTo>
                      <a:pt x="581232" y="318744"/>
                      <a:pt x="606580" y="344052"/>
                      <a:pt x="606580" y="375386"/>
                    </a:cubicBezTo>
                    <a:cubicBezTo>
                      <a:pt x="606580" y="406720"/>
                      <a:pt x="581232" y="432121"/>
                      <a:pt x="549849" y="432121"/>
                    </a:cubicBezTo>
                    <a:cubicBezTo>
                      <a:pt x="539636" y="432121"/>
                      <a:pt x="530166" y="429154"/>
                      <a:pt x="521809" y="424519"/>
                    </a:cubicBezTo>
                    <a:lnTo>
                      <a:pt x="444466" y="491915"/>
                    </a:lnTo>
                    <a:cubicBezTo>
                      <a:pt x="446973" y="498311"/>
                      <a:pt x="448459" y="505264"/>
                      <a:pt x="448459" y="512587"/>
                    </a:cubicBezTo>
                    <a:cubicBezTo>
                      <a:pt x="448459" y="543921"/>
                      <a:pt x="423111" y="569322"/>
                      <a:pt x="391728" y="569322"/>
                    </a:cubicBezTo>
                    <a:cubicBezTo>
                      <a:pt x="360345" y="569322"/>
                      <a:pt x="334905" y="543921"/>
                      <a:pt x="334905" y="512587"/>
                    </a:cubicBezTo>
                    <a:cubicBezTo>
                      <a:pt x="334905" y="508601"/>
                      <a:pt x="335369" y="504708"/>
                      <a:pt x="336112" y="500907"/>
                    </a:cubicBezTo>
                    <a:lnTo>
                      <a:pt x="206867" y="419606"/>
                    </a:lnTo>
                    <a:cubicBezTo>
                      <a:pt x="197118" y="427300"/>
                      <a:pt x="185047" y="432121"/>
                      <a:pt x="171677" y="432121"/>
                    </a:cubicBezTo>
                    <a:cubicBezTo>
                      <a:pt x="164992" y="432121"/>
                      <a:pt x="158678" y="430730"/>
                      <a:pt x="152736" y="428598"/>
                    </a:cubicBezTo>
                    <a:lnTo>
                      <a:pt x="105847" y="484498"/>
                    </a:lnTo>
                    <a:cubicBezTo>
                      <a:pt x="110676" y="492842"/>
                      <a:pt x="113554" y="502390"/>
                      <a:pt x="113554" y="512587"/>
                    </a:cubicBezTo>
                    <a:cubicBezTo>
                      <a:pt x="113554" y="543921"/>
                      <a:pt x="88206" y="569322"/>
                      <a:pt x="56823" y="569322"/>
                    </a:cubicBezTo>
                    <a:cubicBezTo>
                      <a:pt x="25441" y="569322"/>
                      <a:pt x="0" y="543921"/>
                      <a:pt x="0" y="512587"/>
                    </a:cubicBezTo>
                    <a:cubicBezTo>
                      <a:pt x="0" y="481346"/>
                      <a:pt x="25441" y="455945"/>
                      <a:pt x="56823" y="455945"/>
                    </a:cubicBezTo>
                    <a:cubicBezTo>
                      <a:pt x="63973" y="455945"/>
                      <a:pt x="70843" y="457429"/>
                      <a:pt x="77157" y="459839"/>
                    </a:cubicBezTo>
                    <a:lnTo>
                      <a:pt x="123303" y="404773"/>
                    </a:lnTo>
                    <a:cubicBezTo>
                      <a:pt x="118103" y="396152"/>
                      <a:pt x="114854" y="386232"/>
                      <a:pt x="114854" y="375386"/>
                    </a:cubicBezTo>
                    <a:cubicBezTo>
                      <a:pt x="114854" y="344145"/>
                      <a:pt x="140294" y="318744"/>
                      <a:pt x="171677" y="318744"/>
                    </a:cubicBezTo>
                    <a:close/>
                    <a:moveTo>
                      <a:pt x="316484" y="174937"/>
                    </a:moveTo>
                    <a:lnTo>
                      <a:pt x="316577" y="174991"/>
                    </a:lnTo>
                    <a:lnTo>
                      <a:pt x="316577" y="243818"/>
                    </a:lnTo>
                    <a:cubicBezTo>
                      <a:pt x="325397" y="242149"/>
                      <a:pt x="332545" y="238070"/>
                      <a:pt x="338115" y="231488"/>
                    </a:cubicBezTo>
                    <a:cubicBezTo>
                      <a:pt x="343593" y="224999"/>
                      <a:pt x="346378" y="217304"/>
                      <a:pt x="346378" y="208497"/>
                    </a:cubicBezTo>
                    <a:cubicBezTo>
                      <a:pt x="346378" y="200617"/>
                      <a:pt x="344057" y="193757"/>
                      <a:pt x="339415" y="188102"/>
                    </a:cubicBezTo>
                    <a:lnTo>
                      <a:pt x="316577" y="174991"/>
                    </a:lnTo>
                    <a:lnTo>
                      <a:pt x="316577" y="174937"/>
                    </a:lnTo>
                    <a:close/>
                    <a:moveTo>
                      <a:pt x="290954" y="55995"/>
                    </a:moveTo>
                    <a:cubicBezTo>
                      <a:pt x="283991" y="58312"/>
                      <a:pt x="278421" y="62299"/>
                      <a:pt x="274243" y="67954"/>
                    </a:cubicBezTo>
                    <a:cubicBezTo>
                      <a:pt x="270158" y="73609"/>
                      <a:pt x="268116" y="79913"/>
                      <a:pt x="268116" y="86681"/>
                    </a:cubicBezTo>
                    <a:cubicBezTo>
                      <a:pt x="268116" y="92892"/>
                      <a:pt x="269973" y="98732"/>
                      <a:pt x="273779" y="104109"/>
                    </a:cubicBezTo>
                    <a:cubicBezTo>
                      <a:pt x="277493" y="109394"/>
                      <a:pt x="283249" y="113751"/>
                      <a:pt x="290954" y="117088"/>
                    </a:cubicBezTo>
                    <a:close/>
                    <a:moveTo>
                      <a:pt x="290861" y="0"/>
                    </a:moveTo>
                    <a:lnTo>
                      <a:pt x="316484" y="0"/>
                    </a:lnTo>
                    <a:lnTo>
                      <a:pt x="316484" y="17522"/>
                    </a:lnTo>
                    <a:cubicBezTo>
                      <a:pt x="335237" y="19747"/>
                      <a:pt x="350184" y="26143"/>
                      <a:pt x="361232" y="36619"/>
                    </a:cubicBezTo>
                    <a:cubicBezTo>
                      <a:pt x="372280" y="47188"/>
                      <a:pt x="379428" y="61279"/>
                      <a:pt x="382492" y="78893"/>
                    </a:cubicBezTo>
                    <a:lnTo>
                      <a:pt x="337744" y="84734"/>
                    </a:lnTo>
                    <a:cubicBezTo>
                      <a:pt x="335052" y="70828"/>
                      <a:pt x="327903" y="61464"/>
                      <a:pt x="316484" y="56458"/>
                    </a:cubicBezTo>
                    <a:lnTo>
                      <a:pt x="316484" y="125525"/>
                    </a:lnTo>
                    <a:cubicBezTo>
                      <a:pt x="344800" y="133219"/>
                      <a:pt x="364110" y="143139"/>
                      <a:pt x="374322" y="155283"/>
                    </a:cubicBezTo>
                    <a:cubicBezTo>
                      <a:pt x="384534" y="167428"/>
                      <a:pt x="389733" y="183095"/>
                      <a:pt x="389733" y="202193"/>
                    </a:cubicBezTo>
                    <a:cubicBezTo>
                      <a:pt x="389733" y="223423"/>
                      <a:pt x="383234" y="241408"/>
                      <a:pt x="370330" y="255963"/>
                    </a:cubicBezTo>
                    <a:cubicBezTo>
                      <a:pt x="357426" y="270610"/>
                      <a:pt x="339508" y="279510"/>
                      <a:pt x="316484" y="282755"/>
                    </a:cubicBezTo>
                    <a:lnTo>
                      <a:pt x="316484" y="315851"/>
                    </a:lnTo>
                    <a:lnTo>
                      <a:pt x="290861" y="315851"/>
                    </a:lnTo>
                    <a:lnTo>
                      <a:pt x="290861" y="283682"/>
                    </a:lnTo>
                    <a:cubicBezTo>
                      <a:pt x="270530" y="281179"/>
                      <a:pt x="253912" y="273577"/>
                      <a:pt x="241193" y="260876"/>
                    </a:cubicBezTo>
                    <a:cubicBezTo>
                      <a:pt x="228475" y="248175"/>
                      <a:pt x="220398" y="230283"/>
                      <a:pt x="216777" y="207106"/>
                    </a:cubicBezTo>
                    <a:lnTo>
                      <a:pt x="262917" y="202100"/>
                    </a:lnTo>
                    <a:cubicBezTo>
                      <a:pt x="264867" y="211556"/>
                      <a:pt x="268395" y="219714"/>
                      <a:pt x="273593" y="226482"/>
                    </a:cubicBezTo>
                    <a:cubicBezTo>
                      <a:pt x="278792" y="233342"/>
                      <a:pt x="284548" y="238256"/>
                      <a:pt x="290861" y="241315"/>
                    </a:cubicBezTo>
                    <a:lnTo>
                      <a:pt x="290861" y="167335"/>
                    </a:lnTo>
                    <a:cubicBezTo>
                      <a:pt x="267745" y="160753"/>
                      <a:pt x="250848" y="150834"/>
                      <a:pt x="240079" y="137484"/>
                    </a:cubicBezTo>
                    <a:cubicBezTo>
                      <a:pt x="229310" y="124041"/>
                      <a:pt x="223833" y="107910"/>
                      <a:pt x="223833" y="88813"/>
                    </a:cubicBezTo>
                    <a:cubicBezTo>
                      <a:pt x="223833" y="69530"/>
                      <a:pt x="229960" y="53306"/>
                      <a:pt x="242214" y="40142"/>
                    </a:cubicBezTo>
                    <a:cubicBezTo>
                      <a:pt x="254376" y="27070"/>
                      <a:pt x="270623" y="19468"/>
                      <a:pt x="290861" y="17522"/>
                    </a:cubicBezTo>
                    <a:close/>
                  </a:path>
                </a:pathLst>
              </a:custGeom>
              <a:solidFill>
                <a:schemeClr val="bg1"/>
              </a:solidFill>
              <a:ln w="9525">
                <a:noFill/>
                <a:round/>
              </a:ln>
            </p:spPr>
            <p:txBody>
              <a:bodyPr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grpSp>
        <p:grpSp>
          <p:nvGrpSpPr>
            <p:cNvPr id="13" name="îš1îḋe">
              <a:extLst>
                <a:ext uri="{FF2B5EF4-FFF2-40B4-BE49-F238E27FC236}">
                  <a16:creationId xmlns:a16="http://schemas.microsoft.com/office/drawing/2014/main" id="{4CF50C20-AF10-4F05-AA01-6318E1AB6596}"/>
                </a:ext>
              </a:extLst>
            </p:cNvPr>
            <p:cNvGrpSpPr/>
            <p:nvPr/>
          </p:nvGrpSpPr>
          <p:grpSpPr>
            <a:xfrm rot="5400000">
              <a:off x="4154102" y="2725919"/>
              <a:ext cx="232670" cy="232722"/>
              <a:chOff x="4022045" y="3355851"/>
              <a:chExt cx="311828" cy="311898"/>
            </a:xfrm>
          </p:grpSpPr>
          <p:sp>
            <p:nvSpPr>
              <p:cNvPr id="41" name="íślîḋe">
                <a:extLst>
                  <a:ext uri="{FF2B5EF4-FFF2-40B4-BE49-F238E27FC236}">
                    <a16:creationId xmlns:a16="http://schemas.microsoft.com/office/drawing/2014/main" id="{5978135D-2857-4F40-894F-AC3701DFB8D5}"/>
                  </a:ext>
                </a:extLst>
              </p:cNvPr>
              <p:cNvSpPr/>
              <p:nvPr/>
            </p:nvSpPr>
            <p:spPr>
              <a:xfrm>
                <a:off x="4022045" y="3355851"/>
                <a:ext cx="311828" cy="311898"/>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endParaRPr lang="zh-CN" altLang="en-US" sz="1100" b="1" dirty="0">
                  <a:solidFill>
                    <a:schemeClr val="accent6"/>
                  </a:solidFill>
                </a:endParaRPr>
              </a:p>
            </p:txBody>
          </p:sp>
          <p:sp>
            <p:nvSpPr>
              <p:cNvPr id="42" name="iṡļïdé">
                <a:extLst>
                  <a:ext uri="{FF2B5EF4-FFF2-40B4-BE49-F238E27FC236}">
                    <a16:creationId xmlns:a16="http://schemas.microsoft.com/office/drawing/2014/main" id="{2A6DFB14-218B-42B2-B13B-880BDF8C3B66}"/>
                  </a:ext>
                </a:extLst>
              </p:cNvPr>
              <p:cNvSpPr/>
              <p:nvPr/>
            </p:nvSpPr>
            <p:spPr>
              <a:xfrm rot="14465213">
                <a:off x="4087880" y="3453532"/>
                <a:ext cx="136730" cy="136732"/>
              </a:xfrm>
              <a:prstGeom prst="flowChartExtra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p>
                <a:pPr algn="ctr"/>
                <a:endParaRPr lang="zh-CN" altLang="en-US"/>
              </a:p>
            </p:txBody>
          </p:sp>
        </p:grpSp>
        <p:grpSp>
          <p:nvGrpSpPr>
            <p:cNvPr id="14" name="íṡļïḋé">
              <a:extLst>
                <a:ext uri="{FF2B5EF4-FFF2-40B4-BE49-F238E27FC236}">
                  <a16:creationId xmlns:a16="http://schemas.microsoft.com/office/drawing/2014/main" id="{723B1A66-B5A8-405D-9EEC-EFB475F45841}"/>
                </a:ext>
              </a:extLst>
            </p:cNvPr>
            <p:cNvGrpSpPr/>
            <p:nvPr/>
          </p:nvGrpSpPr>
          <p:grpSpPr>
            <a:xfrm rot="5400000">
              <a:off x="7577794" y="2725919"/>
              <a:ext cx="232670" cy="232722"/>
              <a:chOff x="4022045" y="3355851"/>
              <a:chExt cx="311828" cy="311898"/>
            </a:xfrm>
          </p:grpSpPr>
          <p:sp>
            <p:nvSpPr>
              <p:cNvPr id="39" name="ïṧḷîḓè">
                <a:extLst>
                  <a:ext uri="{FF2B5EF4-FFF2-40B4-BE49-F238E27FC236}">
                    <a16:creationId xmlns:a16="http://schemas.microsoft.com/office/drawing/2014/main" id="{1E5253FD-99EA-45FC-8623-8AD80267CF09}"/>
                  </a:ext>
                </a:extLst>
              </p:cNvPr>
              <p:cNvSpPr/>
              <p:nvPr/>
            </p:nvSpPr>
            <p:spPr>
              <a:xfrm>
                <a:off x="4022045" y="3355851"/>
                <a:ext cx="311828" cy="311898"/>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endParaRPr lang="zh-CN" altLang="en-US" sz="1100" b="1" dirty="0">
                  <a:solidFill>
                    <a:schemeClr val="accent6"/>
                  </a:solidFill>
                </a:endParaRPr>
              </a:p>
            </p:txBody>
          </p:sp>
          <p:sp>
            <p:nvSpPr>
              <p:cNvPr id="40" name="í$lïḍê">
                <a:extLst>
                  <a:ext uri="{FF2B5EF4-FFF2-40B4-BE49-F238E27FC236}">
                    <a16:creationId xmlns:a16="http://schemas.microsoft.com/office/drawing/2014/main" id="{35159045-7939-4371-B270-FBDFF04CCA3D}"/>
                  </a:ext>
                </a:extLst>
              </p:cNvPr>
              <p:cNvSpPr/>
              <p:nvPr/>
            </p:nvSpPr>
            <p:spPr>
              <a:xfrm rot="14465213">
                <a:off x="4087880" y="3453532"/>
                <a:ext cx="136730" cy="136732"/>
              </a:xfrm>
              <a:prstGeom prst="flowChartExtra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p>
                <a:pPr algn="ctr"/>
                <a:endParaRPr lang="zh-CN" altLang="en-US"/>
              </a:p>
            </p:txBody>
          </p:sp>
        </p:grpSp>
        <p:grpSp>
          <p:nvGrpSpPr>
            <p:cNvPr id="15" name="îṥḻîďe">
              <a:extLst>
                <a:ext uri="{FF2B5EF4-FFF2-40B4-BE49-F238E27FC236}">
                  <a16:creationId xmlns:a16="http://schemas.microsoft.com/office/drawing/2014/main" id="{8AD740A2-CBF1-4BCC-B1EC-55D709E49B2B}"/>
                </a:ext>
              </a:extLst>
            </p:cNvPr>
            <p:cNvGrpSpPr/>
            <p:nvPr/>
          </p:nvGrpSpPr>
          <p:grpSpPr>
            <a:xfrm rot="16200000" flipH="1">
              <a:off x="7567696" y="4299093"/>
              <a:ext cx="232670" cy="232722"/>
              <a:chOff x="4022045" y="3355851"/>
              <a:chExt cx="311828" cy="311898"/>
            </a:xfrm>
          </p:grpSpPr>
          <p:sp>
            <p:nvSpPr>
              <p:cNvPr id="37" name="îṣḷîḓè">
                <a:extLst>
                  <a:ext uri="{FF2B5EF4-FFF2-40B4-BE49-F238E27FC236}">
                    <a16:creationId xmlns:a16="http://schemas.microsoft.com/office/drawing/2014/main" id="{6BE19042-988F-4CBB-B51C-9C009A2B5666}"/>
                  </a:ext>
                </a:extLst>
              </p:cNvPr>
              <p:cNvSpPr/>
              <p:nvPr/>
            </p:nvSpPr>
            <p:spPr>
              <a:xfrm>
                <a:off x="4022045" y="3355851"/>
                <a:ext cx="311828" cy="311898"/>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endParaRPr lang="zh-CN" altLang="en-US" sz="1100" b="1" dirty="0">
                  <a:solidFill>
                    <a:schemeClr val="accent6"/>
                  </a:solidFill>
                </a:endParaRPr>
              </a:p>
            </p:txBody>
          </p:sp>
          <p:sp>
            <p:nvSpPr>
              <p:cNvPr id="38" name="išľidé">
                <a:extLst>
                  <a:ext uri="{FF2B5EF4-FFF2-40B4-BE49-F238E27FC236}">
                    <a16:creationId xmlns:a16="http://schemas.microsoft.com/office/drawing/2014/main" id="{C0A3953F-60D8-4FCB-A26E-C148EC5258E0}"/>
                  </a:ext>
                </a:extLst>
              </p:cNvPr>
              <p:cNvSpPr/>
              <p:nvPr/>
            </p:nvSpPr>
            <p:spPr>
              <a:xfrm rot="14465213">
                <a:off x="4087880" y="3453532"/>
                <a:ext cx="136730" cy="136732"/>
              </a:xfrm>
              <a:prstGeom prst="flowChartExtra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p>
                <a:pPr algn="ctr"/>
                <a:endParaRPr lang="zh-CN" altLang="en-US"/>
              </a:p>
            </p:txBody>
          </p:sp>
        </p:grpSp>
        <p:grpSp>
          <p:nvGrpSpPr>
            <p:cNvPr id="16" name="ísľíḓè">
              <a:extLst>
                <a:ext uri="{FF2B5EF4-FFF2-40B4-BE49-F238E27FC236}">
                  <a16:creationId xmlns:a16="http://schemas.microsoft.com/office/drawing/2014/main" id="{5E13AC7A-05E1-4E8B-B5FF-27C7DD72EE43}"/>
                </a:ext>
              </a:extLst>
            </p:cNvPr>
            <p:cNvGrpSpPr/>
            <p:nvPr/>
          </p:nvGrpSpPr>
          <p:grpSpPr>
            <a:xfrm rot="16200000" flipH="1">
              <a:off x="4154102" y="4299093"/>
              <a:ext cx="232670" cy="232722"/>
              <a:chOff x="4022045" y="3355851"/>
              <a:chExt cx="311828" cy="311898"/>
            </a:xfrm>
          </p:grpSpPr>
          <p:sp>
            <p:nvSpPr>
              <p:cNvPr id="35" name="iṧḷïḋé">
                <a:extLst>
                  <a:ext uri="{FF2B5EF4-FFF2-40B4-BE49-F238E27FC236}">
                    <a16:creationId xmlns:a16="http://schemas.microsoft.com/office/drawing/2014/main" id="{A42BFF65-479E-47EF-B933-47AC7814F49A}"/>
                  </a:ext>
                </a:extLst>
              </p:cNvPr>
              <p:cNvSpPr/>
              <p:nvPr/>
            </p:nvSpPr>
            <p:spPr>
              <a:xfrm>
                <a:off x="4022045" y="3355851"/>
                <a:ext cx="311828" cy="311898"/>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endParaRPr lang="zh-CN" altLang="en-US" sz="1100" b="1" dirty="0">
                  <a:solidFill>
                    <a:schemeClr val="accent6"/>
                  </a:solidFill>
                </a:endParaRPr>
              </a:p>
            </p:txBody>
          </p:sp>
          <p:sp>
            <p:nvSpPr>
              <p:cNvPr id="36" name="ïşľîḍé">
                <a:extLst>
                  <a:ext uri="{FF2B5EF4-FFF2-40B4-BE49-F238E27FC236}">
                    <a16:creationId xmlns:a16="http://schemas.microsoft.com/office/drawing/2014/main" id="{9262F1DA-2B1D-4547-9F34-A96476037848}"/>
                  </a:ext>
                </a:extLst>
              </p:cNvPr>
              <p:cNvSpPr/>
              <p:nvPr/>
            </p:nvSpPr>
            <p:spPr>
              <a:xfrm rot="14465213">
                <a:off x="4087880" y="3453532"/>
                <a:ext cx="136730" cy="136732"/>
              </a:xfrm>
              <a:prstGeom prst="flowChartExtra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p>
                <a:pPr algn="ctr"/>
                <a:endParaRPr lang="zh-CN" altLang="en-US"/>
              </a:p>
            </p:txBody>
          </p:sp>
        </p:grpSp>
        <p:grpSp>
          <p:nvGrpSpPr>
            <p:cNvPr id="17" name="îŝḷïdè">
              <a:extLst>
                <a:ext uri="{FF2B5EF4-FFF2-40B4-BE49-F238E27FC236}">
                  <a16:creationId xmlns:a16="http://schemas.microsoft.com/office/drawing/2014/main" id="{FCFA06BB-67A3-467C-9C94-91EBFA6302C7}"/>
                </a:ext>
              </a:extLst>
            </p:cNvPr>
            <p:cNvGrpSpPr/>
            <p:nvPr/>
          </p:nvGrpSpPr>
          <p:grpSpPr>
            <a:xfrm>
              <a:off x="1883336" y="1193014"/>
              <a:ext cx="2032570" cy="1095987"/>
              <a:chOff x="1172847" y="1872239"/>
              <a:chExt cx="2032570" cy="1095987"/>
            </a:xfrm>
          </p:grpSpPr>
          <p:sp>
            <p:nvSpPr>
              <p:cNvPr id="33" name="iṧļídé">
                <a:extLst>
                  <a:ext uri="{FF2B5EF4-FFF2-40B4-BE49-F238E27FC236}">
                    <a16:creationId xmlns:a16="http://schemas.microsoft.com/office/drawing/2014/main" id="{9A12AEEC-5513-45AE-B5B7-A6DE9B52ECEF}"/>
                  </a:ext>
                </a:extLst>
              </p:cNvPr>
              <p:cNvSpPr/>
              <p:nvPr/>
            </p:nvSpPr>
            <p:spPr bwMode="auto">
              <a:xfrm>
                <a:off x="1172847" y="1872239"/>
                <a:ext cx="2032570" cy="417143"/>
              </a:xfrm>
              <a:prstGeom prst="rect">
                <a:avLst/>
              </a:prstGeom>
              <a:noFill/>
              <a:ln w="28575" algn="ctr">
                <a:noFill/>
                <a:round/>
                <a:headEnd/>
                <a:tailEnd/>
              </a:ln>
            </p:spPr>
            <p:txBody>
              <a:bodyPr wrap="square" lIns="91440" tIns="45720" rIns="91440" bIns="45720" anchor="ctr">
                <a:normAutofit/>
              </a:bodyPr>
              <a:lstStyle>
                <a:defPPr>
                  <a:defRPr lang="en-US"/>
                </a:defPPr>
                <a:lvl1pPr marL="0" algn="l" defTabSz="609585" rtl="0" eaLnBrk="1" latinLnBrk="0" hangingPunct="1">
                  <a:defRPr sz="2400" kern="1200">
                    <a:solidFill>
                      <a:schemeClr val="tx1"/>
                    </a:solidFill>
                  </a:defRPr>
                </a:lvl1pPr>
                <a:lvl2pPr marL="609585" algn="l" defTabSz="609585" rtl="0" eaLnBrk="1" latinLnBrk="0" hangingPunct="1">
                  <a:defRPr sz="2400" kern="1200">
                    <a:solidFill>
                      <a:schemeClr val="tx1"/>
                    </a:solidFill>
                  </a:defRPr>
                </a:lvl2pPr>
                <a:lvl3pPr marL="1219170" algn="l" defTabSz="609585" rtl="0" eaLnBrk="1" latinLnBrk="0" hangingPunct="1">
                  <a:defRPr sz="2400" kern="1200">
                    <a:solidFill>
                      <a:schemeClr val="tx1"/>
                    </a:solidFill>
                  </a:defRPr>
                </a:lvl3pPr>
                <a:lvl4pPr marL="1828754" algn="l" defTabSz="609585" rtl="0" eaLnBrk="1" latinLnBrk="0" hangingPunct="1">
                  <a:defRPr sz="2400" kern="1200">
                    <a:solidFill>
                      <a:schemeClr val="tx1"/>
                    </a:solidFill>
                  </a:defRPr>
                </a:lvl4pPr>
                <a:lvl5pPr marL="2438339" algn="l" defTabSz="609585" rtl="0" eaLnBrk="1" latinLnBrk="0" hangingPunct="1">
                  <a:defRPr sz="2400" kern="1200">
                    <a:solidFill>
                      <a:schemeClr val="tx1"/>
                    </a:solidFill>
                  </a:defRPr>
                </a:lvl5pPr>
                <a:lvl6pPr marL="3047924" algn="l" defTabSz="609585" rtl="0" eaLnBrk="1" latinLnBrk="0" hangingPunct="1">
                  <a:defRPr sz="2400" kern="1200">
                    <a:solidFill>
                      <a:schemeClr val="tx1"/>
                    </a:solidFill>
                  </a:defRPr>
                </a:lvl6pPr>
                <a:lvl7pPr marL="3657509" algn="l" defTabSz="609585" rtl="0" eaLnBrk="1" latinLnBrk="0" hangingPunct="1">
                  <a:defRPr sz="2400" kern="1200">
                    <a:solidFill>
                      <a:schemeClr val="tx1"/>
                    </a:solidFill>
                  </a:defRPr>
                </a:lvl7pPr>
                <a:lvl8pPr marL="4267093" algn="l" defTabSz="609585" rtl="0" eaLnBrk="1" latinLnBrk="0" hangingPunct="1">
                  <a:defRPr sz="2400" kern="1200">
                    <a:solidFill>
                      <a:schemeClr val="tx1"/>
                    </a:solidFill>
                  </a:defRPr>
                </a:lvl8pPr>
                <a:lvl9pPr marL="4876678" algn="l" defTabSz="609585" rtl="0" eaLnBrk="1" latinLnBrk="0" hangingPunct="1">
                  <a:defRPr sz="2400" kern="1200">
                    <a:solidFill>
                      <a:schemeClr val="tx1"/>
                    </a:solidFill>
                  </a:defRPr>
                </a:lvl9pPr>
              </a:lstStyle>
              <a:p>
                <a:pPr algn="ctr" defTabSz="914400"/>
                <a:r>
                  <a:rPr lang="en-US" altLang="zh-CN" sz="1600" b="1" kern="0"/>
                  <a:t>Text he</a:t>
                </a:r>
                <a:r>
                  <a:rPr lang="en-US" altLang="zh-CN" sz="100" b="1" kern="0"/>
                  <a:t> </a:t>
                </a:r>
                <a:r>
                  <a:rPr lang="en-US" altLang="zh-CN" sz="1600" b="1" kern="0"/>
                  <a:t>re</a:t>
                </a:r>
                <a:endParaRPr lang="zh-CN" altLang="en-US" sz="1600" b="1" kern="0" dirty="0"/>
              </a:p>
            </p:txBody>
          </p:sp>
          <p:sp>
            <p:nvSpPr>
              <p:cNvPr id="34" name="iṡḻídé">
                <a:extLst>
                  <a:ext uri="{FF2B5EF4-FFF2-40B4-BE49-F238E27FC236}">
                    <a16:creationId xmlns:a16="http://schemas.microsoft.com/office/drawing/2014/main" id="{F784868B-CBE7-414E-BAD1-6E5FC5F75920}"/>
                  </a:ext>
                </a:extLst>
              </p:cNvPr>
              <p:cNvSpPr/>
              <p:nvPr/>
            </p:nvSpPr>
            <p:spPr>
              <a:xfrm>
                <a:off x="1172847" y="2289382"/>
                <a:ext cx="2032570" cy="67884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en-US"/>
                </a:defPPr>
                <a:lvl1pPr marL="0" algn="l" defTabSz="609585" rtl="0" eaLnBrk="1" latinLnBrk="0" hangingPunct="1">
                  <a:defRPr sz="2400" kern="1200">
                    <a:solidFill>
                      <a:schemeClr val="lt1"/>
                    </a:solidFill>
                  </a:defRPr>
                </a:lvl1pPr>
                <a:lvl2pPr marL="609585" algn="l" defTabSz="609585" rtl="0" eaLnBrk="1" latinLnBrk="0" hangingPunct="1">
                  <a:defRPr sz="2400" kern="1200">
                    <a:solidFill>
                      <a:schemeClr val="lt1"/>
                    </a:solidFill>
                  </a:defRPr>
                </a:lvl2pPr>
                <a:lvl3pPr marL="1219170" algn="l" defTabSz="609585" rtl="0" eaLnBrk="1" latinLnBrk="0" hangingPunct="1">
                  <a:defRPr sz="2400" kern="1200">
                    <a:solidFill>
                      <a:schemeClr val="lt1"/>
                    </a:solidFill>
                  </a:defRPr>
                </a:lvl3pPr>
                <a:lvl4pPr marL="1828754" algn="l" defTabSz="609585" rtl="0" eaLnBrk="1" latinLnBrk="0" hangingPunct="1">
                  <a:defRPr sz="2400" kern="1200">
                    <a:solidFill>
                      <a:schemeClr val="lt1"/>
                    </a:solidFill>
                  </a:defRPr>
                </a:lvl4pPr>
                <a:lvl5pPr marL="2438339" algn="l" defTabSz="609585" rtl="0" eaLnBrk="1" latinLnBrk="0" hangingPunct="1">
                  <a:defRPr sz="2400" kern="1200">
                    <a:solidFill>
                      <a:schemeClr val="lt1"/>
                    </a:solidFill>
                  </a:defRPr>
                </a:lvl5pPr>
                <a:lvl6pPr marL="3047924" algn="l" defTabSz="609585" rtl="0" eaLnBrk="1" latinLnBrk="0" hangingPunct="1">
                  <a:defRPr sz="2400" kern="1200">
                    <a:solidFill>
                      <a:schemeClr val="lt1"/>
                    </a:solidFill>
                  </a:defRPr>
                </a:lvl6pPr>
                <a:lvl7pPr marL="3657509" algn="l" defTabSz="609585" rtl="0" eaLnBrk="1" latinLnBrk="0" hangingPunct="1">
                  <a:defRPr sz="2400" kern="1200">
                    <a:solidFill>
                      <a:schemeClr val="lt1"/>
                    </a:solidFill>
                  </a:defRPr>
                </a:lvl7pPr>
                <a:lvl8pPr marL="4267093" algn="l" defTabSz="609585" rtl="0" eaLnBrk="1" latinLnBrk="0" hangingPunct="1">
                  <a:defRPr sz="2400" kern="1200">
                    <a:solidFill>
                      <a:schemeClr val="lt1"/>
                    </a:solidFill>
                  </a:defRPr>
                </a:lvl8pPr>
                <a:lvl9pPr marL="4876678" algn="l" defTabSz="609585" rtl="0" eaLnBrk="1" latinLnBrk="0" hangingPunct="1">
                  <a:defRPr sz="2400" kern="1200">
                    <a:solidFill>
                      <a:schemeClr val="lt1"/>
                    </a:solidFill>
                  </a:defRPr>
                </a:lvl9pPr>
              </a:lstStyle>
              <a:p>
                <a:pPr lvl="0" algn="ctr">
                  <a:lnSpc>
                    <a:spcPct val="150000"/>
                  </a:lnSpc>
                </a:pPr>
                <a:r>
                  <a:rPr lang="en-US" altLang="zh-CN" sz="1100" dirty="0">
                    <a:solidFill>
                      <a:schemeClr val="tx1"/>
                    </a:solidFill>
                  </a:rPr>
                  <a:t>Supporting text </a:t>
                </a:r>
                <a:r>
                  <a:rPr lang="en-US" altLang="zh-CN" sz="1100">
                    <a:solidFill>
                      <a:schemeClr val="tx1"/>
                    </a:solidFill>
                  </a:rPr>
                  <a:t>here.</a:t>
                </a:r>
                <a:r>
                  <a:rPr lang="en-US" altLang="zh-CN" sz="100">
                    <a:solidFill>
                      <a:schemeClr val="tx1"/>
                    </a:solidFill>
                  </a:rPr>
                  <a:t> </a:t>
                </a:r>
                <a:endParaRPr lang="en-US" altLang="zh-CN" sz="100" dirty="0">
                  <a:solidFill>
                    <a:schemeClr val="tx1"/>
                  </a:solidFill>
                </a:endParaRPr>
              </a:p>
              <a:p>
                <a:pPr lvl="0" algn="ctr">
                  <a:lnSpc>
                    <a:spcPct val="150000"/>
                  </a:lnSpc>
                </a:pPr>
                <a:r>
                  <a:rPr lang="en-US" altLang="zh-CN" sz="1100" dirty="0">
                    <a:solidFill>
                      <a:schemeClr val="tx1"/>
                    </a:solidFill>
                  </a:rPr>
                  <a:t>……</a:t>
                </a:r>
              </a:p>
            </p:txBody>
          </p:sp>
        </p:grpSp>
        <p:grpSp>
          <p:nvGrpSpPr>
            <p:cNvPr id="18" name="íṣļídè">
              <a:extLst>
                <a:ext uri="{FF2B5EF4-FFF2-40B4-BE49-F238E27FC236}">
                  <a16:creationId xmlns:a16="http://schemas.microsoft.com/office/drawing/2014/main" id="{ADD16FBC-3204-4F8C-8D6B-77BCB6B50279}"/>
                </a:ext>
              </a:extLst>
            </p:cNvPr>
            <p:cNvGrpSpPr/>
            <p:nvPr/>
          </p:nvGrpSpPr>
          <p:grpSpPr>
            <a:xfrm>
              <a:off x="5079594" y="1193014"/>
              <a:ext cx="2032570" cy="1095987"/>
              <a:chOff x="1172847" y="1872239"/>
              <a:chExt cx="2032570" cy="1095987"/>
            </a:xfrm>
          </p:grpSpPr>
          <p:sp>
            <p:nvSpPr>
              <p:cNvPr id="31" name="íŝļiḑe">
                <a:extLst>
                  <a:ext uri="{FF2B5EF4-FFF2-40B4-BE49-F238E27FC236}">
                    <a16:creationId xmlns:a16="http://schemas.microsoft.com/office/drawing/2014/main" id="{F9CD7D15-D15E-453C-B180-438227E160C7}"/>
                  </a:ext>
                </a:extLst>
              </p:cNvPr>
              <p:cNvSpPr/>
              <p:nvPr/>
            </p:nvSpPr>
            <p:spPr bwMode="auto">
              <a:xfrm>
                <a:off x="1172847" y="1872239"/>
                <a:ext cx="2032570" cy="417143"/>
              </a:xfrm>
              <a:prstGeom prst="rect">
                <a:avLst/>
              </a:prstGeom>
              <a:noFill/>
              <a:ln w="28575" algn="ctr">
                <a:noFill/>
                <a:round/>
                <a:headEnd/>
                <a:tailEnd/>
              </a:ln>
            </p:spPr>
            <p:txBody>
              <a:bodyPr wrap="square" lIns="91440" tIns="45720" rIns="91440" bIns="45720" anchor="ctr">
                <a:normAutofit/>
              </a:bodyPr>
              <a:lstStyle>
                <a:defPPr>
                  <a:defRPr lang="en-US"/>
                </a:defPPr>
                <a:lvl1pPr marL="0" algn="l" defTabSz="609585" rtl="0" eaLnBrk="1" latinLnBrk="0" hangingPunct="1">
                  <a:defRPr sz="2400" kern="1200">
                    <a:solidFill>
                      <a:schemeClr val="tx1"/>
                    </a:solidFill>
                  </a:defRPr>
                </a:lvl1pPr>
                <a:lvl2pPr marL="609585" algn="l" defTabSz="609585" rtl="0" eaLnBrk="1" latinLnBrk="0" hangingPunct="1">
                  <a:defRPr sz="2400" kern="1200">
                    <a:solidFill>
                      <a:schemeClr val="tx1"/>
                    </a:solidFill>
                  </a:defRPr>
                </a:lvl2pPr>
                <a:lvl3pPr marL="1219170" algn="l" defTabSz="609585" rtl="0" eaLnBrk="1" latinLnBrk="0" hangingPunct="1">
                  <a:defRPr sz="2400" kern="1200">
                    <a:solidFill>
                      <a:schemeClr val="tx1"/>
                    </a:solidFill>
                  </a:defRPr>
                </a:lvl3pPr>
                <a:lvl4pPr marL="1828754" algn="l" defTabSz="609585" rtl="0" eaLnBrk="1" latinLnBrk="0" hangingPunct="1">
                  <a:defRPr sz="2400" kern="1200">
                    <a:solidFill>
                      <a:schemeClr val="tx1"/>
                    </a:solidFill>
                  </a:defRPr>
                </a:lvl4pPr>
                <a:lvl5pPr marL="2438339" algn="l" defTabSz="609585" rtl="0" eaLnBrk="1" latinLnBrk="0" hangingPunct="1">
                  <a:defRPr sz="2400" kern="1200">
                    <a:solidFill>
                      <a:schemeClr val="tx1"/>
                    </a:solidFill>
                  </a:defRPr>
                </a:lvl5pPr>
                <a:lvl6pPr marL="3047924" algn="l" defTabSz="609585" rtl="0" eaLnBrk="1" latinLnBrk="0" hangingPunct="1">
                  <a:defRPr sz="2400" kern="1200">
                    <a:solidFill>
                      <a:schemeClr val="tx1"/>
                    </a:solidFill>
                  </a:defRPr>
                </a:lvl6pPr>
                <a:lvl7pPr marL="3657509" algn="l" defTabSz="609585" rtl="0" eaLnBrk="1" latinLnBrk="0" hangingPunct="1">
                  <a:defRPr sz="2400" kern="1200">
                    <a:solidFill>
                      <a:schemeClr val="tx1"/>
                    </a:solidFill>
                  </a:defRPr>
                </a:lvl7pPr>
                <a:lvl8pPr marL="4267093" algn="l" defTabSz="609585" rtl="0" eaLnBrk="1" latinLnBrk="0" hangingPunct="1">
                  <a:defRPr sz="2400" kern="1200">
                    <a:solidFill>
                      <a:schemeClr val="tx1"/>
                    </a:solidFill>
                  </a:defRPr>
                </a:lvl8pPr>
                <a:lvl9pPr marL="4876678" algn="l" defTabSz="609585" rtl="0" eaLnBrk="1" latinLnBrk="0" hangingPunct="1">
                  <a:defRPr sz="2400" kern="1200">
                    <a:solidFill>
                      <a:schemeClr val="tx1"/>
                    </a:solidFill>
                  </a:defRPr>
                </a:lvl9pPr>
              </a:lstStyle>
              <a:p>
                <a:pPr algn="ctr" defTabSz="914400"/>
                <a:r>
                  <a:rPr lang="en-US" altLang="zh-CN" sz="1600" b="1" kern="0"/>
                  <a:t>Text he</a:t>
                </a:r>
                <a:r>
                  <a:rPr lang="en-US" altLang="zh-CN" sz="100" b="1" kern="0"/>
                  <a:t> </a:t>
                </a:r>
                <a:r>
                  <a:rPr lang="en-US" altLang="zh-CN" sz="1600" b="1" kern="0"/>
                  <a:t>re</a:t>
                </a:r>
                <a:endParaRPr lang="zh-CN" altLang="en-US" sz="1600" b="1" kern="0" dirty="0"/>
              </a:p>
            </p:txBody>
          </p:sp>
          <p:sp>
            <p:nvSpPr>
              <p:cNvPr id="32" name="iṧḷíḍe">
                <a:extLst>
                  <a:ext uri="{FF2B5EF4-FFF2-40B4-BE49-F238E27FC236}">
                    <a16:creationId xmlns:a16="http://schemas.microsoft.com/office/drawing/2014/main" id="{E32837B6-C1A1-460F-826A-B8C1A6DED0B4}"/>
                  </a:ext>
                </a:extLst>
              </p:cNvPr>
              <p:cNvSpPr/>
              <p:nvPr/>
            </p:nvSpPr>
            <p:spPr>
              <a:xfrm>
                <a:off x="1172847" y="2289382"/>
                <a:ext cx="2032570" cy="67884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en-US"/>
                </a:defPPr>
                <a:lvl1pPr marL="0" algn="l" defTabSz="609585" rtl="0" eaLnBrk="1" latinLnBrk="0" hangingPunct="1">
                  <a:defRPr sz="2400" kern="1200">
                    <a:solidFill>
                      <a:schemeClr val="lt1"/>
                    </a:solidFill>
                  </a:defRPr>
                </a:lvl1pPr>
                <a:lvl2pPr marL="609585" algn="l" defTabSz="609585" rtl="0" eaLnBrk="1" latinLnBrk="0" hangingPunct="1">
                  <a:defRPr sz="2400" kern="1200">
                    <a:solidFill>
                      <a:schemeClr val="lt1"/>
                    </a:solidFill>
                  </a:defRPr>
                </a:lvl2pPr>
                <a:lvl3pPr marL="1219170" algn="l" defTabSz="609585" rtl="0" eaLnBrk="1" latinLnBrk="0" hangingPunct="1">
                  <a:defRPr sz="2400" kern="1200">
                    <a:solidFill>
                      <a:schemeClr val="lt1"/>
                    </a:solidFill>
                  </a:defRPr>
                </a:lvl3pPr>
                <a:lvl4pPr marL="1828754" algn="l" defTabSz="609585" rtl="0" eaLnBrk="1" latinLnBrk="0" hangingPunct="1">
                  <a:defRPr sz="2400" kern="1200">
                    <a:solidFill>
                      <a:schemeClr val="lt1"/>
                    </a:solidFill>
                  </a:defRPr>
                </a:lvl4pPr>
                <a:lvl5pPr marL="2438339" algn="l" defTabSz="609585" rtl="0" eaLnBrk="1" latinLnBrk="0" hangingPunct="1">
                  <a:defRPr sz="2400" kern="1200">
                    <a:solidFill>
                      <a:schemeClr val="lt1"/>
                    </a:solidFill>
                  </a:defRPr>
                </a:lvl5pPr>
                <a:lvl6pPr marL="3047924" algn="l" defTabSz="609585" rtl="0" eaLnBrk="1" latinLnBrk="0" hangingPunct="1">
                  <a:defRPr sz="2400" kern="1200">
                    <a:solidFill>
                      <a:schemeClr val="lt1"/>
                    </a:solidFill>
                  </a:defRPr>
                </a:lvl6pPr>
                <a:lvl7pPr marL="3657509" algn="l" defTabSz="609585" rtl="0" eaLnBrk="1" latinLnBrk="0" hangingPunct="1">
                  <a:defRPr sz="2400" kern="1200">
                    <a:solidFill>
                      <a:schemeClr val="lt1"/>
                    </a:solidFill>
                  </a:defRPr>
                </a:lvl7pPr>
                <a:lvl8pPr marL="4267093" algn="l" defTabSz="609585" rtl="0" eaLnBrk="1" latinLnBrk="0" hangingPunct="1">
                  <a:defRPr sz="2400" kern="1200">
                    <a:solidFill>
                      <a:schemeClr val="lt1"/>
                    </a:solidFill>
                  </a:defRPr>
                </a:lvl8pPr>
                <a:lvl9pPr marL="4876678" algn="l" defTabSz="609585" rtl="0" eaLnBrk="1" latinLnBrk="0" hangingPunct="1">
                  <a:defRPr sz="2400" kern="1200">
                    <a:solidFill>
                      <a:schemeClr val="lt1"/>
                    </a:solidFill>
                  </a:defRPr>
                </a:lvl9pPr>
              </a:lstStyle>
              <a:p>
                <a:pPr lvl="0" algn="ctr">
                  <a:lnSpc>
                    <a:spcPct val="150000"/>
                  </a:lnSpc>
                </a:pPr>
                <a:r>
                  <a:rPr lang="en-US" altLang="zh-CN" sz="1100" dirty="0">
                    <a:solidFill>
                      <a:schemeClr val="tx1"/>
                    </a:solidFill>
                  </a:rPr>
                  <a:t>Supporting text </a:t>
                </a:r>
                <a:r>
                  <a:rPr lang="en-US" altLang="zh-CN" sz="1100">
                    <a:solidFill>
                      <a:schemeClr val="tx1"/>
                    </a:solidFill>
                  </a:rPr>
                  <a:t>here.</a:t>
                </a:r>
                <a:r>
                  <a:rPr lang="en-US" altLang="zh-CN" sz="100">
                    <a:solidFill>
                      <a:schemeClr val="tx1"/>
                    </a:solidFill>
                  </a:rPr>
                  <a:t> </a:t>
                </a:r>
                <a:endParaRPr lang="en-US" altLang="zh-CN" sz="100" dirty="0">
                  <a:solidFill>
                    <a:schemeClr val="tx1"/>
                  </a:solidFill>
                </a:endParaRPr>
              </a:p>
              <a:p>
                <a:pPr lvl="0" algn="ctr">
                  <a:lnSpc>
                    <a:spcPct val="150000"/>
                  </a:lnSpc>
                </a:pPr>
                <a:r>
                  <a:rPr lang="en-US" altLang="zh-CN" sz="1100" dirty="0">
                    <a:solidFill>
                      <a:schemeClr val="tx1"/>
                    </a:solidFill>
                  </a:rPr>
                  <a:t>……</a:t>
                </a:r>
              </a:p>
            </p:txBody>
          </p:sp>
        </p:grpSp>
        <p:grpSp>
          <p:nvGrpSpPr>
            <p:cNvPr id="19" name="îş1íďé">
              <a:extLst>
                <a:ext uri="{FF2B5EF4-FFF2-40B4-BE49-F238E27FC236}">
                  <a16:creationId xmlns:a16="http://schemas.microsoft.com/office/drawing/2014/main" id="{048F6A20-B167-49E8-924A-6D3279BE5724}"/>
                </a:ext>
              </a:extLst>
            </p:cNvPr>
            <p:cNvGrpSpPr/>
            <p:nvPr/>
          </p:nvGrpSpPr>
          <p:grpSpPr>
            <a:xfrm>
              <a:off x="8275852" y="1193014"/>
              <a:ext cx="2032570" cy="1095987"/>
              <a:chOff x="1172847" y="1872239"/>
              <a:chExt cx="2032570" cy="1095987"/>
            </a:xfrm>
          </p:grpSpPr>
          <p:sp>
            <p:nvSpPr>
              <p:cNvPr id="29" name="îṥḻïdè">
                <a:extLst>
                  <a:ext uri="{FF2B5EF4-FFF2-40B4-BE49-F238E27FC236}">
                    <a16:creationId xmlns:a16="http://schemas.microsoft.com/office/drawing/2014/main" id="{33391C6A-7C01-4A66-B5F2-D178B224CCC6}"/>
                  </a:ext>
                </a:extLst>
              </p:cNvPr>
              <p:cNvSpPr/>
              <p:nvPr/>
            </p:nvSpPr>
            <p:spPr bwMode="auto">
              <a:xfrm>
                <a:off x="1172847" y="1872239"/>
                <a:ext cx="2032570" cy="417143"/>
              </a:xfrm>
              <a:prstGeom prst="rect">
                <a:avLst/>
              </a:prstGeom>
              <a:noFill/>
              <a:ln w="28575" algn="ctr">
                <a:noFill/>
                <a:round/>
                <a:headEnd/>
                <a:tailEnd/>
              </a:ln>
            </p:spPr>
            <p:txBody>
              <a:bodyPr wrap="square" lIns="91440" tIns="45720" rIns="91440" bIns="45720" anchor="ctr">
                <a:normAutofit/>
              </a:bodyPr>
              <a:lstStyle>
                <a:defPPr>
                  <a:defRPr lang="en-US"/>
                </a:defPPr>
                <a:lvl1pPr marL="0" algn="l" defTabSz="609585" rtl="0" eaLnBrk="1" latinLnBrk="0" hangingPunct="1">
                  <a:defRPr sz="2400" kern="1200">
                    <a:solidFill>
                      <a:schemeClr val="tx1"/>
                    </a:solidFill>
                  </a:defRPr>
                </a:lvl1pPr>
                <a:lvl2pPr marL="609585" algn="l" defTabSz="609585" rtl="0" eaLnBrk="1" latinLnBrk="0" hangingPunct="1">
                  <a:defRPr sz="2400" kern="1200">
                    <a:solidFill>
                      <a:schemeClr val="tx1"/>
                    </a:solidFill>
                  </a:defRPr>
                </a:lvl2pPr>
                <a:lvl3pPr marL="1219170" algn="l" defTabSz="609585" rtl="0" eaLnBrk="1" latinLnBrk="0" hangingPunct="1">
                  <a:defRPr sz="2400" kern="1200">
                    <a:solidFill>
                      <a:schemeClr val="tx1"/>
                    </a:solidFill>
                  </a:defRPr>
                </a:lvl3pPr>
                <a:lvl4pPr marL="1828754" algn="l" defTabSz="609585" rtl="0" eaLnBrk="1" latinLnBrk="0" hangingPunct="1">
                  <a:defRPr sz="2400" kern="1200">
                    <a:solidFill>
                      <a:schemeClr val="tx1"/>
                    </a:solidFill>
                  </a:defRPr>
                </a:lvl4pPr>
                <a:lvl5pPr marL="2438339" algn="l" defTabSz="609585" rtl="0" eaLnBrk="1" latinLnBrk="0" hangingPunct="1">
                  <a:defRPr sz="2400" kern="1200">
                    <a:solidFill>
                      <a:schemeClr val="tx1"/>
                    </a:solidFill>
                  </a:defRPr>
                </a:lvl5pPr>
                <a:lvl6pPr marL="3047924" algn="l" defTabSz="609585" rtl="0" eaLnBrk="1" latinLnBrk="0" hangingPunct="1">
                  <a:defRPr sz="2400" kern="1200">
                    <a:solidFill>
                      <a:schemeClr val="tx1"/>
                    </a:solidFill>
                  </a:defRPr>
                </a:lvl6pPr>
                <a:lvl7pPr marL="3657509" algn="l" defTabSz="609585" rtl="0" eaLnBrk="1" latinLnBrk="0" hangingPunct="1">
                  <a:defRPr sz="2400" kern="1200">
                    <a:solidFill>
                      <a:schemeClr val="tx1"/>
                    </a:solidFill>
                  </a:defRPr>
                </a:lvl7pPr>
                <a:lvl8pPr marL="4267093" algn="l" defTabSz="609585" rtl="0" eaLnBrk="1" latinLnBrk="0" hangingPunct="1">
                  <a:defRPr sz="2400" kern="1200">
                    <a:solidFill>
                      <a:schemeClr val="tx1"/>
                    </a:solidFill>
                  </a:defRPr>
                </a:lvl8pPr>
                <a:lvl9pPr marL="4876678" algn="l" defTabSz="609585" rtl="0" eaLnBrk="1" latinLnBrk="0" hangingPunct="1">
                  <a:defRPr sz="2400" kern="1200">
                    <a:solidFill>
                      <a:schemeClr val="tx1"/>
                    </a:solidFill>
                  </a:defRPr>
                </a:lvl9pPr>
              </a:lstStyle>
              <a:p>
                <a:pPr algn="ctr" defTabSz="914400"/>
                <a:r>
                  <a:rPr lang="en-US" altLang="zh-CN" sz="1600" b="1" kern="0"/>
                  <a:t>Text he</a:t>
                </a:r>
                <a:r>
                  <a:rPr lang="en-US" altLang="zh-CN" sz="100" b="1" kern="0"/>
                  <a:t> </a:t>
                </a:r>
                <a:r>
                  <a:rPr lang="en-US" altLang="zh-CN" sz="1600" b="1" kern="0"/>
                  <a:t>re</a:t>
                </a:r>
                <a:endParaRPr lang="zh-CN" altLang="en-US" sz="1600" b="1" kern="0" dirty="0"/>
              </a:p>
            </p:txBody>
          </p:sp>
          <p:sp>
            <p:nvSpPr>
              <p:cNvPr id="30" name="íşliḍe">
                <a:extLst>
                  <a:ext uri="{FF2B5EF4-FFF2-40B4-BE49-F238E27FC236}">
                    <a16:creationId xmlns:a16="http://schemas.microsoft.com/office/drawing/2014/main" id="{988ED6C4-ACE8-4BEE-85F5-76872B5C55B3}"/>
                  </a:ext>
                </a:extLst>
              </p:cNvPr>
              <p:cNvSpPr/>
              <p:nvPr/>
            </p:nvSpPr>
            <p:spPr>
              <a:xfrm>
                <a:off x="1172847" y="2289382"/>
                <a:ext cx="2032570" cy="67884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en-US"/>
                </a:defPPr>
                <a:lvl1pPr marL="0" algn="l" defTabSz="609585" rtl="0" eaLnBrk="1" latinLnBrk="0" hangingPunct="1">
                  <a:defRPr sz="2400" kern="1200">
                    <a:solidFill>
                      <a:schemeClr val="lt1"/>
                    </a:solidFill>
                  </a:defRPr>
                </a:lvl1pPr>
                <a:lvl2pPr marL="609585" algn="l" defTabSz="609585" rtl="0" eaLnBrk="1" latinLnBrk="0" hangingPunct="1">
                  <a:defRPr sz="2400" kern="1200">
                    <a:solidFill>
                      <a:schemeClr val="lt1"/>
                    </a:solidFill>
                  </a:defRPr>
                </a:lvl2pPr>
                <a:lvl3pPr marL="1219170" algn="l" defTabSz="609585" rtl="0" eaLnBrk="1" latinLnBrk="0" hangingPunct="1">
                  <a:defRPr sz="2400" kern="1200">
                    <a:solidFill>
                      <a:schemeClr val="lt1"/>
                    </a:solidFill>
                  </a:defRPr>
                </a:lvl3pPr>
                <a:lvl4pPr marL="1828754" algn="l" defTabSz="609585" rtl="0" eaLnBrk="1" latinLnBrk="0" hangingPunct="1">
                  <a:defRPr sz="2400" kern="1200">
                    <a:solidFill>
                      <a:schemeClr val="lt1"/>
                    </a:solidFill>
                  </a:defRPr>
                </a:lvl4pPr>
                <a:lvl5pPr marL="2438339" algn="l" defTabSz="609585" rtl="0" eaLnBrk="1" latinLnBrk="0" hangingPunct="1">
                  <a:defRPr sz="2400" kern="1200">
                    <a:solidFill>
                      <a:schemeClr val="lt1"/>
                    </a:solidFill>
                  </a:defRPr>
                </a:lvl5pPr>
                <a:lvl6pPr marL="3047924" algn="l" defTabSz="609585" rtl="0" eaLnBrk="1" latinLnBrk="0" hangingPunct="1">
                  <a:defRPr sz="2400" kern="1200">
                    <a:solidFill>
                      <a:schemeClr val="lt1"/>
                    </a:solidFill>
                  </a:defRPr>
                </a:lvl6pPr>
                <a:lvl7pPr marL="3657509" algn="l" defTabSz="609585" rtl="0" eaLnBrk="1" latinLnBrk="0" hangingPunct="1">
                  <a:defRPr sz="2400" kern="1200">
                    <a:solidFill>
                      <a:schemeClr val="lt1"/>
                    </a:solidFill>
                  </a:defRPr>
                </a:lvl7pPr>
                <a:lvl8pPr marL="4267093" algn="l" defTabSz="609585" rtl="0" eaLnBrk="1" latinLnBrk="0" hangingPunct="1">
                  <a:defRPr sz="2400" kern="1200">
                    <a:solidFill>
                      <a:schemeClr val="lt1"/>
                    </a:solidFill>
                  </a:defRPr>
                </a:lvl8pPr>
                <a:lvl9pPr marL="4876678" algn="l" defTabSz="609585" rtl="0" eaLnBrk="1" latinLnBrk="0" hangingPunct="1">
                  <a:defRPr sz="2400" kern="1200">
                    <a:solidFill>
                      <a:schemeClr val="lt1"/>
                    </a:solidFill>
                  </a:defRPr>
                </a:lvl9pPr>
              </a:lstStyle>
              <a:p>
                <a:pPr lvl="0" algn="ctr">
                  <a:lnSpc>
                    <a:spcPct val="150000"/>
                  </a:lnSpc>
                </a:pPr>
                <a:r>
                  <a:rPr lang="en-US" altLang="zh-CN" sz="1100" dirty="0">
                    <a:solidFill>
                      <a:schemeClr val="tx1"/>
                    </a:solidFill>
                  </a:rPr>
                  <a:t>Supporting text </a:t>
                </a:r>
                <a:r>
                  <a:rPr lang="en-US" altLang="zh-CN" sz="1100">
                    <a:solidFill>
                      <a:schemeClr val="tx1"/>
                    </a:solidFill>
                  </a:rPr>
                  <a:t>here.</a:t>
                </a:r>
                <a:r>
                  <a:rPr lang="en-US" altLang="zh-CN" sz="100">
                    <a:solidFill>
                      <a:schemeClr val="tx1"/>
                    </a:solidFill>
                  </a:rPr>
                  <a:t> </a:t>
                </a:r>
                <a:endParaRPr lang="en-US" altLang="zh-CN" sz="100" dirty="0">
                  <a:solidFill>
                    <a:schemeClr val="tx1"/>
                  </a:solidFill>
                </a:endParaRPr>
              </a:p>
              <a:p>
                <a:pPr lvl="0" algn="ctr">
                  <a:lnSpc>
                    <a:spcPct val="150000"/>
                  </a:lnSpc>
                </a:pPr>
                <a:r>
                  <a:rPr lang="en-US" altLang="zh-CN" sz="1100" dirty="0">
                    <a:solidFill>
                      <a:schemeClr val="tx1"/>
                    </a:solidFill>
                  </a:rPr>
                  <a:t>……</a:t>
                </a:r>
              </a:p>
            </p:txBody>
          </p:sp>
        </p:grpSp>
        <p:grpSp>
          <p:nvGrpSpPr>
            <p:cNvPr id="20" name="ïṣḻîdè">
              <a:extLst>
                <a:ext uri="{FF2B5EF4-FFF2-40B4-BE49-F238E27FC236}">
                  <a16:creationId xmlns:a16="http://schemas.microsoft.com/office/drawing/2014/main" id="{ECCB2CE9-E1A1-415F-A432-C1CC1B5248F6}"/>
                </a:ext>
              </a:extLst>
            </p:cNvPr>
            <p:cNvGrpSpPr/>
            <p:nvPr/>
          </p:nvGrpSpPr>
          <p:grpSpPr>
            <a:xfrm>
              <a:off x="1883336" y="4952137"/>
              <a:ext cx="2032570" cy="1095987"/>
              <a:chOff x="1172847" y="1872239"/>
              <a:chExt cx="2032570" cy="1095987"/>
            </a:xfrm>
          </p:grpSpPr>
          <p:sp>
            <p:nvSpPr>
              <p:cNvPr id="27" name="ïşḷîďé">
                <a:extLst>
                  <a:ext uri="{FF2B5EF4-FFF2-40B4-BE49-F238E27FC236}">
                    <a16:creationId xmlns:a16="http://schemas.microsoft.com/office/drawing/2014/main" id="{129386A8-98FE-4847-8553-55375FD24DB7}"/>
                  </a:ext>
                </a:extLst>
              </p:cNvPr>
              <p:cNvSpPr/>
              <p:nvPr/>
            </p:nvSpPr>
            <p:spPr bwMode="auto">
              <a:xfrm>
                <a:off x="1172847" y="1872239"/>
                <a:ext cx="2032570" cy="417143"/>
              </a:xfrm>
              <a:prstGeom prst="rect">
                <a:avLst/>
              </a:prstGeom>
              <a:noFill/>
              <a:ln w="28575" algn="ctr">
                <a:noFill/>
                <a:round/>
                <a:headEnd/>
                <a:tailEnd/>
              </a:ln>
            </p:spPr>
            <p:txBody>
              <a:bodyPr wrap="square" lIns="91440" tIns="45720" rIns="91440" bIns="45720" anchor="ctr">
                <a:normAutofit/>
              </a:bodyPr>
              <a:lstStyle>
                <a:defPPr>
                  <a:defRPr lang="en-US"/>
                </a:defPPr>
                <a:lvl1pPr marL="0" algn="l" defTabSz="609585" rtl="0" eaLnBrk="1" latinLnBrk="0" hangingPunct="1">
                  <a:defRPr sz="2400" kern="1200">
                    <a:solidFill>
                      <a:schemeClr val="tx1"/>
                    </a:solidFill>
                  </a:defRPr>
                </a:lvl1pPr>
                <a:lvl2pPr marL="609585" algn="l" defTabSz="609585" rtl="0" eaLnBrk="1" latinLnBrk="0" hangingPunct="1">
                  <a:defRPr sz="2400" kern="1200">
                    <a:solidFill>
                      <a:schemeClr val="tx1"/>
                    </a:solidFill>
                  </a:defRPr>
                </a:lvl2pPr>
                <a:lvl3pPr marL="1219170" algn="l" defTabSz="609585" rtl="0" eaLnBrk="1" latinLnBrk="0" hangingPunct="1">
                  <a:defRPr sz="2400" kern="1200">
                    <a:solidFill>
                      <a:schemeClr val="tx1"/>
                    </a:solidFill>
                  </a:defRPr>
                </a:lvl3pPr>
                <a:lvl4pPr marL="1828754" algn="l" defTabSz="609585" rtl="0" eaLnBrk="1" latinLnBrk="0" hangingPunct="1">
                  <a:defRPr sz="2400" kern="1200">
                    <a:solidFill>
                      <a:schemeClr val="tx1"/>
                    </a:solidFill>
                  </a:defRPr>
                </a:lvl4pPr>
                <a:lvl5pPr marL="2438339" algn="l" defTabSz="609585" rtl="0" eaLnBrk="1" latinLnBrk="0" hangingPunct="1">
                  <a:defRPr sz="2400" kern="1200">
                    <a:solidFill>
                      <a:schemeClr val="tx1"/>
                    </a:solidFill>
                  </a:defRPr>
                </a:lvl5pPr>
                <a:lvl6pPr marL="3047924" algn="l" defTabSz="609585" rtl="0" eaLnBrk="1" latinLnBrk="0" hangingPunct="1">
                  <a:defRPr sz="2400" kern="1200">
                    <a:solidFill>
                      <a:schemeClr val="tx1"/>
                    </a:solidFill>
                  </a:defRPr>
                </a:lvl6pPr>
                <a:lvl7pPr marL="3657509" algn="l" defTabSz="609585" rtl="0" eaLnBrk="1" latinLnBrk="0" hangingPunct="1">
                  <a:defRPr sz="2400" kern="1200">
                    <a:solidFill>
                      <a:schemeClr val="tx1"/>
                    </a:solidFill>
                  </a:defRPr>
                </a:lvl7pPr>
                <a:lvl8pPr marL="4267093" algn="l" defTabSz="609585" rtl="0" eaLnBrk="1" latinLnBrk="0" hangingPunct="1">
                  <a:defRPr sz="2400" kern="1200">
                    <a:solidFill>
                      <a:schemeClr val="tx1"/>
                    </a:solidFill>
                  </a:defRPr>
                </a:lvl8pPr>
                <a:lvl9pPr marL="4876678" algn="l" defTabSz="609585" rtl="0" eaLnBrk="1" latinLnBrk="0" hangingPunct="1">
                  <a:defRPr sz="2400" kern="1200">
                    <a:solidFill>
                      <a:schemeClr val="tx1"/>
                    </a:solidFill>
                  </a:defRPr>
                </a:lvl9pPr>
              </a:lstStyle>
              <a:p>
                <a:pPr algn="ctr" defTabSz="914400"/>
                <a:r>
                  <a:rPr lang="en-US" altLang="zh-CN" sz="1600" b="1" kern="0"/>
                  <a:t>Text he</a:t>
                </a:r>
                <a:r>
                  <a:rPr lang="en-US" altLang="zh-CN" sz="100" b="1" kern="0"/>
                  <a:t> </a:t>
                </a:r>
                <a:r>
                  <a:rPr lang="en-US" altLang="zh-CN" sz="1600" b="1" kern="0"/>
                  <a:t>re</a:t>
                </a:r>
                <a:endParaRPr lang="zh-CN" altLang="en-US" sz="1600" b="1" kern="0" dirty="0"/>
              </a:p>
            </p:txBody>
          </p:sp>
          <p:sp>
            <p:nvSpPr>
              <p:cNvPr id="28" name="îšḷiḍé">
                <a:extLst>
                  <a:ext uri="{FF2B5EF4-FFF2-40B4-BE49-F238E27FC236}">
                    <a16:creationId xmlns:a16="http://schemas.microsoft.com/office/drawing/2014/main" id="{711F10A4-7E69-4C71-8D0A-D7018F409D4E}"/>
                  </a:ext>
                </a:extLst>
              </p:cNvPr>
              <p:cNvSpPr/>
              <p:nvPr/>
            </p:nvSpPr>
            <p:spPr>
              <a:xfrm>
                <a:off x="1172847" y="2289382"/>
                <a:ext cx="2032570" cy="67884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en-US"/>
                </a:defPPr>
                <a:lvl1pPr marL="0" algn="l" defTabSz="609585" rtl="0" eaLnBrk="1" latinLnBrk="0" hangingPunct="1">
                  <a:defRPr sz="2400" kern="1200">
                    <a:solidFill>
                      <a:schemeClr val="lt1"/>
                    </a:solidFill>
                  </a:defRPr>
                </a:lvl1pPr>
                <a:lvl2pPr marL="609585" algn="l" defTabSz="609585" rtl="0" eaLnBrk="1" latinLnBrk="0" hangingPunct="1">
                  <a:defRPr sz="2400" kern="1200">
                    <a:solidFill>
                      <a:schemeClr val="lt1"/>
                    </a:solidFill>
                  </a:defRPr>
                </a:lvl2pPr>
                <a:lvl3pPr marL="1219170" algn="l" defTabSz="609585" rtl="0" eaLnBrk="1" latinLnBrk="0" hangingPunct="1">
                  <a:defRPr sz="2400" kern="1200">
                    <a:solidFill>
                      <a:schemeClr val="lt1"/>
                    </a:solidFill>
                  </a:defRPr>
                </a:lvl3pPr>
                <a:lvl4pPr marL="1828754" algn="l" defTabSz="609585" rtl="0" eaLnBrk="1" latinLnBrk="0" hangingPunct="1">
                  <a:defRPr sz="2400" kern="1200">
                    <a:solidFill>
                      <a:schemeClr val="lt1"/>
                    </a:solidFill>
                  </a:defRPr>
                </a:lvl4pPr>
                <a:lvl5pPr marL="2438339" algn="l" defTabSz="609585" rtl="0" eaLnBrk="1" latinLnBrk="0" hangingPunct="1">
                  <a:defRPr sz="2400" kern="1200">
                    <a:solidFill>
                      <a:schemeClr val="lt1"/>
                    </a:solidFill>
                  </a:defRPr>
                </a:lvl5pPr>
                <a:lvl6pPr marL="3047924" algn="l" defTabSz="609585" rtl="0" eaLnBrk="1" latinLnBrk="0" hangingPunct="1">
                  <a:defRPr sz="2400" kern="1200">
                    <a:solidFill>
                      <a:schemeClr val="lt1"/>
                    </a:solidFill>
                  </a:defRPr>
                </a:lvl6pPr>
                <a:lvl7pPr marL="3657509" algn="l" defTabSz="609585" rtl="0" eaLnBrk="1" latinLnBrk="0" hangingPunct="1">
                  <a:defRPr sz="2400" kern="1200">
                    <a:solidFill>
                      <a:schemeClr val="lt1"/>
                    </a:solidFill>
                  </a:defRPr>
                </a:lvl7pPr>
                <a:lvl8pPr marL="4267093" algn="l" defTabSz="609585" rtl="0" eaLnBrk="1" latinLnBrk="0" hangingPunct="1">
                  <a:defRPr sz="2400" kern="1200">
                    <a:solidFill>
                      <a:schemeClr val="lt1"/>
                    </a:solidFill>
                  </a:defRPr>
                </a:lvl8pPr>
                <a:lvl9pPr marL="4876678" algn="l" defTabSz="609585" rtl="0" eaLnBrk="1" latinLnBrk="0" hangingPunct="1">
                  <a:defRPr sz="2400" kern="1200">
                    <a:solidFill>
                      <a:schemeClr val="lt1"/>
                    </a:solidFill>
                  </a:defRPr>
                </a:lvl9pPr>
              </a:lstStyle>
              <a:p>
                <a:pPr lvl="0" algn="ctr">
                  <a:lnSpc>
                    <a:spcPct val="150000"/>
                  </a:lnSpc>
                </a:pPr>
                <a:r>
                  <a:rPr lang="en-US" altLang="zh-CN" sz="1100" dirty="0">
                    <a:solidFill>
                      <a:schemeClr val="tx1"/>
                    </a:solidFill>
                  </a:rPr>
                  <a:t>Supporting text </a:t>
                </a:r>
                <a:r>
                  <a:rPr lang="en-US" altLang="zh-CN" sz="1100">
                    <a:solidFill>
                      <a:schemeClr val="tx1"/>
                    </a:solidFill>
                  </a:rPr>
                  <a:t>here.</a:t>
                </a:r>
                <a:r>
                  <a:rPr lang="en-US" altLang="zh-CN" sz="100">
                    <a:solidFill>
                      <a:schemeClr val="tx1"/>
                    </a:solidFill>
                  </a:rPr>
                  <a:t> </a:t>
                </a:r>
                <a:endParaRPr lang="en-US" altLang="zh-CN" sz="100" dirty="0">
                  <a:solidFill>
                    <a:schemeClr val="tx1"/>
                  </a:solidFill>
                </a:endParaRPr>
              </a:p>
              <a:p>
                <a:pPr lvl="0" algn="ctr">
                  <a:lnSpc>
                    <a:spcPct val="150000"/>
                  </a:lnSpc>
                </a:pPr>
                <a:r>
                  <a:rPr lang="en-US" altLang="zh-CN" sz="1100" dirty="0">
                    <a:solidFill>
                      <a:schemeClr val="tx1"/>
                    </a:solidFill>
                  </a:rPr>
                  <a:t>……</a:t>
                </a:r>
              </a:p>
            </p:txBody>
          </p:sp>
        </p:grpSp>
        <p:grpSp>
          <p:nvGrpSpPr>
            <p:cNvPr id="21" name="íṧľidé">
              <a:extLst>
                <a:ext uri="{FF2B5EF4-FFF2-40B4-BE49-F238E27FC236}">
                  <a16:creationId xmlns:a16="http://schemas.microsoft.com/office/drawing/2014/main" id="{81BCAC2D-62B7-403B-A7EF-FB85AC5AAA6C}"/>
                </a:ext>
              </a:extLst>
            </p:cNvPr>
            <p:cNvGrpSpPr/>
            <p:nvPr/>
          </p:nvGrpSpPr>
          <p:grpSpPr>
            <a:xfrm>
              <a:off x="5079594" y="4952137"/>
              <a:ext cx="2032570" cy="1095987"/>
              <a:chOff x="1172847" y="1872239"/>
              <a:chExt cx="2032570" cy="1095987"/>
            </a:xfrm>
          </p:grpSpPr>
          <p:sp>
            <p:nvSpPr>
              <p:cNvPr id="25" name="ïṣliḍé">
                <a:extLst>
                  <a:ext uri="{FF2B5EF4-FFF2-40B4-BE49-F238E27FC236}">
                    <a16:creationId xmlns:a16="http://schemas.microsoft.com/office/drawing/2014/main" id="{6E7614DF-12D8-4BA5-A4C8-7FD327500EAB}"/>
                  </a:ext>
                </a:extLst>
              </p:cNvPr>
              <p:cNvSpPr/>
              <p:nvPr/>
            </p:nvSpPr>
            <p:spPr bwMode="auto">
              <a:xfrm>
                <a:off x="1172847" y="1872239"/>
                <a:ext cx="2032570" cy="417143"/>
              </a:xfrm>
              <a:prstGeom prst="rect">
                <a:avLst/>
              </a:prstGeom>
              <a:noFill/>
              <a:ln w="28575" algn="ctr">
                <a:noFill/>
                <a:round/>
                <a:headEnd/>
                <a:tailEnd/>
              </a:ln>
            </p:spPr>
            <p:txBody>
              <a:bodyPr wrap="square" lIns="91440" tIns="45720" rIns="91440" bIns="45720" anchor="ctr">
                <a:normAutofit/>
              </a:bodyPr>
              <a:lstStyle>
                <a:defPPr>
                  <a:defRPr lang="en-US"/>
                </a:defPPr>
                <a:lvl1pPr marL="0" algn="l" defTabSz="609585" rtl="0" eaLnBrk="1" latinLnBrk="0" hangingPunct="1">
                  <a:defRPr sz="2400" kern="1200">
                    <a:solidFill>
                      <a:schemeClr val="tx1"/>
                    </a:solidFill>
                  </a:defRPr>
                </a:lvl1pPr>
                <a:lvl2pPr marL="609585" algn="l" defTabSz="609585" rtl="0" eaLnBrk="1" latinLnBrk="0" hangingPunct="1">
                  <a:defRPr sz="2400" kern="1200">
                    <a:solidFill>
                      <a:schemeClr val="tx1"/>
                    </a:solidFill>
                  </a:defRPr>
                </a:lvl2pPr>
                <a:lvl3pPr marL="1219170" algn="l" defTabSz="609585" rtl="0" eaLnBrk="1" latinLnBrk="0" hangingPunct="1">
                  <a:defRPr sz="2400" kern="1200">
                    <a:solidFill>
                      <a:schemeClr val="tx1"/>
                    </a:solidFill>
                  </a:defRPr>
                </a:lvl3pPr>
                <a:lvl4pPr marL="1828754" algn="l" defTabSz="609585" rtl="0" eaLnBrk="1" latinLnBrk="0" hangingPunct="1">
                  <a:defRPr sz="2400" kern="1200">
                    <a:solidFill>
                      <a:schemeClr val="tx1"/>
                    </a:solidFill>
                  </a:defRPr>
                </a:lvl4pPr>
                <a:lvl5pPr marL="2438339" algn="l" defTabSz="609585" rtl="0" eaLnBrk="1" latinLnBrk="0" hangingPunct="1">
                  <a:defRPr sz="2400" kern="1200">
                    <a:solidFill>
                      <a:schemeClr val="tx1"/>
                    </a:solidFill>
                  </a:defRPr>
                </a:lvl5pPr>
                <a:lvl6pPr marL="3047924" algn="l" defTabSz="609585" rtl="0" eaLnBrk="1" latinLnBrk="0" hangingPunct="1">
                  <a:defRPr sz="2400" kern="1200">
                    <a:solidFill>
                      <a:schemeClr val="tx1"/>
                    </a:solidFill>
                  </a:defRPr>
                </a:lvl6pPr>
                <a:lvl7pPr marL="3657509" algn="l" defTabSz="609585" rtl="0" eaLnBrk="1" latinLnBrk="0" hangingPunct="1">
                  <a:defRPr sz="2400" kern="1200">
                    <a:solidFill>
                      <a:schemeClr val="tx1"/>
                    </a:solidFill>
                  </a:defRPr>
                </a:lvl7pPr>
                <a:lvl8pPr marL="4267093" algn="l" defTabSz="609585" rtl="0" eaLnBrk="1" latinLnBrk="0" hangingPunct="1">
                  <a:defRPr sz="2400" kern="1200">
                    <a:solidFill>
                      <a:schemeClr val="tx1"/>
                    </a:solidFill>
                  </a:defRPr>
                </a:lvl8pPr>
                <a:lvl9pPr marL="4876678" algn="l" defTabSz="609585" rtl="0" eaLnBrk="1" latinLnBrk="0" hangingPunct="1">
                  <a:defRPr sz="2400" kern="1200">
                    <a:solidFill>
                      <a:schemeClr val="tx1"/>
                    </a:solidFill>
                  </a:defRPr>
                </a:lvl9pPr>
              </a:lstStyle>
              <a:p>
                <a:pPr algn="ctr" defTabSz="914400"/>
                <a:r>
                  <a:rPr lang="en-US" altLang="zh-CN" sz="1600" b="1" kern="0"/>
                  <a:t>Text he</a:t>
                </a:r>
                <a:r>
                  <a:rPr lang="en-US" altLang="zh-CN" sz="100" b="1" kern="0"/>
                  <a:t> </a:t>
                </a:r>
                <a:r>
                  <a:rPr lang="en-US" altLang="zh-CN" sz="1600" b="1" kern="0"/>
                  <a:t>re</a:t>
                </a:r>
                <a:endParaRPr lang="zh-CN" altLang="en-US" sz="1600" b="1" kern="0" dirty="0"/>
              </a:p>
            </p:txBody>
          </p:sp>
          <p:sp>
            <p:nvSpPr>
              <p:cNvPr id="26" name="ïṧľîḑé">
                <a:extLst>
                  <a:ext uri="{FF2B5EF4-FFF2-40B4-BE49-F238E27FC236}">
                    <a16:creationId xmlns:a16="http://schemas.microsoft.com/office/drawing/2014/main" id="{B57075D7-5CE5-4611-88EC-F5D568125E03}"/>
                  </a:ext>
                </a:extLst>
              </p:cNvPr>
              <p:cNvSpPr/>
              <p:nvPr/>
            </p:nvSpPr>
            <p:spPr>
              <a:xfrm>
                <a:off x="1172847" y="2289382"/>
                <a:ext cx="2032570" cy="67884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en-US"/>
                </a:defPPr>
                <a:lvl1pPr marL="0" algn="l" defTabSz="609585" rtl="0" eaLnBrk="1" latinLnBrk="0" hangingPunct="1">
                  <a:defRPr sz="2400" kern="1200">
                    <a:solidFill>
                      <a:schemeClr val="lt1"/>
                    </a:solidFill>
                  </a:defRPr>
                </a:lvl1pPr>
                <a:lvl2pPr marL="609585" algn="l" defTabSz="609585" rtl="0" eaLnBrk="1" latinLnBrk="0" hangingPunct="1">
                  <a:defRPr sz="2400" kern="1200">
                    <a:solidFill>
                      <a:schemeClr val="lt1"/>
                    </a:solidFill>
                  </a:defRPr>
                </a:lvl2pPr>
                <a:lvl3pPr marL="1219170" algn="l" defTabSz="609585" rtl="0" eaLnBrk="1" latinLnBrk="0" hangingPunct="1">
                  <a:defRPr sz="2400" kern="1200">
                    <a:solidFill>
                      <a:schemeClr val="lt1"/>
                    </a:solidFill>
                  </a:defRPr>
                </a:lvl3pPr>
                <a:lvl4pPr marL="1828754" algn="l" defTabSz="609585" rtl="0" eaLnBrk="1" latinLnBrk="0" hangingPunct="1">
                  <a:defRPr sz="2400" kern="1200">
                    <a:solidFill>
                      <a:schemeClr val="lt1"/>
                    </a:solidFill>
                  </a:defRPr>
                </a:lvl4pPr>
                <a:lvl5pPr marL="2438339" algn="l" defTabSz="609585" rtl="0" eaLnBrk="1" latinLnBrk="0" hangingPunct="1">
                  <a:defRPr sz="2400" kern="1200">
                    <a:solidFill>
                      <a:schemeClr val="lt1"/>
                    </a:solidFill>
                  </a:defRPr>
                </a:lvl5pPr>
                <a:lvl6pPr marL="3047924" algn="l" defTabSz="609585" rtl="0" eaLnBrk="1" latinLnBrk="0" hangingPunct="1">
                  <a:defRPr sz="2400" kern="1200">
                    <a:solidFill>
                      <a:schemeClr val="lt1"/>
                    </a:solidFill>
                  </a:defRPr>
                </a:lvl6pPr>
                <a:lvl7pPr marL="3657509" algn="l" defTabSz="609585" rtl="0" eaLnBrk="1" latinLnBrk="0" hangingPunct="1">
                  <a:defRPr sz="2400" kern="1200">
                    <a:solidFill>
                      <a:schemeClr val="lt1"/>
                    </a:solidFill>
                  </a:defRPr>
                </a:lvl7pPr>
                <a:lvl8pPr marL="4267093" algn="l" defTabSz="609585" rtl="0" eaLnBrk="1" latinLnBrk="0" hangingPunct="1">
                  <a:defRPr sz="2400" kern="1200">
                    <a:solidFill>
                      <a:schemeClr val="lt1"/>
                    </a:solidFill>
                  </a:defRPr>
                </a:lvl8pPr>
                <a:lvl9pPr marL="4876678" algn="l" defTabSz="609585" rtl="0" eaLnBrk="1" latinLnBrk="0" hangingPunct="1">
                  <a:defRPr sz="2400" kern="1200">
                    <a:solidFill>
                      <a:schemeClr val="lt1"/>
                    </a:solidFill>
                  </a:defRPr>
                </a:lvl9pPr>
              </a:lstStyle>
              <a:p>
                <a:pPr lvl="0" algn="ctr">
                  <a:lnSpc>
                    <a:spcPct val="150000"/>
                  </a:lnSpc>
                </a:pPr>
                <a:r>
                  <a:rPr lang="en-US" altLang="zh-CN" sz="1100" dirty="0">
                    <a:solidFill>
                      <a:schemeClr val="tx1"/>
                    </a:solidFill>
                  </a:rPr>
                  <a:t>Supporting text </a:t>
                </a:r>
                <a:r>
                  <a:rPr lang="en-US" altLang="zh-CN" sz="1100">
                    <a:solidFill>
                      <a:schemeClr val="tx1"/>
                    </a:solidFill>
                  </a:rPr>
                  <a:t>here.</a:t>
                </a:r>
                <a:r>
                  <a:rPr lang="en-US" altLang="zh-CN" sz="100">
                    <a:solidFill>
                      <a:schemeClr val="tx1"/>
                    </a:solidFill>
                  </a:rPr>
                  <a:t> </a:t>
                </a:r>
                <a:endParaRPr lang="en-US" altLang="zh-CN" sz="100" dirty="0">
                  <a:solidFill>
                    <a:schemeClr val="tx1"/>
                  </a:solidFill>
                </a:endParaRPr>
              </a:p>
              <a:p>
                <a:pPr lvl="0" algn="ctr">
                  <a:lnSpc>
                    <a:spcPct val="150000"/>
                  </a:lnSpc>
                </a:pPr>
                <a:r>
                  <a:rPr lang="en-US" altLang="zh-CN" sz="1100" dirty="0">
                    <a:solidFill>
                      <a:schemeClr val="tx1"/>
                    </a:solidFill>
                  </a:rPr>
                  <a:t>……</a:t>
                </a:r>
              </a:p>
            </p:txBody>
          </p:sp>
        </p:grpSp>
        <p:grpSp>
          <p:nvGrpSpPr>
            <p:cNvPr id="22" name="îslîḋé">
              <a:extLst>
                <a:ext uri="{FF2B5EF4-FFF2-40B4-BE49-F238E27FC236}">
                  <a16:creationId xmlns:a16="http://schemas.microsoft.com/office/drawing/2014/main" id="{DC8C84A8-D952-4847-897E-C9DB9863D606}"/>
                </a:ext>
              </a:extLst>
            </p:cNvPr>
            <p:cNvGrpSpPr/>
            <p:nvPr/>
          </p:nvGrpSpPr>
          <p:grpSpPr>
            <a:xfrm>
              <a:off x="8275852" y="4952137"/>
              <a:ext cx="2032570" cy="1095987"/>
              <a:chOff x="1172847" y="1872239"/>
              <a:chExt cx="2032570" cy="1095987"/>
            </a:xfrm>
          </p:grpSpPr>
          <p:sp>
            <p:nvSpPr>
              <p:cNvPr id="23" name="ïṡlíďe">
                <a:extLst>
                  <a:ext uri="{FF2B5EF4-FFF2-40B4-BE49-F238E27FC236}">
                    <a16:creationId xmlns:a16="http://schemas.microsoft.com/office/drawing/2014/main" id="{53F1E78A-DC5B-47AE-BFD1-E304A430EE59}"/>
                  </a:ext>
                </a:extLst>
              </p:cNvPr>
              <p:cNvSpPr/>
              <p:nvPr/>
            </p:nvSpPr>
            <p:spPr bwMode="auto">
              <a:xfrm>
                <a:off x="1172847" y="1872239"/>
                <a:ext cx="2032570" cy="417143"/>
              </a:xfrm>
              <a:prstGeom prst="rect">
                <a:avLst/>
              </a:prstGeom>
              <a:noFill/>
              <a:ln w="28575" algn="ctr">
                <a:noFill/>
                <a:round/>
                <a:headEnd/>
                <a:tailEnd/>
              </a:ln>
            </p:spPr>
            <p:txBody>
              <a:bodyPr wrap="square" lIns="91440" tIns="45720" rIns="91440" bIns="45720" anchor="ctr">
                <a:normAutofit/>
              </a:bodyPr>
              <a:lstStyle>
                <a:defPPr>
                  <a:defRPr lang="en-US"/>
                </a:defPPr>
                <a:lvl1pPr marL="0" algn="l" defTabSz="609585" rtl="0" eaLnBrk="1" latinLnBrk="0" hangingPunct="1">
                  <a:defRPr sz="2400" kern="1200">
                    <a:solidFill>
                      <a:schemeClr val="tx1"/>
                    </a:solidFill>
                  </a:defRPr>
                </a:lvl1pPr>
                <a:lvl2pPr marL="609585" algn="l" defTabSz="609585" rtl="0" eaLnBrk="1" latinLnBrk="0" hangingPunct="1">
                  <a:defRPr sz="2400" kern="1200">
                    <a:solidFill>
                      <a:schemeClr val="tx1"/>
                    </a:solidFill>
                  </a:defRPr>
                </a:lvl2pPr>
                <a:lvl3pPr marL="1219170" algn="l" defTabSz="609585" rtl="0" eaLnBrk="1" latinLnBrk="0" hangingPunct="1">
                  <a:defRPr sz="2400" kern="1200">
                    <a:solidFill>
                      <a:schemeClr val="tx1"/>
                    </a:solidFill>
                  </a:defRPr>
                </a:lvl3pPr>
                <a:lvl4pPr marL="1828754" algn="l" defTabSz="609585" rtl="0" eaLnBrk="1" latinLnBrk="0" hangingPunct="1">
                  <a:defRPr sz="2400" kern="1200">
                    <a:solidFill>
                      <a:schemeClr val="tx1"/>
                    </a:solidFill>
                  </a:defRPr>
                </a:lvl4pPr>
                <a:lvl5pPr marL="2438339" algn="l" defTabSz="609585" rtl="0" eaLnBrk="1" latinLnBrk="0" hangingPunct="1">
                  <a:defRPr sz="2400" kern="1200">
                    <a:solidFill>
                      <a:schemeClr val="tx1"/>
                    </a:solidFill>
                  </a:defRPr>
                </a:lvl5pPr>
                <a:lvl6pPr marL="3047924" algn="l" defTabSz="609585" rtl="0" eaLnBrk="1" latinLnBrk="0" hangingPunct="1">
                  <a:defRPr sz="2400" kern="1200">
                    <a:solidFill>
                      <a:schemeClr val="tx1"/>
                    </a:solidFill>
                  </a:defRPr>
                </a:lvl6pPr>
                <a:lvl7pPr marL="3657509" algn="l" defTabSz="609585" rtl="0" eaLnBrk="1" latinLnBrk="0" hangingPunct="1">
                  <a:defRPr sz="2400" kern="1200">
                    <a:solidFill>
                      <a:schemeClr val="tx1"/>
                    </a:solidFill>
                  </a:defRPr>
                </a:lvl7pPr>
                <a:lvl8pPr marL="4267093" algn="l" defTabSz="609585" rtl="0" eaLnBrk="1" latinLnBrk="0" hangingPunct="1">
                  <a:defRPr sz="2400" kern="1200">
                    <a:solidFill>
                      <a:schemeClr val="tx1"/>
                    </a:solidFill>
                  </a:defRPr>
                </a:lvl8pPr>
                <a:lvl9pPr marL="4876678" algn="l" defTabSz="609585" rtl="0" eaLnBrk="1" latinLnBrk="0" hangingPunct="1">
                  <a:defRPr sz="2400" kern="1200">
                    <a:solidFill>
                      <a:schemeClr val="tx1"/>
                    </a:solidFill>
                  </a:defRPr>
                </a:lvl9pPr>
              </a:lstStyle>
              <a:p>
                <a:pPr algn="ctr" defTabSz="914400"/>
                <a:r>
                  <a:rPr lang="en-US" altLang="zh-CN" sz="1600" b="1" kern="0"/>
                  <a:t>Text he</a:t>
                </a:r>
                <a:r>
                  <a:rPr lang="en-US" altLang="zh-CN" sz="100" b="1" kern="0"/>
                  <a:t> </a:t>
                </a:r>
                <a:r>
                  <a:rPr lang="en-US" altLang="zh-CN" sz="1600" b="1" kern="0"/>
                  <a:t>re</a:t>
                </a:r>
                <a:endParaRPr lang="zh-CN" altLang="en-US" sz="1600" b="1" kern="0" dirty="0"/>
              </a:p>
            </p:txBody>
          </p:sp>
          <p:sp>
            <p:nvSpPr>
              <p:cNvPr id="24" name="í$lîḍé">
                <a:extLst>
                  <a:ext uri="{FF2B5EF4-FFF2-40B4-BE49-F238E27FC236}">
                    <a16:creationId xmlns:a16="http://schemas.microsoft.com/office/drawing/2014/main" id="{01ED0D27-F879-4B76-B9E0-B912C5280AB8}"/>
                  </a:ext>
                </a:extLst>
              </p:cNvPr>
              <p:cNvSpPr/>
              <p:nvPr/>
            </p:nvSpPr>
            <p:spPr>
              <a:xfrm>
                <a:off x="1172847" y="2289382"/>
                <a:ext cx="2032570" cy="67884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en-US"/>
                </a:defPPr>
                <a:lvl1pPr marL="0" algn="l" defTabSz="609585" rtl="0" eaLnBrk="1" latinLnBrk="0" hangingPunct="1">
                  <a:defRPr sz="2400" kern="1200">
                    <a:solidFill>
                      <a:schemeClr val="lt1"/>
                    </a:solidFill>
                  </a:defRPr>
                </a:lvl1pPr>
                <a:lvl2pPr marL="609585" algn="l" defTabSz="609585" rtl="0" eaLnBrk="1" latinLnBrk="0" hangingPunct="1">
                  <a:defRPr sz="2400" kern="1200">
                    <a:solidFill>
                      <a:schemeClr val="lt1"/>
                    </a:solidFill>
                  </a:defRPr>
                </a:lvl2pPr>
                <a:lvl3pPr marL="1219170" algn="l" defTabSz="609585" rtl="0" eaLnBrk="1" latinLnBrk="0" hangingPunct="1">
                  <a:defRPr sz="2400" kern="1200">
                    <a:solidFill>
                      <a:schemeClr val="lt1"/>
                    </a:solidFill>
                  </a:defRPr>
                </a:lvl3pPr>
                <a:lvl4pPr marL="1828754" algn="l" defTabSz="609585" rtl="0" eaLnBrk="1" latinLnBrk="0" hangingPunct="1">
                  <a:defRPr sz="2400" kern="1200">
                    <a:solidFill>
                      <a:schemeClr val="lt1"/>
                    </a:solidFill>
                  </a:defRPr>
                </a:lvl4pPr>
                <a:lvl5pPr marL="2438339" algn="l" defTabSz="609585" rtl="0" eaLnBrk="1" latinLnBrk="0" hangingPunct="1">
                  <a:defRPr sz="2400" kern="1200">
                    <a:solidFill>
                      <a:schemeClr val="lt1"/>
                    </a:solidFill>
                  </a:defRPr>
                </a:lvl5pPr>
                <a:lvl6pPr marL="3047924" algn="l" defTabSz="609585" rtl="0" eaLnBrk="1" latinLnBrk="0" hangingPunct="1">
                  <a:defRPr sz="2400" kern="1200">
                    <a:solidFill>
                      <a:schemeClr val="lt1"/>
                    </a:solidFill>
                  </a:defRPr>
                </a:lvl6pPr>
                <a:lvl7pPr marL="3657509" algn="l" defTabSz="609585" rtl="0" eaLnBrk="1" latinLnBrk="0" hangingPunct="1">
                  <a:defRPr sz="2400" kern="1200">
                    <a:solidFill>
                      <a:schemeClr val="lt1"/>
                    </a:solidFill>
                  </a:defRPr>
                </a:lvl7pPr>
                <a:lvl8pPr marL="4267093" algn="l" defTabSz="609585" rtl="0" eaLnBrk="1" latinLnBrk="0" hangingPunct="1">
                  <a:defRPr sz="2400" kern="1200">
                    <a:solidFill>
                      <a:schemeClr val="lt1"/>
                    </a:solidFill>
                  </a:defRPr>
                </a:lvl8pPr>
                <a:lvl9pPr marL="4876678" algn="l" defTabSz="609585" rtl="0" eaLnBrk="1" latinLnBrk="0" hangingPunct="1">
                  <a:defRPr sz="2400" kern="1200">
                    <a:solidFill>
                      <a:schemeClr val="lt1"/>
                    </a:solidFill>
                  </a:defRPr>
                </a:lvl9pPr>
              </a:lstStyle>
              <a:p>
                <a:pPr lvl="0" algn="ctr">
                  <a:lnSpc>
                    <a:spcPct val="150000"/>
                  </a:lnSpc>
                </a:pPr>
                <a:r>
                  <a:rPr lang="en-US" altLang="zh-CN" sz="1100" dirty="0">
                    <a:solidFill>
                      <a:schemeClr val="tx1"/>
                    </a:solidFill>
                  </a:rPr>
                  <a:t>Supporting text </a:t>
                </a:r>
                <a:r>
                  <a:rPr lang="en-US" altLang="zh-CN" sz="1100">
                    <a:solidFill>
                      <a:schemeClr val="tx1"/>
                    </a:solidFill>
                  </a:rPr>
                  <a:t>here.</a:t>
                </a:r>
                <a:r>
                  <a:rPr lang="en-US" altLang="zh-CN" sz="100">
                    <a:solidFill>
                      <a:schemeClr val="tx1"/>
                    </a:solidFill>
                  </a:rPr>
                  <a:t> </a:t>
                </a:r>
                <a:endParaRPr lang="en-US" altLang="zh-CN" sz="100" dirty="0">
                  <a:solidFill>
                    <a:schemeClr val="tx1"/>
                  </a:solidFill>
                </a:endParaRPr>
              </a:p>
              <a:p>
                <a:pPr lvl="0" algn="ctr">
                  <a:lnSpc>
                    <a:spcPct val="150000"/>
                  </a:lnSpc>
                </a:pPr>
                <a:r>
                  <a:rPr lang="en-US" altLang="zh-CN" sz="1100" dirty="0">
                    <a:solidFill>
                      <a:schemeClr val="tx1"/>
                    </a:solidFill>
                  </a:rPr>
                  <a:t>……</a:t>
                </a:r>
              </a:p>
            </p:txBody>
          </p:sp>
        </p:grpSp>
      </p:grpSp>
    </p:spTree>
    <p:extLst>
      <p:ext uri="{BB962C8B-B14F-4D97-AF65-F5344CB8AC3E}">
        <p14:creationId xmlns:p14="http://schemas.microsoft.com/office/powerpoint/2010/main" val="22954465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ïṧļiďé"/>
        <p:cNvGrpSpPr/>
        <p:nvPr/>
      </p:nvGrpSpPr>
      <p:grpSpPr>
        <a:xfrm>
          <a:off x="0" y="0"/>
          <a:ext cx="0" cy="0"/>
          <a:chOff x="0" y="0"/>
          <a:chExt cx="0" cy="0"/>
        </a:xfrm>
      </p:grpSpPr>
      <p:sp>
        <p:nvSpPr>
          <p:cNvPr id="5" name="îṣļídé"/>
          <p:cNvSpPr>
            <a:spLocks noGrp="1"/>
          </p:cNvSpPr>
          <p:nvPr>
            <p:ph type="title"/>
          </p:nvPr>
        </p:nvSpPr>
        <p:spPr/>
        <p:txBody>
          <a:bodyPr/>
          <a:lstStyle/>
          <a:p>
            <a:r>
              <a:rPr lang="en-GB" altLang="zh-CN" dirty="0"/>
              <a:t>Virus protection in public areas</a:t>
            </a:r>
            <a:endParaRPr lang="zh-CN" altLang="en-US" dirty="0"/>
          </a:p>
        </p:txBody>
      </p:sp>
      <p:sp>
        <p:nvSpPr>
          <p:cNvPr id="6" name="îŝļïḓé"/>
          <p:cNvSpPr>
            <a:spLocks noGrp="1"/>
          </p:cNvSpPr>
          <p:nvPr>
            <p:ph type="body" idx="1"/>
          </p:nvPr>
        </p:nvSpPr>
        <p:spPr/>
        <p:txBody>
          <a:bodyPr/>
          <a:lstStyle/>
          <a:p>
            <a:pPr lvl="0"/>
            <a:r>
              <a:rPr lang="en-US" altLang="zh-CN" dirty="0"/>
              <a:t>Supporting text here.</a:t>
            </a:r>
          </a:p>
          <a:p>
            <a:pPr lvl="0"/>
            <a:r>
              <a:rPr lang="en-US" altLang="zh-CN" dirty="0"/>
              <a:t>When you copy &amp; paste, choose "keep text only" option.</a:t>
            </a:r>
            <a:endParaRPr lang="zh-CN" altLang="en-US" dirty="0"/>
          </a:p>
        </p:txBody>
      </p:sp>
      <p:cxnSp>
        <p:nvCxnSpPr>
          <p:cNvPr id="3" name="ís1îḑê">
            <a:extLst>
              <a:ext uri="{FF2B5EF4-FFF2-40B4-BE49-F238E27FC236}">
                <a16:creationId xmlns:a16="http://schemas.microsoft.com/office/drawing/2014/main" id="{5462E359-6463-4103-B628-E98E06C05E01}"/>
              </a:ext>
            </a:extLst>
          </p:cNvPr>
          <p:cNvCxnSpPr>
            <a:cxnSpLocks/>
          </p:cNvCxnSpPr>
          <p:nvPr/>
        </p:nvCxnSpPr>
        <p:spPr>
          <a:xfrm>
            <a:off x="5489847" y="3479800"/>
            <a:ext cx="6702153" cy="0"/>
          </a:xfrm>
          <a:prstGeom prst="line">
            <a:avLst/>
          </a:prstGeom>
        </p:spPr>
        <p:style>
          <a:lnRef idx="1">
            <a:schemeClr val="accent1"/>
          </a:lnRef>
          <a:fillRef idx="0">
            <a:schemeClr val="accent1"/>
          </a:fillRef>
          <a:effectRef idx="0">
            <a:schemeClr val="accent1"/>
          </a:effectRef>
          <a:fontRef idx="minor">
            <a:schemeClr val="tx1"/>
          </a:fontRef>
        </p:style>
      </p:cxnSp>
      <p:sp>
        <p:nvSpPr>
          <p:cNvPr id="7" name="iṩľiḓê">
            <a:extLst>
              <a:ext uri="{FF2B5EF4-FFF2-40B4-BE49-F238E27FC236}">
                <a16:creationId xmlns:a16="http://schemas.microsoft.com/office/drawing/2014/main" id="{3B2695F9-836E-4BAB-9C63-A30282033AEB}"/>
              </a:ext>
            </a:extLst>
          </p:cNvPr>
          <p:cNvSpPr txBox="1"/>
          <p:nvPr/>
        </p:nvSpPr>
        <p:spPr>
          <a:xfrm>
            <a:off x="5489847" y="2242733"/>
            <a:ext cx="1742303" cy="1323439"/>
          </a:xfrm>
          <a:prstGeom prst="rect">
            <a:avLst/>
          </a:prstGeom>
          <a:noFill/>
        </p:spPr>
        <p:txBody>
          <a:bodyPr wrap="square" rtlCol="0">
            <a:spAutoFit/>
          </a:bodyPr>
          <a:lstStyle/>
          <a:p>
            <a:r>
              <a:rPr lang="en-US" altLang="zh-CN" sz="8000" dirty="0">
                <a:solidFill>
                  <a:schemeClr val="accent1"/>
                </a:solidFill>
                <a:latin typeface="Impact" panose="020B0806030902050204" pitchFamily="34" charset="0"/>
              </a:rPr>
              <a:t>/03</a:t>
            </a:r>
            <a:endParaRPr lang="zh-CN" altLang="en-US" sz="8000" dirty="0">
              <a:solidFill>
                <a:schemeClr val="accent1"/>
              </a:solidFill>
              <a:latin typeface="Impact" panose="020B0806030902050204" pitchFamily="34" charset="0"/>
            </a:endParaRPr>
          </a:p>
        </p:txBody>
      </p:sp>
    </p:spTree>
    <p:extLst>
      <p:ext uri="{BB962C8B-B14F-4D97-AF65-F5344CB8AC3E}">
        <p14:creationId xmlns:p14="http://schemas.microsoft.com/office/powerpoint/2010/main" val="17232310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GB" altLang="zh-CN" dirty="0"/>
              <a:t>Virus protection in public areas</a:t>
            </a:r>
            <a:endParaRPr lang="zh-CN" altLang="en-US" dirty="0"/>
          </a:p>
        </p:txBody>
      </p:sp>
      <p:sp>
        <p:nvSpPr>
          <p:cNvPr id="3" name="页脚占位符 2"/>
          <p:cNvSpPr>
            <a:spLocks noGrp="1"/>
          </p:cNvSpPr>
          <p:nvPr>
            <p:ph type="ftr" sz="quarter" idx="11"/>
          </p:nvPr>
        </p:nvSpPr>
        <p:spPr/>
        <p:txBody>
          <a:bodyPr/>
          <a:lstStyle/>
          <a:p>
            <a:r>
              <a:rPr lang="en-GB" altLang="zh-CN" dirty="0"/>
              <a:t>https://iSlide-PowerPoint.com </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3</a:t>
            </a:fld>
            <a:endParaRPr lang="zh-CN" altLang="en-US"/>
          </a:p>
        </p:txBody>
      </p:sp>
      <p:grpSp>
        <p:nvGrpSpPr>
          <p:cNvPr id="5" name="27782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1895594" y="1244427"/>
            <a:ext cx="8376906" cy="4855316"/>
            <a:chOff x="1895594" y="1244427"/>
            <a:chExt cx="8376906" cy="4855316"/>
          </a:xfrm>
        </p:grpSpPr>
        <p:sp>
          <p:nvSpPr>
            <p:cNvPr id="6" name="íṥliḍé">
              <a:extLst>
                <a:ext uri="{FF2B5EF4-FFF2-40B4-BE49-F238E27FC236}">
                  <a16:creationId xmlns:a16="http://schemas.microsoft.com/office/drawing/2014/main" id="{F08712B2-ADC9-4092-A045-CC46F2AB0475}"/>
                </a:ext>
              </a:extLst>
            </p:cNvPr>
            <p:cNvSpPr/>
            <p:nvPr/>
          </p:nvSpPr>
          <p:spPr>
            <a:xfrm>
              <a:off x="3988753" y="1244427"/>
              <a:ext cx="1966897" cy="2719636"/>
            </a:xfrm>
            <a:custGeom>
              <a:avLst/>
              <a:gdLst>
                <a:gd name="connsiteX0" fmla="*/ 985320 w 2241318"/>
                <a:gd name="connsiteY0" fmla="*/ 886641 h 3657694"/>
                <a:gd name="connsiteX1" fmla="*/ 880387 w 2241318"/>
                <a:gd name="connsiteY1" fmla="*/ 969061 h 3657694"/>
                <a:gd name="connsiteX2" fmla="*/ 972306 w 2241318"/>
                <a:gd name="connsiteY2" fmla="*/ 1054540 h 3657694"/>
                <a:gd name="connsiteX3" fmla="*/ 992252 w 2241318"/>
                <a:gd name="connsiteY3" fmla="*/ 1069243 h 3657694"/>
                <a:gd name="connsiteX4" fmla="*/ 994989 w 2241318"/>
                <a:gd name="connsiteY4" fmla="*/ 1065184 h 3657694"/>
                <a:gd name="connsiteX5" fmla="*/ 998436 w 2241318"/>
                <a:gd name="connsiteY5" fmla="*/ 991227 h 3657694"/>
                <a:gd name="connsiteX6" fmla="*/ 985320 w 2241318"/>
                <a:gd name="connsiteY6" fmla="*/ 886641 h 3657694"/>
                <a:gd name="connsiteX7" fmla="*/ 1562448 w 2241318"/>
                <a:gd name="connsiteY7" fmla="*/ 0 h 3657694"/>
                <a:gd name="connsiteX8" fmla="*/ 1582435 w 2241318"/>
                <a:gd name="connsiteY8" fmla="*/ 114889 h 3657694"/>
                <a:gd name="connsiteX9" fmla="*/ 1652390 w 2241318"/>
                <a:gd name="connsiteY9" fmla="*/ 417096 h 3657694"/>
                <a:gd name="connsiteX10" fmla="*/ 1519975 w 2241318"/>
                <a:gd name="connsiteY10" fmla="*/ 516999 h 3657694"/>
                <a:gd name="connsiteX11" fmla="*/ 1475004 w 2241318"/>
                <a:gd name="connsiteY11" fmla="*/ 646873 h 3657694"/>
                <a:gd name="connsiteX12" fmla="*/ 1617412 w 2241318"/>
                <a:gd name="connsiteY12" fmla="*/ 1029003 h 3657694"/>
                <a:gd name="connsiteX13" fmla="*/ 1737335 w 2241318"/>
                <a:gd name="connsiteY13" fmla="*/ 1103931 h 3657694"/>
                <a:gd name="connsiteX14" fmla="*/ 2024650 w 2241318"/>
                <a:gd name="connsiteY14" fmla="*/ 951578 h 3657694"/>
                <a:gd name="connsiteX15" fmla="*/ 2057129 w 2241318"/>
                <a:gd name="connsiteY15" fmla="*/ 896631 h 3657694"/>
                <a:gd name="connsiteX16" fmla="*/ 2152068 w 2241318"/>
                <a:gd name="connsiteY16" fmla="*/ 821704 h 3657694"/>
                <a:gd name="connsiteX17" fmla="*/ 2237013 w 2241318"/>
                <a:gd name="connsiteY17" fmla="*/ 904124 h 3657694"/>
                <a:gd name="connsiteX18" fmla="*/ 2182048 w 2241318"/>
                <a:gd name="connsiteY18" fmla="*/ 986544 h 3657694"/>
                <a:gd name="connsiteX19" fmla="*/ 2149569 w 2241318"/>
                <a:gd name="connsiteY19" fmla="*/ 1029003 h 3657694"/>
                <a:gd name="connsiteX20" fmla="*/ 1692364 w 2241318"/>
                <a:gd name="connsiteY20" fmla="*/ 1351191 h 3657694"/>
                <a:gd name="connsiteX21" fmla="*/ 1609917 w 2241318"/>
                <a:gd name="connsiteY21" fmla="*/ 1338703 h 3657694"/>
                <a:gd name="connsiteX22" fmla="*/ 1497490 w 2241318"/>
                <a:gd name="connsiteY22" fmla="*/ 1243795 h 3657694"/>
                <a:gd name="connsiteX23" fmla="*/ 1347586 w 2241318"/>
                <a:gd name="connsiteY23" fmla="*/ 1555993 h 3657694"/>
                <a:gd name="connsiteX24" fmla="*/ 1949698 w 2241318"/>
                <a:gd name="connsiteY24" fmla="*/ 1768287 h 3657694"/>
                <a:gd name="connsiteX25" fmla="*/ 1954695 w 2241318"/>
                <a:gd name="connsiteY25" fmla="*/ 2070494 h 3657694"/>
                <a:gd name="connsiteX26" fmla="*/ 1689866 w 2241318"/>
                <a:gd name="connsiteY26" fmla="*/ 2510068 h 3657694"/>
                <a:gd name="connsiteX27" fmla="*/ 1609917 w 2241318"/>
                <a:gd name="connsiteY27" fmla="*/ 2537542 h 3657694"/>
                <a:gd name="connsiteX28" fmla="*/ 1594927 w 2241318"/>
                <a:gd name="connsiteY28" fmla="*/ 2562517 h 3657694"/>
                <a:gd name="connsiteX29" fmla="*/ 1717348 w 2241318"/>
                <a:gd name="connsiteY29" fmla="*/ 2697387 h 3657694"/>
                <a:gd name="connsiteX30" fmla="*/ 1832274 w 2241318"/>
                <a:gd name="connsiteY30" fmla="*/ 2734850 h 3657694"/>
                <a:gd name="connsiteX31" fmla="*/ 1697361 w 2241318"/>
                <a:gd name="connsiteY31" fmla="*/ 2814773 h 3657694"/>
                <a:gd name="connsiteX32" fmla="*/ 1484998 w 2241318"/>
                <a:gd name="connsiteY32" fmla="*/ 2769816 h 3657694"/>
                <a:gd name="connsiteX33" fmla="*/ 1365075 w 2241318"/>
                <a:gd name="connsiteY33" fmla="*/ 2769816 h 3657694"/>
                <a:gd name="connsiteX34" fmla="*/ 1317606 w 2241318"/>
                <a:gd name="connsiteY34" fmla="*/ 2744841 h 3657694"/>
                <a:gd name="connsiteX35" fmla="*/ 1345088 w 2241318"/>
                <a:gd name="connsiteY35" fmla="*/ 2624957 h 3657694"/>
                <a:gd name="connsiteX36" fmla="*/ 1455017 w 2241318"/>
                <a:gd name="connsiteY36" fmla="*/ 2462614 h 3657694"/>
                <a:gd name="connsiteX37" fmla="*/ 1614914 w 2241318"/>
                <a:gd name="connsiteY37" fmla="*/ 2172895 h 3657694"/>
                <a:gd name="connsiteX38" fmla="*/ 1734837 w 2241318"/>
                <a:gd name="connsiteY38" fmla="*/ 1980581 h 3657694"/>
                <a:gd name="connsiteX39" fmla="*/ 1440027 w 2241318"/>
                <a:gd name="connsiteY39" fmla="*/ 1960601 h 3657694"/>
                <a:gd name="connsiteX40" fmla="*/ 1170201 w 2241318"/>
                <a:gd name="connsiteY40" fmla="*/ 1913147 h 3657694"/>
                <a:gd name="connsiteX41" fmla="*/ 645538 w 2241318"/>
                <a:gd name="connsiteY41" fmla="*/ 2674908 h 3657694"/>
                <a:gd name="connsiteX42" fmla="*/ 320748 w 2241318"/>
                <a:gd name="connsiteY42" fmla="*/ 3271830 h 3657694"/>
                <a:gd name="connsiteX43" fmla="*/ 260786 w 2241318"/>
                <a:gd name="connsiteY43" fmla="*/ 3241859 h 3657694"/>
                <a:gd name="connsiteX44" fmla="*/ 223310 w 2241318"/>
                <a:gd name="connsiteY44" fmla="*/ 3281820 h 3657694"/>
                <a:gd name="connsiteX45" fmla="*/ 250793 w 2241318"/>
                <a:gd name="connsiteY45" fmla="*/ 3331772 h 3657694"/>
                <a:gd name="connsiteX46" fmla="*/ 158352 w 2241318"/>
                <a:gd name="connsiteY46" fmla="*/ 3446661 h 3657694"/>
                <a:gd name="connsiteX47" fmla="*/ 153355 w 2241318"/>
                <a:gd name="connsiteY47" fmla="*/ 3529081 h 3657694"/>
                <a:gd name="connsiteX48" fmla="*/ 228307 w 2241318"/>
                <a:gd name="connsiteY48" fmla="*/ 3648965 h 3657694"/>
                <a:gd name="connsiteX49" fmla="*/ 15944 w 2241318"/>
                <a:gd name="connsiteY49" fmla="*/ 3613999 h 3657694"/>
                <a:gd name="connsiteX50" fmla="*/ 8449 w 2241318"/>
                <a:gd name="connsiteY50" fmla="*/ 3349255 h 3657694"/>
                <a:gd name="connsiteX51" fmla="*/ 10947 w 2241318"/>
                <a:gd name="connsiteY51" fmla="*/ 3216883 h 3657694"/>
                <a:gd name="connsiteX52" fmla="*/ 120876 w 2241318"/>
                <a:gd name="connsiteY52" fmla="*/ 3196903 h 3657694"/>
                <a:gd name="connsiteX53" fmla="*/ 145860 w 2241318"/>
                <a:gd name="connsiteY53" fmla="*/ 3174424 h 3657694"/>
                <a:gd name="connsiteX54" fmla="*/ 138365 w 2241318"/>
                <a:gd name="connsiteY54" fmla="*/ 3149449 h 3657694"/>
                <a:gd name="connsiteX55" fmla="*/ 408191 w 2241318"/>
                <a:gd name="connsiteY55" fmla="*/ 2570010 h 3657694"/>
                <a:gd name="connsiteX56" fmla="*/ 665525 w 2241318"/>
                <a:gd name="connsiteY56" fmla="*/ 2210359 h 3657694"/>
                <a:gd name="connsiteX57" fmla="*/ 765461 w 2241318"/>
                <a:gd name="connsiteY57" fmla="*/ 1678374 h 3657694"/>
                <a:gd name="connsiteX58" fmla="*/ 807934 w 2241318"/>
                <a:gd name="connsiteY58" fmla="*/ 1458587 h 3657694"/>
                <a:gd name="connsiteX59" fmla="*/ 760464 w 2241318"/>
                <a:gd name="connsiteY59" fmla="*/ 1401143 h 3657694"/>
                <a:gd name="connsiteX60" fmla="*/ 820426 w 2241318"/>
                <a:gd name="connsiteY60" fmla="*/ 1373669 h 3657694"/>
                <a:gd name="connsiteX61" fmla="*/ 946907 w 2241318"/>
                <a:gd name="connsiteY61" fmla="*/ 1235990 h 3657694"/>
                <a:gd name="connsiteX62" fmla="*/ 947294 w 2241318"/>
                <a:gd name="connsiteY62" fmla="*/ 1235055 h 3657694"/>
                <a:gd name="connsiteX63" fmla="*/ 947604 w 2241318"/>
                <a:gd name="connsiteY63" fmla="*/ 1235209 h 3657694"/>
                <a:gd name="connsiteX64" fmla="*/ 947724 w 2241318"/>
                <a:gd name="connsiteY64" fmla="*/ 1234019 h 3657694"/>
                <a:gd name="connsiteX65" fmla="*/ 947294 w 2241318"/>
                <a:gd name="connsiteY65" fmla="*/ 1235055 h 3657694"/>
                <a:gd name="connsiteX66" fmla="*/ 935351 w 2241318"/>
                <a:gd name="connsiteY66" fmla="*/ 1229122 h 3657694"/>
                <a:gd name="connsiteX67" fmla="*/ 722988 w 2241318"/>
                <a:gd name="connsiteY67" fmla="*/ 1066467 h 3657694"/>
                <a:gd name="connsiteX68" fmla="*/ 717992 w 2241318"/>
                <a:gd name="connsiteY68" fmla="*/ 814211 h 3657694"/>
                <a:gd name="connsiteX69" fmla="*/ 1015300 w 2241318"/>
                <a:gd name="connsiteY69" fmla="*/ 519497 h 3657694"/>
                <a:gd name="connsiteX70" fmla="*/ 1222667 w 2241318"/>
                <a:gd name="connsiteY70" fmla="*/ 509506 h 3657694"/>
                <a:gd name="connsiteX71" fmla="*/ 1262641 w 2241318"/>
                <a:gd name="connsiteY71" fmla="*/ 482033 h 3657694"/>
                <a:gd name="connsiteX72" fmla="*/ 1287625 w 2241318"/>
                <a:gd name="connsiteY72" fmla="*/ 452062 h 3657694"/>
                <a:gd name="connsiteX73" fmla="*/ 1230162 w 2241318"/>
                <a:gd name="connsiteY73" fmla="*/ 237270 h 3657694"/>
                <a:gd name="connsiteX74" fmla="*/ 1427535 w 2241318"/>
                <a:gd name="connsiteY74" fmla="*/ 57444 h 3657694"/>
                <a:gd name="connsiteX75" fmla="*/ 1562448 w 2241318"/>
                <a:gd name="connsiteY75" fmla="*/ 0 h 3657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2241318" h="3657694">
                  <a:moveTo>
                    <a:pt x="985320" y="886641"/>
                  </a:moveTo>
                  <a:cubicBezTo>
                    <a:pt x="972828" y="866660"/>
                    <a:pt x="880387" y="969061"/>
                    <a:pt x="880387" y="969061"/>
                  </a:cubicBezTo>
                  <a:cubicBezTo>
                    <a:pt x="890693" y="988729"/>
                    <a:pt x="928754" y="1021393"/>
                    <a:pt x="972306" y="1054540"/>
                  </a:cubicBezTo>
                  <a:lnTo>
                    <a:pt x="992252" y="1069243"/>
                  </a:lnTo>
                  <a:lnTo>
                    <a:pt x="994989" y="1065184"/>
                  </a:lnTo>
                  <a:lnTo>
                    <a:pt x="998436" y="991227"/>
                  </a:lnTo>
                  <a:cubicBezTo>
                    <a:pt x="997812" y="937841"/>
                    <a:pt x="991566" y="895382"/>
                    <a:pt x="985320" y="886641"/>
                  </a:cubicBezTo>
                  <a:close/>
                  <a:moveTo>
                    <a:pt x="1562448" y="0"/>
                  </a:moveTo>
                  <a:cubicBezTo>
                    <a:pt x="1629904" y="42459"/>
                    <a:pt x="1582435" y="114889"/>
                    <a:pt x="1582435" y="114889"/>
                  </a:cubicBezTo>
                  <a:cubicBezTo>
                    <a:pt x="1637400" y="159845"/>
                    <a:pt x="1632403" y="289719"/>
                    <a:pt x="1652390" y="417096"/>
                  </a:cubicBezTo>
                  <a:cubicBezTo>
                    <a:pt x="1669879" y="546970"/>
                    <a:pt x="1592428" y="504511"/>
                    <a:pt x="1519975" y="516999"/>
                  </a:cubicBezTo>
                  <a:cubicBezTo>
                    <a:pt x="1447522" y="529487"/>
                    <a:pt x="1475004" y="646873"/>
                    <a:pt x="1475004" y="646873"/>
                  </a:cubicBezTo>
                  <a:cubicBezTo>
                    <a:pt x="1562448" y="749274"/>
                    <a:pt x="1617412" y="1029003"/>
                    <a:pt x="1617412" y="1029003"/>
                  </a:cubicBezTo>
                  <a:cubicBezTo>
                    <a:pt x="1617412" y="1029003"/>
                    <a:pt x="1662383" y="1161375"/>
                    <a:pt x="1737335" y="1103931"/>
                  </a:cubicBezTo>
                  <a:cubicBezTo>
                    <a:pt x="1812287" y="1046486"/>
                    <a:pt x="1997168" y="981549"/>
                    <a:pt x="2024650" y="951578"/>
                  </a:cubicBezTo>
                  <a:cubicBezTo>
                    <a:pt x="2054631" y="924105"/>
                    <a:pt x="2057129" y="896631"/>
                    <a:pt x="2057129" y="896631"/>
                  </a:cubicBezTo>
                  <a:cubicBezTo>
                    <a:pt x="2074618" y="854172"/>
                    <a:pt x="2114592" y="821704"/>
                    <a:pt x="2152068" y="821704"/>
                  </a:cubicBezTo>
                  <a:cubicBezTo>
                    <a:pt x="2189544" y="821704"/>
                    <a:pt x="2217026" y="854172"/>
                    <a:pt x="2237013" y="904124"/>
                  </a:cubicBezTo>
                  <a:cubicBezTo>
                    <a:pt x="2257000" y="956573"/>
                    <a:pt x="2202036" y="974056"/>
                    <a:pt x="2182048" y="986544"/>
                  </a:cubicBezTo>
                  <a:cubicBezTo>
                    <a:pt x="2164560" y="999032"/>
                    <a:pt x="2149569" y="1029003"/>
                    <a:pt x="2149569" y="1029003"/>
                  </a:cubicBezTo>
                  <a:cubicBezTo>
                    <a:pt x="2104598" y="1091443"/>
                    <a:pt x="1752325" y="1318722"/>
                    <a:pt x="1692364" y="1351191"/>
                  </a:cubicBezTo>
                  <a:cubicBezTo>
                    <a:pt x="1632403" y="1381162"/>
                    <a:pt x="1609917" y="1338703"/>
                    <a:pt x="1609917" y="1338703"/>
                  </a:cubicBezTo>
                  <a:cubicBezTo>
                    <a:pt x="1609917" y="1338703"/>
                    <a:pt x="1609917" y="1338703"/>
                    <a:pt x="1497490" y="1243795"/>
                  </a:cubicBezTo>
                  <a:cubicBezTo>
                    <a:pt x="1477503" y="1316225"/>
                    <a:pt x="1347586" y="1555993"/>
                    <a:pt x="1347586" y="1555993"/>
                  </a:cubicBezTo>
                  <a:cubicBezTo>
                    <a:pt x="1387561" y="1610939"/>
                    <a:pt x="1847264" y="1740814"/>
                    <a:pt x="1949698" y="1768287"/>
                  </a:cubicBezTo>
                  <a:cubicBezTo>
                    <a:pt x="2049634" y="1795760"/>
                    <a:pt x="2067123" y="1938122"/>
                    <a:pt x="1954695" y="2070494"/>
                  </a:cubicBezTo>
                  <a:cubicBezTo>
                    <a:pt x="1844766" y="2205363"/>
                    <a:pt x="1729840" y="2432643"/>
                    <a:pt x="1689866" y="2510068"/>
                  </a:cubicBezTo>
                  <a:cubicBezTo>
                    <a:pt x="1649891" y="2589991"/>
                    <a:pt x="1609917" y="2537542"/>
                    <a:pt x="1609917" y="2537542"/>
                  </a:cubicBezTo>
                  <a:cubicBezTo>
                    <a:pt x="1609917" y="2537542"/>
                    <a:pt x="1609917" y="2537542"/>
                    <a:pt x="1594927" y="2562517"/>
                  </a:cubicBezTo>
                  <a:cubicBezTo>
                    <a:pt x="1589930" y="2622459"/>
                    <a:pt x="1674875" y="2664918"/>
                    <a:pt x="1717348" y="2697387"/>
                  </a:cubicBezTo>
                  <a:cubicBezTo>
                    <a:pt x="1762319" y="2729855"/>
                    <a:pt x="1817284" y="2724860"/>
                    <a:pt x="1832274" y="2734850"/>
                  </a:cubicBezTo>
                  <a:cubicBezTo>
                    <a:pt x="1847264" y="2744841"/>
                    <a:pt x="1807290" y="2804783"/>
                    <a:pt x="1697361" y="2814773"/>
                  </a:cubicBezTo>
                  <a:cubicBezTo>
                    <a:pt x="1584933" y="2824763"/>
                    <a:pt x="1512480" y="2782304"/>
                    <a:pt x="1484998" y="2769816"/>
                  </a:cubicBezTo>
                  <a:cubicBezTo>
                    <a:pt x="1455017" y="2757329"/>
                    <a:pt x="1405049" y="2764821"/>
                    <a:pt x="1365075" y="2769816"/>
                  </a:cubicBezTo>
                  <a:cubicBezTo>
                    <a:pt x="1322602" y="2777309"/>
                    <a:pt x="1317606" y="2744841"/>
                    <a:pt x="1317606" y="2744841"/>
                  </a:cubicBezTo>
                  <a:cubicBezTo>
                    <a:pt x="1317606" y="2744841"/>
                    <a:pt x="1305114" y="2662421"/>
                    <a:pt x="1345088" y="2624957"/>
                  </a:cubicBezTo>
                  <a:cubicBezTo>
                    <a:pt x="1387561" y="2587493"/>
                    <a:pt x="1405049" y="2562517"/>
                    <a:pt x="1455017" y="2462614"/>
                  </a:cubicBezTo>
                  <a:cubicBezTo>
                    <a:pt x="1507483" y="2365208"/>
                    <a:pt x="1589930" y="2255315"/>
                    <a:pt x="1614914" y="2172895"/>
                  </a:cubicBezTo>
                  <a:cubicBezTo>
                    <a:pt x="1639898" y="2090475"/>
                    <a:pt x="1734837" y="2005557"/>
                    <a:pt x="1734837" y="1980581"/>
                  </a:cubicBezTo>
                  <a:cubicBezTo>
                    <a:pt x="1734837" y="1955605"/>
                    <a:pt x="1629904" y="1958103"/>
                    <a:pt x="1440027" y="1960601"/>
                  </a:cubicBezTo>
                  <a:cubicBezTo>
                    <a:pt x="1250149" y="1963098"/>
                    <a:pt x="1170201" y="1913147"/>
                    <a:pt x="1170201" y="1913147"/>
                  </a:cubicBezTo>
                  <a:cubicBezTo>
                    <a:pt x="1115236" y="2177890"/>
                    <a:pt x="820426" y="2467609"/>
                    <a:pt x="645538" y="2674908"/>
                  </a:cubicBezTo>
                  <a:cubicBezTo>
                    <a:pt x="473149" y="2884705"/>
                    <a:pt x="320748" y="3271830"/>
                    <a:pt x="320748" y="3271830"/>
                  </a:cubicBezTo>
                  <a:cubicBezTo>
                    <a:pt x="320748" y="3271830"/>
                    <a:pt x="320748" y="3271830"/>
                    <a:pt x="260786" y="3241859"/>
                  </a:cubicBezTo>
                  <a:cubicBezTo>
                    <a:pt x="260786" y="3241859"/>
                    <a:pt x="260786" y="3241859"/>
                    <a:pt x="223310" y="3281820"/>
                  </a:cubicBezTo>
                  <a:cubicBezTo>
                    <a:pt x="223310" y="3281820"/>
                    <a:pt x="248294" y="3301801"/>
                    <a:pt x="250793" y="3331772"/>
                  </a:cubicBezTo>
                  <a:cubicBezTo>
                    <a:pt x="253291" y="3364241"/>
                    <a:pt x="193330" y="3399207"/>
                    <a:pt x="158352" y="3446661"/>
                  </a:cubicBezTo>
                  <a:cubicBezTo>
                    <a:pt x="123375" y="3494115"/>
                    <a:pt x="153355" y="3529081"/>
                    <a:pt x="153355" y="3529081"/>
                  </a:cubicBezTo>
                  <a:cubicBezTo>
                    <a:pt x="215815" y="3534076"/>
                    <a:pt x="288269" y="3633979"/>
                    <a:pt x="228307" y="3648965"/>
                  </a:cubicBezTo>
                  <a:cubicBezTo>
                    <a:pt x="168346" y="3663950"/>
                    <a:pt x="43426" y="3663950"/>
                    <a:pt x="15944" y="3613999"/>
                  </a:cubicBezTo>
                  <a:cubicBezTo>
                    <a:pt x="-9040" y="3564047"/>
                    <a:pt x="954" y="3461646"/>
                    <a:pt x="8449" y="3349255"/>
                  </a:cubicBezTo>
                  <a:cubicBezTo>
                    <a:pt x="13446" y="3234366"/>
                    <a:pt x="-11538" y="3251849"/>
                    <a:pt x="10947" y="3216883"/>
                  </a:cubicBezTo>
                  <a:cubicBezTo>
                    <a:pt x="33433" y="3181917"/>
                    <a:pt x="120876" y="3196903"/>
                    <a:pt x="120876" y="3196903"/>
                  </a:cubicBezTo>
                  <a:cubicBezTo>
                    <a:pt x="120876" y="3196903"/>
                    <a:pt x="120876" y="3196903"/>
                    <a:pt x="145860" y="3174424"/>
                  </a:cubicBezTo>
                  <a:cubicBezTo>
                    <a:pt x="145860" y="3174424"/>
                    <a:pt x="145860" y="3174424"/>
                    <a:pt x="138365" y="3149449"/>
                  </a:cubicBezTo>
                  <a:cubicBezTo>
                    <a:pt x="213317" y="3054541"/>
                    <a:pt x="340735" y="2747338"/>
                    <a:pt x="408191" y="2570010"/>
                  </a:cubicBezTo>
                  <a:cubicBezTo>
                    <a:pt x="478146" y="2395179"/>
                    <a:pt x="585577" y="2425150"/>
                    <a:pt x="665525" y="2210359"/>
                  </a:cubicBezTo>
                  <a:cubicBezTo>
                    <a:pt x="745474" y="1995567"/>
                    <a:pt x="772956" y="1760794"/>
                    <a:pt x="765461" y="1678374"/>
                  </a:cubicBezTo>
                  <a:cubicBezTo>
                    <a:pt x="760464" y="1598451"/>
                    <a:pt x="807934" y="1458587"/>
                    <a:pt x="807934" y="1458587"/>
                  </a:cubicBezTo>
                  <a:cubicBezTo>
                    <a:pt x="807934" y="1458587"/>
                    <a:pt x="807934" y="1458587"/>
                    <a:pt x="760464" y="1401143"/>
                  </a:cubicBezTo>
                  <a:cubicBezTo>
                    <a:pt x="760464" y="1401143"/>
                    <a:pt x="775455" y="1391152"/>
                    <a:pt x="820426" y="1373669"/>
                  </a:cubicBezTo>
                  <a:cubicBezTo>
                    <a:pt x="854154" y="1358684"/>
                    <a:pt x="908962" y="1305766"/>
                    <a:pt x="946907" y="1235990"/>
                  </a:cubicBezTo>
                  <a:lnTo>
                    <a:pt x="947294" y="1235055"/>
                  </a:lnTo>
                  <a:lnTo>
                    <a:pt x="947604" y="1235209"/>
                  </a:lnTo>
                  <a:lnTo>
                    <a:pt x="947724" y="1234019"/>
                  </a:lnTo>
                  <a:lnTo>
                    <a:pt x="947294" y="1235055"/>
                  </a:lnTo>
                  <a:lnTo>
                    <a:pt x="935351" y="1229122"/>
                  </a:lnTo>
                  <a:cubicBezTo>
                    <a:pt x="869144" y="1193843"/>
                    <a:pt x="787947" y="1140145"/>
                    <a:pt x="722988" y="1066467"/>
                  </a:cubicBezTo>
                  <a:cubicBezTo>
                    <a:pt x="593072" y="916612"/>
                    <a:pt x="570587" y="934095"/>
                    <a:pt x="717992" y="814211"/>
                  </a:cubicBezTo>
                  <a:cubicBezTo>
                    <a:pt x="867895" y="694327"/>
                    <a:pt x="987818" y="539477"/>
                    <a:pt x="1015300" y="519497"/>
                  </a:cubicBezTo>
                  <a:cubicBezTo>
                    <a:pt x="1045281" y="499516"/>
                    <a:pt x="1180194" y="516999"/>
                    <a:pt x="1222667" y="509506"/>
                  </a:cubicBezTo>
                  <a:cubicBezTo>
                    <a:pt x="1262641" y="504511"/>
                    <a:pt x="1262641" y="482033"/>
                    <a:pt x="1262641" y="482033"/>
                  </a:cubicBezTo>
                  <a:cubicBezTo>
                    <a:pt x="1262641" y="482033"/>
                    <a:pt x="1262641" y="482033"/>
                    <a:pt x="1287625" y="452062"/>
                  </a:cubicBezTo>
                  <a:cubicBezTo>
                    <a:pt x="1297618" y="389623"/>
                    <a:pt x="1230162" y="337173"/>
                    <a:pt x="1230162" y="237270"/>
                  </a:cubicBezTo>
                  <a:cubicBezTo>
                    <a:pt x="1230162" y="139865"/>
                    <a:pt x="1330098" y="77425"/>
                    <a:pt x="1427535" y="57444"/>
                  </a:cubicBezTo>
                  <a:cubicBezTo>
                    <a:pt x="1524972" y="39961"/>
                    <a:pt x="1562448" y="0"/>
                    <a:pt x="1562448" y="0"/>
                  </a:cubicBezTo>
                  <a:close/>
                </a:path>
              </a:pathLst>
            </a:custGeom>
            <a:solidFill>
              <a:schemeClr val="bg1">
                <a:lumMod val="95000"/>
              </a:schemeClr>
            </a:solidFill>
            <a:ln>
              <a:noFill/>
            </a:ln>
          </p:spPr>
          <p:txBody>
            <a:bodyPr vert="horz" wrap="square" lIns="91440" tIns="45720" rIns="91440" bIns="45720" numCol="1" anchor="t" anchorCtr="0" compatLnSpc="1">
              <a:normAutofit/>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sp>
          <p:nvSpPr>
            <p:cNvPr id="7" name="ïsľîdê">
              <a:extLst>
                <a:ext uri="{FF2B5EF4-FFF2-40B4-BE49-F238E27FC236}">
                  <a16:creationId xmlns:a16="http://schemas.microsoft.com/office/drawing/2014/main" id="{F0A3ADA7-40AB-4CCB-9524-923AD5993E11}"/>
                </a:ext>
              </a:extLst>
            </p:cNvPr>
            <p:cNvSpPr/>
            <p:nvPr/>
          </p:nvSpPr>
          <p:spPr bwMode="auto">
            <a:xfrm>
              <a:off x="4043885" y="3704297"/>
              <a:ext cx="1216172" cy="2395446"/>
            </a:xfrm>
            <a:custGeom>
              <a:avLst/>
              <a:gdLst>
                <a:gd name="T0" fmla="*/ 0 w 544"/>
                <a:gd name="T1" fmla="*/ 915 h 1073"/>
                <a:gd name="T2" fmla="*/ 0 w 544"/>
                <a:gd name="T3" fmla="*/ 199 h 1073"/>
                <a:gd name="T4" fmla="*/ 68 w 544"/>
                <a:gd name="T5" fmla="*/ 199 h 1073"/>
                <a:gd name="T6" fmla="*/ 274 w 544"/>
                <a:gd name="T7" fmla="*/ 0 h 1073"/>
                <a:gd name="T8" fmla="*/ 436 w 544"/>
                <a:gd name="T9" fmla="*/ 81 h 1073"/>
                <a:gd name="T10" fmla="*/ 457 w 544"/>
                <a:gd name="T11" fmla="*/ 115 h 1073"/>
                <a:gd name="T12" fmla="*/ 469 w 544"/>
                <a:gd name="T13" fmla="*/ 142 h 1073"/>
                <a:gd name="T14" fmla="*/ 479 w 544"/>
                <a:gd name="T15" fmla="*/ 199 h 1073"/>
                <a:gd name="T16" fmla="*/ 544 w 544"/>
                <a:gd name="T17" fmla="*/ 199 h 1073"/>
                <a:gd name="T18" fmla="*/ 544 w 544"/>
                <a:gd name="T19" fmla="*/ 915 h 1073"/>
                <a:gd name="T20" fmla="*/ 412 w 544"/>
                <a:gd name="T21" fmla="*/ 992 h 1073"/>
                <a:gd name="T22" fmla="*/ 273 w 544"/>
                <a:gd name="T23" fmla="*/ 1073 h 1073"/>
                <a:gd name="T24" fmla="*/ 228 w 544"/>
                <a:gd name="T25" fmla="*/ 1047 h 1073"/>
                <a:gd name="T26" fmla="*/ 196 w 544"/>
                <a:gd name="T27" fmla="*/ 1028 h 1073"/>
                <a:gd name="T28" fmla="*/ 164 w 544"/>
                <a:gd name="T29" fmla="*/ 1010 h 1073"/>
                <a:gd name="T30" fmla="*/ 32 w 544"/>
                <a:gd name="T31" fmla="*/ 934 h 1073"/>
                <a:gd name="T32" fmla="*/ 0 w 544"/>
                <a:gd name="T33" fmla="*/ 915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4" h="1073">
                  <a:moveTo>
                    <a:pt x="0" y="915"/>
                  </a:moveTo>
                  <a:cubicBezTo>
                    <a:pt x="0" y="199"/>
                    <a:pt x="0" y="199"/>
                    <a:pt x="0" y="199"/>
                  </a:cubicBezTo>
                  <a:cubicBezTo>
                    <a:pt x="68" y="199"/>
                    <a:pt x="68" y="199"/>
                    <a:pt x="68" y="199"/>
                  </a:cubicBezTo>
                  <a:cubicBezTo>
                    <a:pt x="70" y="95"/>
                    <a:pt x="161" y="0"/>
                    <a:pt x="274" y="0"/>
                  </a:cubicBezTo>
                  <a:cubicBezTo>
                    <a:pt x="340" y="0"/>
                    <a:pt x="398" y="32"/>
                    <a:pt x="436" y="81"/>
                  </a:cubicBezTo>
                  <a:cubicBezTo>
                    <a:pt x="444" y="91"/>
                    <a:pt x="451" y="103"/>
                    <a:pt x="457" y="115"/>
                  </a:cubicBezTo>
                  <a:cubicBezTo>
                    <a:pt x="462" y="124"/>
                    <a:pt x="466" y="132"/>
                    <a:pt x="469" y="142"/>
                  </a:cubicBezTo>
                  <a:cubicBezTo>
                    <a:pt x="475" y="161"/>
                    <a:pt x="479" y="191"/>
                    <a:pt x="479" y="199"/>
                  </a:cubicBezTo>
                  <a:cubicBezTo>
                    <a:pt x="544" y="199"/>
                    <a:pt x="544" y="199"/>
                    <a:pt x="544" y="199"/>
                  </a:cubicBezTo>
                  <a:cubicBezTo>
                    <a:pt x="544" y="915"/>
                    <a:pt x="544" y="915"/>
                    <a:pt x="544" y="915"/>
                  </a:cubicBezTo>
                  <a:cubicBezTo>
                    <a:pt x="412" y="992"/>
                    <a:pt x="412" y="992"/>
                    <a:pt x="412" y="992"/>
                  </a:cubicBezTo>
                  <a:cubicBezTo>
                    <a:pt x="273" y="1073"/>
                    <a:pt x="273" y="1073"/>
                    <a:pt x="273" y="1073"/>
                  </a:cubicBezTo>
                  <a:cubicBezTo>
                    <a:pt x="228" y="1047"/>
                    <a:pt x="228" y="1047"/>
                    <a:pt x="228" y="1047"/>
                  </a:cubicBezTo>
                  <a:cubicBezTo>
                    <a:pt x="196" y="1028"/>
                    <a:pt x="196" y="1028"/>
                    <a:pt x="196" y="1028"/>
                  </a:cubicBezTo>
                  <a:cubicBezTo>
                    <a:pt x="164" y="1010"/>
                    <a:pt x="164" y="1010"/>
                    <a:pt x="164" y="1010"/>
                  </a:cubicBezTo>
                  <a:cubicBezTo>
                    <a:pt x="32" y="934"/>
                    <a:pt x="32" y="934"/>
                    <a:pt x="32" y="934"/>
                  </a:cubicBezTo>
                  <a:cubicBezTo>
                    <a:pt x="0" y="915"/>
                    <a:pt x="0" y="915"/>
                    <a:pt x="0" y="915"/>
                  </a:cubicBezTo>
                </a:path>
              </a:pathLst>
            </a:custGeom>
            <a:solidFill>
              <a:schemeClr val="bg1"/>
            </a:solidFill>
            <a:ln w="28575">
              <a:solidFill>
                <a:schemeClr val="bg1">
                  <a:lumMod val="75000"/>
                </a:schemeClr>
              </a:solidFill>
            </a:ln>
          </p:spPr>
          <p:txBody>
            <a:bodyPr vert="horz" wrap="square" lIns="91440" tIns="45720" rIns="91440" bIns="45720" numCol="1" anchor="t" anchorCtr="0" compatLnSpc="1">
              <a:normAutofit/>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sp>
          <p:nvSpPr>
            <p:cNvPr id="8" name="islïḑe">
              <a:extLst>
                <a:ext uri="{FF2B5EF4-FFF2-40B4-BE49-F238E27FC236}">
                  <a16:creationId xmlns:a16="http://schemas.microsoft.com/office/drawing/2014/main" id="{5611CE50-420F-4EDC-A379-C02E5EF91BD4}"/>
                </a:ext>
              </a:extLst>
            </p:cNvPr>
            <p:cNvSpPr/>
            <p:nvPr/>
          </p:nvSpPr>
          <p:spPr bwMode="auto">
            <a:xfrm>
              <a:off x="5443972" y="2923145"/>
              <a:ext cx="1216172" cy="2395446"/>
            </a:xfrm>
            <a:custGeom>
              <a:avLst/>
              <a:gdLst>
                <a:gd name="T0" fmla="*/ 0 w 544"/>
                <a:gd name="T1" fmla="*/ 915 h 1073"/>
                <a:gd name="T2" fmla="*/ 0 w 544"/>
                <a:gd name="T3" fmla="*/ 199 h 1073"/>
                <a:gd name="T4" fmla="*/ 68 w 544"/>
                <a:gd name="T5" fmla="*/ 199 h 1073"/>
                <a:gd name="T6" fmla="*/ 274 w 544"/>
                <a:gd name="T7" fmla="*/ 0 h 1073"/>
                <a:gd name="T8" fmla="*/ 436 w 544"/>
                <a:gd name="T9" fmla="*/ 81 h 1073"/>
                <a:gd name="T10" fmla="*/ 457 w 544"/>
                <a:gd name="T11" fmla="*/ 115 h 1073"/>
                <a:gd name="T12" fmla="*/ 469 w 544"/>
                <a:gd name="T13" fmla="*/ 142 h 1073"/>
                <a:gd name="T14" fmla="*/ 479 w 544"/>
                <a:gd name="T15" fmla="*/ 199 h 1073"/>
                <a:gd name="T16" fmla="*/ 544 w 544"/>
                <a:gd name="T17" fmla="*/ 199 h 1073"/>
                <a:gd name="T18" fmla="*/ 544 w 544"/>
                <a:gd name="T19" fmla="*/ 915 h 1073"/>
                <a:gd name="T20" fmla="*/ 412 w 544"/>
                <a:gd name="T21" fmla="*/ 992 h 1073"/>
                <a:gd name="T22" fmla="*/ 273 w 544"/>
                <a:gd name="T23" fmla="*/ 1073 h 1073"/>
                <a:gd name="T24" fmla="*/ 228 w 544"/>
                <a:gd name="T25" fmla="*/ 1047 h 1073"/>
                <a:gd name="T26" fmla="*/ 196 w 544"/>
                <a:gd name="T27" fmla="*/ 1028 h 1073"/>
                <a:gd name="T28" fmla="*/ 164 w 544"/>
                <a:gd name="T29" fmla="*/ 1010 h 1073"/>
                <a:gd name="T30" fmla="*/ 32 w 544"/>
                <a:gd name="T31" fmla="*/ 934 h 1073"/>
                <a:gd name="T32" fmla="*/ 0 w 544"/>
                <a:gd name="T33" fmla="*/ 915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4" h="1073">
                  <a:moveTo>
                    <a:pt x="0" y="915"/>
                  </a:moveTo>
                  <a:cubicBezTo>
                    <a:pt x="0" y="199"/>
                    <a:pt x="0" y="199"/>
                    <a:pt x="0" y="199"/>
                  </a:cubicBezTo>
                  <a:cubicBezTo>
                    <a:pt x="68" y="199"/>
                    <a:pt x="68" y="199"/>
                    <a:pt x="68" y="199"/>
                  </a:cubicBezTo>
                  <a:cubicBezTo>
                    <a:pt x="70" y="95"/>
                    <a:pt x="161" y="0"/>
                    <a:pt x="274" y="0"/>
                  </a:cubicBezTo>
                  <a:cubicBezTo>
                    <a:pt x="340" y="0"/>
                    <a:pt x="398" y="32"/>
                    <a:pt x="436" y="81"/>
                  </a:cubicBezTo>
                  <a:cubicBezTo>
                    <a:pt x="444" y="91"/>
                    <a:pt x="451" y="103"/>
                    <a:pt x="457" y="115"/>
                  </a:cubicBezTo>
                  <a:cubicBezTo>
                    <a:pt x="462" y="124"/>
                    <a:pt x="466" y="132"/>
                    <a:pt x="469" y="142"/>
                  </a:cubicBezTo>
                  <a:cubicBezTo>
                    <a:pt x="475" y="161"/>
                    <a:pt x="479" y="191"/>
                    <a:pt x="479" y="199"/>
                  </a:cubicBezTo>
                  <a:cubicBezTo>
                    <a:pt x="544" y="199"/>
                    <a:pt x="544" y="199"/>
                    <a:pt x="544" y="199"/>
                  </a:cubicBezTo>
                  <a:cubicBezTo>
                    <a:pt x="544" y="915"/>
                    <a:pt x="544" y="915"/>
                    <a:pt x="544" y="915"/>
                  </a:cubicBezTo>
                  <a:cubicBezTo>
                    <a:pt x="412" y="992"/>
                    <a:pt x="412" y="992"/>
                    <a:pt x="412" y="992"/>
                  </a:cubicBezTo>
                  <a:cubicBezTo>
                    <a:pt x="273" y="1073"/>
                    <a:pt x="273" y="1073"/>
                    <a:pt x="273" y="1073"/>
                  </a:cubicBezTo>
                  <a:cubicBezTo>
                    <a:pt x="228" y="1047"/>
                    <a:pt x="228" y="1047"/>
                    <a:pt x="228" y="1047"/>
                  </a:cubicBezTo>
                  <a:cubicBezTo>
                    <a:pt x="196" y="1028"/>
                    <a:pt x="196" y="1028"/>
                    <a:pt x="196" y="1028"/>
                  </a:cubicBezTo>
                  <a:cubicBezTo>
                    <a:pt x="164" y="1010"/>
                    <a:pt x="164" y="1010"/>
                    <a:pt x="164" y="1010"/>
                  </a:cubicBezTo>
                  <a:cubicBezTo>
                    <a:pt x="32" y="934"/>
                    <a:pt x="32" y="934"/>
                    <a:pt x="32" y="934"/>
                  </a:cubicBezTo>
                  <a:cubicBezTo>
                    <a:pt x="0" y="915"/>
                    <a:pt x="0" y="915"/>
                    <a:pt x="0" y="915"/>
                  </a:cubicBezTo>
                </a:path>
              </a:pathLst>
            </a:custGeom>
            <a:solidFill>
              <a:schemeClr val="bg1"/>
            </a:solidFill>
            <a:ln w="28575">
              <a:solidFill>
                <a:schemeClr val="bg1">
                  <a:lumMod val="75000"/>
                </a:schemeClr>
              </a:solidFill>
            </a:ln>
          </p:spPr>
          <p:txBody>
            <a:bodyPr vert="horz" wrap="square" lIns="91440" tIns="45720" rIns="91440" bIns="45720" numCol="1" anchor="t" anchorCtr="0" compatLnSpc="1">
              <a:normAutofit/>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sp>
          <p:nvSpPr>
            <p:cNvPr id="9" name="íSļíḑè">
              <a:extLst>
                <a:ext uri="{FF2B5EF4-FFF2-40B4-BE49-F238E27FC236}">
                  <a16:creationId xmlns:a16="http://schemas.microsoft.com/office/drawing/2014/main" id="{716CCD16-2A43-4E89-B8FD-E02986E8C59E}"/>
                </a:ext>
              </a:extLst>
            </p:cNvPr>
            <p:cNvSpPr/>
            <p:nvPr/>
          </p:nvSpPr>
          <p:spPr bwMode="auto">
            <a:xfrm>
              <a:off x="6844057" y="2141995"/>
              <a:ext cx="1216172" cy="2395446"/>
            </a:xfrm>
            <a:custGeom>
              <a:avLst/>
              <a:gdLst>
                <a:gd name="T0" fmla="*/ 0 w 544"/>
                <a:gd name="T1" fmla="*/ 915 h 1073"/>
                <a:gd name="T2" fmla="*/ 0 w 544"/>
                <a:gd name="T3" fmla="*/ 199 h 1073"/>
                <a:gd name="T4" fmla="*/ 68 w 544"/>
                <a:gd name="T5" fmla="*/ 199 h 1073"/>
                <a:gd name="T6" fmla="*/ 274 w 544"/>
                <a:gd name="T7" fmla="*/ 0 h 1073"/>
                <a:gd name="T8" fmla="*/ 436 w 544"/>
                <a:gd name="T9" fmla="*/ 81 h 1073"/>
                <a:gd name="T10" fmla="*/ 457 w 544"/>
                <a:gd name="T11" fmla="*/ 115 h 1073"/>
                <a:gd name="T12" fmla="*/ 469 w 544"/>
                <a:gd name="T13" fmla="*/ 142 h 1073"/>
                <a:gd name="T14" fmla="*/ 479 w 544"/>
                <a:gd name="T15" fmla="*/ 199 h 1073"/>
                <a:gd name="T16" fmla="*/ 544 w 544"/>
                <a:gd name="T17" fmla="*/ 199 h 1073"/>
                <a:gd name="T18" fmla="*/ 544 w 544"/>
                <a:gd name="T19" fmla="*/ 915 h 1073"/>
                <a:gd name="T20" fmla="*/ 412 w 544"/>
                <a:gd name="T21" fmla="*/ 992 h 1073"/>
                <a:gd name="T22" fmla="*/ 273 w 544"/>
                <a:gd name="T23" fmla="*/ 1073 h 1073"/>
                <a:gd name="T24" fmla="*/ 228 w 544"/>
                <a:gd name="T25" fmla="*/ 1047 h 1073"/>
                <a:gd name="T26" fmla="*/ 196 w 544"/>
                <a:gd name="T27" fmla="*/ 1028 h 1073"/>
                <a:gd name="T28" fmla="*/ 164 w 544"/>
                <a:gd name="T29" fmla="*/ 1010 h 1073"/>
                <a:gd name="T30" fmla="*/ 32 w 544"/>
                <a:gd name="T31" fmla="*/ 934 h 1073"/>
                <a:gd name="T32" fmla="*/ 0 w 544"/>
                <a:gd name="T33" fmla="*/ 915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4" h="1073">
                  <a:moveTo>
                    <a:pt x="0" y="915"/>
                  </a:moveTo>
                  <a:cubicBezTo>
                    <a:pt x="0" y="199"/>
                    <a:pt x="0" y="199"/>
                    <a:pt x="0" y="199"/>
                  </a:cubicBezTo>
                  <a:cubicBezTo>
                    <a:pt x="68" y="199"/>
                    <a:pt x="68" y="199"/>
                    <a:pt x="68" y="199"/>
                  </a:cubicBezTo>
                  <a:cubicBezTo>
                    <a:pt x="70" y="95"/>
                    <a:pt x="161" y="0"/>
                    <a:pt x="274" y="0"/>
                  </a:cubicBezTo>
                  <a:cubicBezTo>
                    <a:pt x="340" y="0"/>
                    <a:pt x="398" y="32"/>
                    <a:pt x="436" y="81"/>
                  </a:cubicBezTo>
                  <a:cubicBezTo>
                    <a:pt x="444" y="91"/>
                    <a:pt x="451" y="103"/>
                    <a:pt x="457" y="115"/>
                  </a:cubicBezTo>
                  <a:cubicBezTo>
                    <a:pt x="462" y="124"/>
                    <a:pt x="466" y="132"/>
                    <a:pt x="469" y="142"/>
                  </a:cubicBezTo>
                  <a:cubicBezTo>
                    <a:pt x="475" y="161"/>
                    <a:pt x="479" y="191"/>
                    <a:pt x="479" y="199"/>
                  </a:cubicBezTo>
                  <a:cubicBezTo>
                    <a:pt x="544" y="199"/>
                    <a:pt x="544" y="199"/>
                    <a:pt x="544" y="199"/>
                  </a:cubicBezTo>
                  <a:cubicBezTo>
                    <a:pt x="544" y="915"/>
                    <a:pt x="544" y="915"/>
                    <a:pt x="544" y="915"/>
                  </a:cubicBezTo>
                  <a:cubicBezTo>
                    <a:pt x="412" y="992"/>
                    <a:pt x="412" y="992"/>
                    <a:pt x="412" y="992"/>
                  </a:cubicBezTo>
                  <a:cubicBezTo>
                    <a:pt x="273" y="1073"/>
                    <a:pt x="273" y="1073"/>
                    <a:pt x="273" y="1073"/>
                  </a:cubicBezTo>
                  <a:cubicBezTo>
                    <a:pt x="228" y="1047"/>
                    <a:pt x="228" y="1047"/>
                    <a:pt x="228" y="1047"/>
                  </a:cubicBezTo>
                  <a:cubicBezTo>
                    <a:pt x="196" y="1028"/>
                    <a:pt x="196" y="1028"/>
                    <a:pt x="196" y="1028"/>
                  </a:cubicBezTo>
                  <a:cubicBezTo>
                    <a:pt x="164" y="1010"/>
                    <a:pt x="164" y="1010"/>
                    <a:pt x="164" y="1010"/>
                  </a:cubicBezTo>
                  <a:cubicBezTo>
                    <a:pt x="32" y="934"/>
                    <a:pt x="32" y="934"/>
                    <a:pt x="32" y="934"/>
                  </a:cubicBezTo>
                  <a:cubicBezTo>
                    <a:pt x="0" y="915"/>
                    <a:pt x="0" y="915"/>
                    <a:pt x="0" y="915"/>
                  </a:cubicBezTo>
                </a:path>
              </a:pathLst>
            </a:custGeom>
            <a:solidFill>
              <a:schemeClr val="bg1"/>
            </a:solidFill>
            <a:ln w="28575">
              <a:solidFill>
                <a:schemeClr val="bg1">
                  <a:lumMod val="75000"/>
                </a:schemeClr>
              </a:solidFill>
            </a:ln>
          </p:spPr>
          <p:txBody>
            <a:bodyPr vert="horz" wrap="square" lIns="91440" tIns="45720" rIns="91440" bIns="45720" numCol="1" anchor="t" anchorCtr="0" compatLnSpc="1">
              <a:normAutofit/>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sp>
          <p:nvSpPr>
            <p:cNvPr id="10" name="ïśļiḓe">
              <a:extLst>
                <a:ext uri="{FF2B5EF4-FFF2-40B4-BE49-F238E27FC236}">
                  <a16:creationId xmlns:a16="http://schemas.microsoft.com/office/drawing/2014/main" id="{08A24D01-449A-4CE6-893B-142FAC2A7677}"/>
                </a:ext>
              </a:extLst>
            </p:cNvPr>
            <p:cNvSpPr/>
            <p:nvPr/>
          </p:nvSpPr>
          <p:spPr>
            <a:xfrm>
              <a:off x="4297977" y="3802571"/>
              <a:ext cx="707987" cy="70798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marL="0" marR="0" lvl="0" indent="0" algn="ctr"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FFFFFF"/>
                </a:solidFill>
                <a:effectLst/>
                <a:uLnTx/>
                <a:uFillTx/>
              </a:endParaRPr>
            </a:p>
          </p:txBody>
        </p:sp>
        <p:sp>
          <p:nvSpPr>
            <p:cNvPr id="11" name="iṧḷîďè">
              <a:extLst>
                <a:ext uri="{FF2B5EF4-FFF2-40B4-BE49-F238E27FC236}">
                  <a16:creationId xmlns:a16="http://schemas.microsoft.com/office/drawing/2014/main" id="{B6D5F78E-381C-4DFB-8ED7-A9E58D1CF13A}"/>
                </a:ext>
              </a:extLst>
            </p:cNvPr>
            <p:cNvSpPr/>
            <p:nvPr/>
          </p:nvSpPr>
          <p:spPr>
            <a:xfrm>
              <a:off x="5698064" y="3026412"/>
              <a:ext cx="707987" cy="70798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defTabSz="913765"/>
              <a:endParaRPr lang="zh-CN" altLang="en-US" sz="2000">
                <a:solidFill>
                  <a:srgbClr val="FFFFFF"/>
                </a:solidFill>
              </a:endParaRPr>
            </a:p>
          </p:txBody>
        </p:sp>
        <p:sp>
          <p:nvSpPr>
            <p:cNvPr id="12" name="iŝlíḑe">
              <a:extLst>
                <a:ext uri="{FF2B5EF4-FFF2-40B4-BE49-F238E27FC236}">
                  <a16:creationId xmlns:a16="http://schemas.microsoft.com/office/drawing/2014/main" id="{BA0BF1BA-B297-438A-823A-01AD2DCEF749}"/>
                </a:ext>
              </a:extLst>
            </p:cNvPr>
            <p:cNvSpPr/>
            <p:nvPr/>
          </p:nvSpPr>
          <p:spPr>
            <a:xfrm>
              <a:off x="7098149" y="2250252"/>
              <a:ext cx="707987" cy="70798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defTabSz="913765"/>
              <a:endParaRPr lang="zh-CN" altLang="en-US" sz="2000">
                <a:solidFill>
                  <a:srgbClr val="FFFFFF"/>
                </a:solidFill>
              </a:endParaRPr>
            </a:p>
          </p:txBody>
        </p:sp>
        <p:sp>
          <p:nvSpPr>
            <p:cNvPr id="13" name="ïṣḷídê">
              <a:extLst>
                <a:ext uri="{FF2B5EF4-FFF2-40B4-BE49-F238E27FC236}">
                  <a16:creationId xmlns:a16="http://schemas.microsoft.com/office/drawing/2014/main" id="{FF4F5C61-8B08-4BEE-B2EE-CA90DA362A0A}"/>
                </a:ext>
              </a:extLst>
            </p:cNvPr>
            <p:cNvSpPr txBox="1"/>
            <p:nvPr/>
          </p:nvSpPr>
          <p:spPr>
            <a:xfrm>
              <a:off x="4046146" y="4707572"/>
              <a:ext cx="1211654" cy="990463"/>
            </a:xfrm>
            <a:prstGeom prst="rect">
              <a:avLst/>
            </a:prstGeom>
            <a:noFill/>
          </p:spPr>
          <p:txBody>
            <a:bodyPr wrap="square" lIns="91440" tIns="45720" rIns="91440" bIns="45720" rtlCol="0" anchor="ctr">
              <a:normAutofit/>
            </a:bodyPr>
            <a:lstStyle/>
            <a:p>
              <a:pPr marL="0" marR="0" lvl="0" indent="0" algn="ctr" defTabSz="913765" rtl="0" eaLnBrk="1" fontAlgn="auto" latinLnBrk="0" hangingPunct="1">
                <a:lnSpc>
                  <a:spcPct val="100000"/>
                </a:lnSpc>
                <a:spcBef>
                  <a:spcPts val="0"/>
                </a:spcBef>
                <a:spcAft>
                  <a:spcPts val="0"/>
                </a:spcAft>
                <a:buClrTx/>
                <a:buSzTx/>
                <a:buFontTx/>
                <a:buNone/>
                <a:defRPr/>
              </a:pPr>
              <a:r>
                <a:rPr kumimoji="0" lang="en-US" altLang="zh-CN" sz="1600" b="1" i="0" u="none" strike="noStrike" kern="1200" cap="none" spc="0" normalizeH="0" baseline="0" noProof="0">
                  <a:ln>
                    <a:noFill/>
                  </a:ln>
                  <a:solidFill>
                    <a:schemeClr val="accent1"/>
                  </a:solidFill>
                  <a:effectLst/>
                  <a:uLnTx/>
                  <a:uFillTx/>
                </a:rPr>
                <a:t>Te</a:t>
              </a:r>
              <a:r>
                <a:rPr kumimoji="0" lang="en-US" altLang="zh-CN" sz="100" b="1" i="0" u="none" strike="noStrike" kern="1200" cap="none" spc="0" normalizeH="0" baseline="0" noProof="0">
                  <a:ln>
                    <a:noFill/>
                  </a:ln>
                  <a:solidFill>
                    <a:schemeClr val="accent1"/>
                  </a:solidFill>
                  <a:effectLst/>
                  <a:uLnTx/>
                  <a:uFillTx/>
                </a:rPr>
                <a:t> </a:t>
              </a:r>
              <a:r>
                <a:rPr kumimoji="0" lang="en-US" altLang="zh-CN" sz="1600" b="1" i="0" u="none" strike="noStrike" kern="1200" cap="none" spc="0" normalizeH="0" baseline="0" noProof="0">
                  <a:ln>
                    <a:noFill/>
                  </a:ln>
                  <a:solidFill>
                    <a:schemeClr val="accent1"/>
                  </a:solidFill>
                  <a:effectLst/>
                  <a:uLnTx/>
                  <a:uFillTx/>
                </a:rPr>
                <a:t>xt </a:t>
              </a:r>
              <a:endParaRPr kumimoji="0" lang="en-US" altLang="zh-CN" sz="3200" b="1" i="0" u="none" strike="noStrike" kern="1200" cap="none" spc="0" normalizeH="0" baseline="0" noProof="0" dirty="0">
                <a:ln>
                  <a:noFill/>
                </a:ln>
                <a:solidFill>
                  <a:schemeClr val="accent1"/>
                </a:solidFill>
                <a:effectLst/>
                <a:uLnTx/>
                <a:uFillTx/>
                <a:latin typeface="Impact" panose="020B0806030902050204" pitchFamily="34" charset="0"/>
              </a:endParaRPr>
            </a:p>
          </p:txBody>
        </p:sp>
        <p:sp>
          <p:nvSpPr>
            <p:cNvPr id="14" name="íṧļiḋe">
              <a:extLst>
                <a:ext uri="{FF2B5EF4-FFF2-40B4-BE49-F238E27FC236}">
                  <a16:creationId xmlns:a16="http://schemas.microsoft.com/office/drawing/2014/main" id="{4FDD6A37-1A09-4B30-8EC6-4CFD398E1D67}"/>
                </a:ext>
              </a:extLst>
            </p:cNvPr>
            <p:cNvSpPr/>
            <p:nvPr/>
          </p:nvSpPr>
          <p:spPr bwMode="auto">
            <a:xfrm>
              <a:off x="4424318" y="3947709"/>
              <a:ext cx="455305" cy="417711"/>
            </a:xfrm>
            <a:custGeom>
              <a:avLst/>
              <a:gdLst>
                <a:gd name="connsiteX0" fmla="*/ 303857 w 607639"/>
                <a:gd name="connsiteY0" fmla="*/ 303714 h 557467"/>
                <a:gd name="connsiteX1" fmla="*/ 352986 w 607639"/>
                <a:gd name="connsiteY1" fmla="*/ 309132 h 557467"/>
                <a:gd name="connsiteX2" fmla="*/ 514597 w 607639"/>
                <a:gd name="connsiteY2" fmla="*/ 449845 h 557467"/>
                <a:gd name="connsiteX3" fmla="*/ 528676 w 607639"/>
                <a:gd name="connsiteY3" fmla="*/ 528182 h 557467"/>
                <a:gd name="connsiteX4" fmla="*/ 499345 w 607639"/>
                <a:gd name="connsiteY4" fmla="*/ 557467 h 557467"/>
                <a:gd name="connsiteX5" fmla="*/ 108223 w 607639"/>
                <a:gd name="connsiteY5" fmla="*/ 557467 h 557467"/>
                <a:gd name="connsiteX6" fmla="*/ 78892 w 607639"/>
                <a:gd name="connsiteY6" fmla="*/ 528182 h 557467"/>
                <a:gd name="connsiteX7" fmla="*/ 303857 w 607639"/>
                <a:gd name="connsiteY7" fmla="*/ 303714 h 557467"/>
                <a:gd name="connsiteX8" fmla="*/ 455825 w 607639"/>
                <a:gd name="connsiteY8" fmla="*/ 268995 h 557467"/>
                <a:gd name="connsiteX9" fmla="*/ 607639 w 607639"/>
                <a:gd name="connsiteY9" fmla="*/ 420565 h 557467"/>
                <a:gd name="connsiteX10" fmla="*/ 578303 w 607639"/>
                <a:gd name="connsiteY10" fmla="*/ 449854 h 557467"/>
                <a:gd name="connsiteX11" fmla="*/ 576396 w 607639"/>
                <a:gd name="connsiteY11" fmla="*/ 449854 h 557467"/>
                <a:gd name="connsiteX12" fmla="*/ 424875 w 607639"/>
                <a:gd name="connsiteY12" fmla="*/ 272217 h 557467"/>
                <a:gd name="connsiteX13" fmla="*/ 455825 w 607639"/>
                <a:gd name="connsiteY13" fmla="*/ 268995 h 557467"/>
                <a:gd name="connsiteX14" fmla="*/ 151811 w 607639"/>
                <a:gd name="connsiteY14" fmla="*/ 268995 h 557467"/>
                <a:gd name="connsiteX15" fmla="*/ 182906 w 607639"/>
                <a:gd name="connsiteY15" fmla="*/ 272217 h 557467"/>
                <a:gd name="connsiteX16" fmla="*/ 31389 w 607639"/>
                <a:gd name="connsiteY16" fmla="*/ 449854 h 557467"/>
                <a:gd name="connsiteX17" fmla="*/ 29335 w 607639"/>
                <a:gd name="connsiteY17" fmla="*/ 449854 h 557467"/>
                <a:gd name="connsiteX18" fmla="*/ 0 w 607639"/>
                <a:gd name="connsiteY18" fmla="*/ 420565 h 557467"/>
                <a:gd name="connsiteX19" fmla="*/ 151811 w 607639"/>
                <a:gd name="connsiteY19" fmla="*/ 268995 h 557467"/>
                <a:gd name="connsiteX20" fmla="*/ 462556 w 607639"/>
                <a:gd name="connsiteY20" fmla="*/ 35000 h 557467"/>
                <a:gd name="connsiteX21" fmla="*/ 543847 w 607639"/>
                <a:gd name="connsiteY21" fmla="*/ 122571 h 557467"/>
                <a:gd name="connsiteX22" fmla="*/ 462556 w 607639"/>
                <a:gd name="connsiteY22" fmla="*/ 210143 h 557467"/>
                <a:gd name="connsiteX23" fmla="*/ 485153 w 607639"/>
                <a:gd name="connsiteY23" fmla="*/ 122571 h 557467"/>
                <a:gd name="connsiteX24" fmla="*/ 462556 w 607639"/>
                <a:gd name="connsiteY24" fmla="*/ 35000 h 557467"/>
                <a:gd name="connsiteX25" fmla="*/ 145224 w 607639"/>
                <a:gd name="connsiteY25" fmla="*/ 35000 h 557467"/>
                <a:gd name="connsiteX26" fmla="*/ 122481 w 607639"/>
                <a:gd name="connsiteY26" fmla="*/ 122571 h 557467"/>
                <a:gd name="connsiteX27" fmla="*/ 145224 w 607639"/>
                <a:gd name="connsiteY27" fmla="*/ 210143 h 557467"/>
                <a:gd name="connsiteX28" fmla="*/ 63791 w 607639"/>
                <a:gd name="connsiteY28" fmla="*/ 122571 h 557467"/>
                <a:gd name="connsiteX29" fmla="*/ 145224 w 607639"/>
                <a:gd name="connsiteY29" fmla="*/ 35000 h 557467"/>
                <a:gd name="connsiteX30" fmla="*/ 303892 w 607639"/>
                <a:gd name="connsiteY30" fmla="*/ 0 h 557467"/>
                <a:gd name="connsiteX31" fmla="*/ 403912 w 607639"/>
                <a:gd name="connsiteY31" fmla="*/ 51694 h 557467"/>
                <a:gd name="connsiteX32" fmla="*/ 426497 w 607639"/>
                <a:gd name="connsiteY32" fmla="*/ 122572 h 557467"/>
                <a:gd name="connsiteX33" fmla="*/ 403912 w 607639"/>
                <a:gd name="connsiteY33" fmla="*/ 193450 h 557467"/>
                <a:gd name="connsiteX34" fmla="*/ 303892 w 607639"/>
                <a:gd name="connsiteY34" fmla="*/ 245144 h 557467"/>
                <a:gd name="connsiteX35" fmla="*/ 181141 w 607639"/>
                <a:gd name="connsiteY35" fmla="*/ 122572 h 557467"/>
                <a:gd name="connsiteX36" fmla="*/ 303892 w 607639"/>
                <a:gd name="connsiteY36" fmla="*/ 0 h 55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7639" h="557467">
                  <a:moveTo>
                    <a:pt x="303857" y="303714"/>
                  </a:moveTo>
                  <a:cubicBezTo>
                    <a:pt x="320722" y="303714"/>
                    <a:pt x="337148" y="305618"/>
                    <a:pt x="352986" y="309132"/>
                  </a:cubicBezTo>
                  <a:cubicBezTo>
                    <a:pt x="427486" y="325824"/>
                    <a:pt x="488200" y="379562"/>
                    <a:pt x="514597" y="449845"/>
                  </a:cubicBezTo>
                  <a:cubicBezTo>
                    <a:pt x="523690" y="474298"/>
                    <a:pt x="528676" y="500655"/>
                    <a:pt x="528676" y="528182"/>
                  </a:cubicBezTo>
                  <a:cubicBezTo>
                    <a:pt x="528676" y="544289"/>
                    <a:pt x="515477" y="557467"/>
                    <a:pt x="499345" y="557467"/>
                  </a:cubicBezTo>
                  <a:lnTo>
                    <a:pt x="108223" y="557467"/>
                  </a:lnTo>
                  <a:cubicBezTo>
                    <a:pt x="92091" y="557467"/>
                    <a:pt x="78892" y="544289"/>
                    <a:pt x="78892" y="528182"/>
                  </a:cubicBezTo>
                  <a:cubicBezTo>
                    <a:pt x="78892" y="404307"/>
                    <a:pt x="179789" y="303714"/>
                    <a:pt x="303857" y="303714"/>
                  </a:cubicBezTo>
                  <a:close/>
                  <a:moveTo>
                    <a:pt x="455825" y="268995"/>
                  </a:moveTo>
                  <a:cubicBezTo>
                    <a:pt x="539579" y="268995"/>
                    <a:pt x="607639" y="336945"/>
                    <a:pt x="607639" y="420565"/>
                  </a:cubicBezTo>
                  <a:cubicBezTo>
                    <a:pt x="607639" y="436674"/>
                    <a:pt x="594584" y="449854"/>
                    <a:pt x="578303" y="449854"/>
                  </a:cubicBezTo>
                  <a:lnTo>
                    <a:pt x="576396" y="449854"/>
                  </a:lnTo>
                  <a:cubicBezTo>
                    <a:pt x="553661" y="371360"/>
                    <a:pt x="497775" y="306631"/>
                    <a:pt x="424875" y="272217"/>
                  </a:cubicBezTo>
                  <a:cubicBezTo>
                    <a:pt x="434996" y="270020"/>
                    <a:pt x="445410" y="268995"/>
                    <a:pt x="455825" y="268995"/>
                  </a:cubicBezTo>
                  <a:close/>
                  <a:moveTo>
                    <a:pt x="151811" y="268995"/>
                  </a:moveTo>
                  <a:cubicBezTo>
                    <a:pt x="162371" y="268995"/>
                    <a:pt x="172785" y="270020"/>
                    <a:pt x="182906" y="272217"/>
                  </a:cubicBezTo>
                  <a:cubicBezTo>
                    <a:pt x="110008" y="306631"/>
                    <a:pt x="53977" y="371360"/>
                    <a:pt x="31389" y="449854"/>
                  </a:cubicBezTo>
                  <a:lnTo>
                    <a:pt x="29335" y="449854"/>
                  </a:lnTo>
                  <a:cubicBezTo>
                    <a:pt x="13201" y="449854"/>
                    <a:pt x="0" y="436674"/>
                    <a:pt x="0" y="420565"/>
                  </a:cubicBezTo>
                  <a:cubicBezTo>
                    <a:pt x="0" y="336945"/>
                    <a:pt x="68058" y="268995"/>
                    <a:pt x="151811" y="268995"/>
                  </a:cubicBezTo>
                  <a:close/>
                  <a:moveTo>
                    <a:pt x="462556" y="35000"/>
                  </a:moveTo>
                  <a:cubicBezTo>
                    <a:pt x="507897" y="38368"/>
                    <a:pt x="543847" y="76296"/>
                    <a:pt x="543847" y="122571"/>
                  </a:cubicBezTo>
                  <a:cubicBezTo>
                    <a:pt x="543847" y="168847"/>
                    <a:pt x="507897" y="206775"/>
                    <a:pt x="462556" y="210143"/>
                  </a:cubicBezTo>
                  <a:cubicBezTo>
                    <a:pt x="476936" y="184223"/>
                    <a:pt x="485153" y="154349"/>
                    <a:pt x="485153" y="122571"/>
                  </a:cubicBezTo>
                  <a:cubicBezTo>
                    <a:pt x="485153" y="90794"/>
                    <a:pt x="476936" y="60920"/>
                    <a:pt x="462556" y="35000"/>
                  </a:cubicBezTo>
                  <a:close/>
                  <a:moveTo>
                    <a:pt x="145224" y="35000"/>
                  </a:moveTo>
                  <a:cubicBezTo>
                    <a:pt x="130698" y="60920"/>
                    <a:pt x="122481" y="90794"/>
                    <a:pt x="122481" y="122571"/>
                  </a:cubicBezTo>
                  <a:cubicBezTo>
                    <a:pt x="122481" y="154349"/>
                    <a:pt x="130698" y="184223"/>
                    <a:pt x="145224" y="210143"/>
                  </a:cubicBezTo>
                  <a:cubicBezTo>
                    <a:pt x="99739" y="206775"/>
                    <a:pt x="63791" y="168847"/>
                    <a:pt x="63791" y="122571"/>
                  </a:cubicBezTo>
                  <a:cubicBezTo>
                    <a:pt x="63791" y="76296"/>
                    <a:pt x="99739" y="38368"/>
                    <a:pt x="145224" y="35000"/>
                  </a:cubicBezTo>
                  <a:close/>
                  <a:moveTo>
                    <a:pt x="303892" y="0"/>
                  </a:moveTo>
                  <a:cubicBezTo>
                    <a:pt x="345103" y="0"/>
                    <a:pt x="381620" y="20502"/>
                    <a:pt x="403912" y="51694"/>
                  </a:cubicBezTo>
                  <a:cubicBezTo>
                    <a:pt x="418138" y="71756"/>
                    <a:pt x="426497" y="96212"/>
                    <a:pt x="426497" y="122572"/>
                  </a:cubicBezTo>
                  <a:cubicBezTo>
                    <a:pt x="426497" y="148931"/>
                    <a:pt x="418138" y="173387"/>
                    <a:pt x="403912" y="193450"/>
                  </a:cubicBezTo>
                  <a:cubicBezTo>
                    <a:pt x="381620" y="224642"/>
                    <a:pt x="345103" y="245144"/>
                    <a:pt x="303892" y="245144"/>
                  </a:cubicBezTo>
                  <a:cubicBezTo>
                    <a:pt x="236137" y="245144"/>
                    <a:pt x="181141" y="190082"/>
                    <a:pt x="181141" y="122572"/>
                  </a:cubicBezTo>
                  <a:cubicBezTo>
                    <a:pt x="181141" y="55062"/>
                    <a:pt x="236137" y="0"/>
                    <a:pt x="303892" y="0"/>
                  </a:cubicBezTo>
                  <a:close/>
                </a:path>
              </a:pathLst>
            </a:custGeom>
            <a:solidFill>
              <a:schemeClr val="bg1"/>
            </a:solidFill>
            <a:ln>
              <a:noFill/>
            </a:ln>
          </p:spPr>
          <p:txBody>
            <a:bodyPr vert="horz" wrap="square" lIns="91440" tIns="45720" rIns="91440" bIns="45720" numCol="1" anchor="t" anchorCtr="0" compatLnSpc="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sp>
          <p:nvSpPr>
            <p:cNvPr id="15" name="ïš1iḋe">
              <a:extLst>
                <a:ext uri="{FF2B5EF4-FFF2-40B4-BE49-F238E27FC236}">
                  <a16:creationId xmlns:a16="http://schemas.microsoft.com/office/drawing/2014/main" id="{15E99FC1-0705-4245-98EA-7E1F64C1A74D}"/>
                </a:ext>
              </a:extLst>
            </p:cNvPr>
            <p:cNvSpPr/>
            <p:nvPr/>
          </p:nvSpPr>
          <p:spPr bwMode="auto">
            <a:xfrm>
              <a:off x="7258992" y="2427044"/>
              <a:ext cx="386300" cy="354403"/>
            </a:xfrm>
            <a:custGeom>
              <a:avLst/>
              <a:gdLst>
                <a:gd name="connsiteX0" fmla="*/ 303857 w 607639"/>
                <a:gd name="connsiteY0" fmla="*/ 303714 h 557467"/>
                <a:gd name="connsiteX1" fmla="*/ 352986 w 607639"/>
                <a:gd name="connsiteY1" fmla="*/ 309132 h 557467"/>
                <a:gd name="connsiteX2" fmla="*/ 514597 w 607639"/>
                <a:gd name="connsiteY2" fmla="*/ 449845 h 557467"/>
                <a:gd name="connsiteX3" fmla="*/ 528676 w 607639"/>
                <a:gd name="connsiteY3" fmla="*/ 528182 h 557467"/>
                <a:gd name="connsiteX4" fmla="*/ 499345 w 607639"/>
                <a:gd name="connsiteY4" fmla="*/ 557467 h 557467"/>
                <a:gd name="connsiteX5" fmla="*/ 108223 w 607639"/>
                <a:gd name="connsiteY5" fmla="*/ 557467 h 557467"/>
                <a:gd name="connsiteX6" fmla="*/ 78892 w 607639"/>
                <a:gd name="connsiteY6" fmla="*/ 528182 h 557467"/>
                <a:gd name="connsiteX7" fmla="*/ 303857 w 607639"/>
                <a:gd name="connsiteY7" fmla="*/ 303714 h 557467"/>
                <a:gd name="connsiteX8" fmla="*/ 455825 w 607639"/>
                <a:gd name="connsiteY8" fmla="*/ 268995 h 557467"/>
                <a:gd name="connsiteX9" fmla="*/ 607639 w 607639"/>
                <a:gd name="connsiteY9" fmla="*/ 420565 h 557467"/>
                <a:gd name="connsiteX10" fmla="*/ 578303 w 607639"/>
                <a:gd name="connsiteY10" fmla="*/ 449854 h 557467"/>
                <a:gd name="connsiteX11" fmla="*/ 576396 w 607639"/>
                <a:gd name="connsiteY11" fmla="*/ 449854 h 557467"/>
                <a:gd name="connsiteX12" fmla="*/ 424875 w 607639"/>
                <a:gd name="connsiteY12" fmla="*/ 272217 h 557467"/>
                <a:gd name="connsiteX13" fmla="*/ 455825 w 607639"/>
                <a:gd name="connsiteY13" fmla="*/ 268995 h 557467"/>
                <a:gd name="connsiteX14" fmla="*/ 151811 w 607639"/>
                <a:gd name="connsiteY14" fmla="*/ 268995 h 557467"/>
                <a:gd name="connsiteX15" fmla="*/ 182906 w 607639"/>
                <a:gd name="connsiteY15" fmla="*/ 272217 h 557467"/>
                <a:gd name="connsiteX16" fmla="*/ 31389 w 607639"/>
                <a:gd name="connsiteY16" fmla="*/ 449854 h 557467"/>
                <a:gd name="connsiteX17" fmla="*/ 29335 w 607639"/>
                <a:gd name="connsiteY17" fmla="*/ 449854 h 557467"/>
                <a:gd name="connsiteX18" fmla="*/ 0 w 607639"/>
                <a:gd name="connsiteY18" fmla="*/ 420565 h 557467"/>
                <a:gd name="connsiteX19" fmla="*/ 151811 w 607639"/>
                <a:gd name="connsiteY19" fmla="*/ 268995 h 557467"/>
                <a:gd name="connsiteX20" fmla="*/ 462556 w 607639"/>
                <a:gd name="connsiteY20" fmla="*/ 35000 h 557467"/>
                <a:gd name="connsiteX21" fmla="*/ 543847 w 607639"/>
                <a:gd name="connsiteY21" fmla="*/ 122571 h 557467"/>
                <a:gd name="connsiteX22" fmla="*/ 462556 w 607639"/>
                <a:gd name="connsiteY22" fmla="*/ 210143 h 557467"/>
                <a:gd name="connsiteX23" fmla="*/ 485153 w 607639"/>
                <a:gd name="connsiteY23" fmla="*/ 122571 h 557467"/>
                <a:gd name="connsiteX24" fmla="*/ 462556 w 607639"/>
                <a:gd name="connsiteY24" fmla="*/ 35000 h 557467"/>
                <a:gd name="connsiteX25" fmla="*/ 145224 w 607639"/>
                <a:gd name="connsiteY25" fmla="*/ 35000 h 557467"/>
                <a:gd name="connsiteX26" fmla="*/ 122481 w 607639"/>
                <a:gd name="connsiteY26" fmla="*/ 122571 h 557467"/>
                <a:gd name="connsiteX27" fmla="*/ 145224 w 607639"/>
                <a:gd name="connsiteY27" fmla="*/ 210143 h 557467"/>
                <a:gd name="connsiteX28" fmla="*/ 63791 w 607639"/>
                <a:gd name="connsiteY28" fmla="*/ 122571 h 557467"/>
                <a:gd name="connsiteX29" fmla="*/ 145224 w 607639"/>
                <a:gd name="connsiteY29" fmla="*/ 35000 h 557467"/>
                <a:gd name="connsiteX30" fmla="*/ 303892 w 607639"/>
                <a:gd name="connsiteY30" fmla="*/ 0 h 557467"/>
                <a:gd name="connsiteX31" fmla="*/ 403912 w 607639"/>
                <a:gd name="connsiteY31" fmla="*/ 51694 h 557467"/>
                <a:gd name="connsiteX32" fmla="*/ 426497 w 607639"/>
                <a:gd name="connsiteY32" fmla="*/ 122572 h 557467"/>
                <a:gd name="connsiteX33" fmla="*/ 403912 w 607639"/>
                <a:gd name="connsiteY33" fmla="*/ 193450 h 557467"/>
                <a:gd name="connsiteX34" fmla="*/ 303892 w 607639"/>
                <a:gd name="connsiteY34" fmla="*/ 245144 h 557467"/>
                <a:gd name="connsiteX35" fmla="*/ 181141 w 607639"/>
                <a:gd name="connsiteY35" fmla="*/ 122572 h 557467"/>
                <a:gd name="connsiteX36" fmla="*/ 303892 w 607639"/>
                <a:gd name="connsiteY36" fmla="*/ 0 h 55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7639" h="557467">
                  <a:moveTo>
                    <a:pt x="303857" y="303714"/>
                  </a:moveTo>
                  <a:cubicBezTo>
                    <a:pt x="320722" y="303714"/>
                    <a:pt x="337148" y="305618"/>
                    <a:pt x="352986" y="309132"/>
                  </a:cubicBezTo>
                  <a:cubicBezTo>
                    <a:pt x="427486" y="325824"/>
                    <a:pt x="488200" y="379562"/>
                    <a:pt x="514597" y="449845"/>
                  </a:cubicBezTo>
                  <a:cubicBezTo>
                    <a:pt x="523690" y="474298"/>
                    <a:pt x="528676" y="500655"/>
                    <a:pt x="528676" y="528182"/>
                  </a:cubicBezTo>
                  <a:cubicBezTo>
                    <a:pt x="528676" y="544289"/>
                    <a:pt x="515477" y="557467"/>
                    <a:pt x="499345" y="557467"/>
                  </a:cubicBezTo>
                  <a:lnTo>
                    <a:pt x="108223" y="557467"/>
                  </a:lnTo>
                  <a:cubicBezTo>
                    <a:pt x="92091" y="557467"/>
                    <a:pt x="78892" y="544289"/>
                    <a:pt x="78892" y="528182"/>
                  </a:cubicBezTo>
                  <a:cubicBezTo>
                    <a:pt x="78892" y="404307"/>
                    <a:pt x="179789" y="303714"/>
                    <a:pt x="303857" y="303714"/>
                  </a:cubicBezTo>
                  <a:close/>
                  <a:moveTo>
                    <a:pt x="455825" y="268995"/>
                  </a:moveTo>
                  <a:cubicBezTo>
                    <a:pt x="539579" y="268995"/>
                    <a:pt x="607639" y="336945"/>
                    <a:pt x="607639" y="420565"/>
                  </a:cubicBezTo>
                  <a:cubicBezTo>
                    <a:pt x="607639" y="436674"/>
                    <a:pt x="594584" y="449854"/>
                    <a:pt x="578303" y="449854"/>
                  </a:cubicBezTo>
                  <a:lnTo>
                    <a:pt x="576396" y="449854"/>
                  </a:lnTo>
                  <a:cubicBezTo>
                    <a:pt x="553661" y="371360"/>
                    <a:pt x="497775" y="306631"/>
                    <a:pt x="424875" y="272217"/>
                  </a:cubicBezTo>
                  <a:cubicBezTo>
                    <a:pt x="434996" y="270020"/>
                    <a:pt x="445410" y="268995"/>
                    <a:pt x="455825" y="268995"/>
                  </a:cubicBezTo>
                  <a:close/>
                  <a:moveTo>
                    <a:pt x="151811" y="268995"/>
                  </a:moveTo>
                  <a:cubicBezTo>
                    <a:pt x="162371" y="268995"/>
                    <a:pt x="172785" y="270020"/>
                    <a:pt x="182906" y="272217"/>
                  </a:cubicBezTo>
                  <a:cubicBezTo>
                    <a:pt x="110008" y="306631"/>
                    <a:pt x="53977" y="371360"/>
                    <a:pt x="31389" y="449854"/>
                  </a:cubicBezTo>
                  <a:lnTo>
                    <a:pt x="29335" y="449854"/>
                  </a:lnTo>
                  <a:cubicBezTo>
                    <a:pt x="13201" y="449854"/>
                    <a:pt x="0" y="436674"/>
                    <a:pt x="0" y="420565"/>
                  </a:cubicBezTo>
                  <a:cubicBezTo>
                    <a:pt x="0" y="336945"/>
                    <a:pt x="68058" y="268995"/>
                    <a:pt x="151811" y="268995"/>
                  </a:cubicBezTo>
                  <a:close/>
                  <a:moveTo>
                    <a:pt x="462556" y="35000"/>
                  </a:moveTo>
                  <a:cubicBezTo>
                    <a:pt x="507897" y="38368"/>
                    <a:pt x="543847" y="76296"/>
                    <a:pt x="543847" y="122571"/>
                  </a:cubicBezTo>
                  <a:cubicBezTo>
                    <a:pt x="543847" y="168847"/>
                    <a:pt x="507897" y="206775"/>
                    <a:pt x="462556" y="210143"/>
                  </a:cubicBezTo>
                  <a:cubicBezTo>
                    <a:pt x="476936" y="184223"/>
                    <a:pt x="485153" y="154349"/>
                    <a:pt x="485153" y="122571"/>
                  </a:cubicBezTo>
                  <a:cubicBezTo>
                    <a:pt x="485153" y="90794"/>
                    <a:pt x="476936" y="60920"/>
                    <a:pt x="462556" y="35000"/>
                  </a:cubicBezTo>
                  <a:close/>
                  <a:moveTo>
                    <a:pt x="145224" y="35000"/>
                  </a:moveTo>
                  <a:cubicBezTo>
                    <a:pt x="130698" y="60920"/>
                    <a:pt x="122481" y="90794"/>
                    <a:pt x="122481" y="122571"/>
                  </a:cubicBezTo>
                  <a:cubicBezTo>
                    <a:pt x="122481" y="154349"/>
                    <a:pt x="130698" y="184223"/>
                    <a:pt x="145224" y="210143"/>
                  </a:cubicBezTo>
                  <a:cubicBezTo>
                    <a:pt x="99739" y="206775"/>
                    <a:pt x="63791" y="168847"/>
                    <a:pt x="63791" y="122571"/>
                  </a:cubicBezTo>
                  <a:cubicBezTo>
                    <a:pt x="63791" y="76296"/>
                    <a:pt x="99739" y="38368"/>
                    <a:pt x="145224" y="35000"/>
                  </a:cubicBezTo>
                  <a:close/>
                  <a:moveTo>
                    <a:pt x="303892" y="0"/>
                  </a:moveTo>
                  <a:cubicBezTo>
                    <a:pt x="345103" y="0"/>
                    <a:pt x="381620" y="20502"/>
                    <a:pt x="403912" y="51694"/>
                  </a:cubicBezTo>
                  <a:cubicBezTo>
                    <a:pt x="418138" y="71756"/>
                    <a:pt x="426497" y="96212"/>
                    <a:pt x="426497" y="122572"/>
                  </a:cubicBezTo>
                  <a:cubicBezTo>
                    <a:pt x="426497" y="148931"/>
                    <a:pt x="418138" y="173387"/>
                    <a:pt x="403912" y="193450"/>
                  </a:cubicBezTo>
                  <a:cubicBezTo>
                    <a:pt x="381620" y="224642"/>
                    <a:pt x="345103" y="245144"/>
                    <a:pt x="303892" y="245144"/>
                  </a:cubicBezTo>
                  <a:cubicBezTo>
                    <a:pt x="236137" y="245144"/>
                    <a:pt x="181141" y="190082"/>
                    <a:pt x="181141" y="122572"/>
                  </a:cubicBezTo>
                  <a:cubicBezTo>
                    <a:pt x="181141" y="55062"/>
                    <a:pt x="236137" y="0"/>
                    <a:pt x="303892" y="0"/>
                  </a:cubicBezTo>
                  <a:close/>
                </a:path>
              </a:pathLst>
            </a:custGeom>
            <a:solidFill>
              <a:schemeClr val="bg1"/>
            </a:solidFill>
            <a:ln>
              <a:noFill/>
            </a:ln>
          </p:spPr>
          <p:txBody>
            <a:bodyPr vert="horz" wrap="square" lIns="91440" tIns="45720" rIns="91440" bIns="45720" numCol="1" anchor="t" anchorCtr="0" compatLnSpc="1">
              <a:normAutofit fontScale="92500"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sp>
          <p:nvSpPr>
            <p:cNvPr id="16" name="išlíḑe">
              <a:extLst>
                <a:ext uri="{FF2B5EF4-FFF2-40B4-BE49-F238E27FC236}">
                  <a16:creationId xmlns:a16="http://schemas.microsoft.com/office/drawing/2014/main" id="{F4565F79-A738-46A7-BCB5-9A893A0B2EC5}"/>
                </a:ext>
              </a:extLst>
            </p:cNvPr>
            <p:cNvSpPr/>
            <p:nvPr/>
          </p:nvSpPr>
          <p:spPr bwMode="auto">
            <a:xfrm>
              <a:off x="5837558" y="3183617"/>
              <a:ext cx="428998" cy="393576"/>
            </a:xfrm>
            <a:custGeom>
              <a:avLst/>
              <a:gdLst>
                <a:gd name="connsiteX0" fmla="*/ 303857 w 607639"/>
                <a:gd name="connsiteY0" fmla="*/ 303714 h 557467"/>
                <a:gd name="connsiteX1" fmla="*/ 352986 w 607639"/>
                <a:gd name="connsiteY1" fmla="*/ 309132 h 557467"/>
                <a:gd name="connsiteX2" fmla="*/ 514597 w 607639"/>
                <a:gd name="connsiteY2" fmla="*/ 449845 h 557467"/>
                <a:gd name="connsiteX3" fmla="*/ 528676 w 607639"/>
                <a:gd name="connsiteY3" fmla="*/ 528182 h 557467"/>
                <a:gd name="connsiteX4" fmla="*/ 499345 w 607639"/>
                <a:gd name="connsiteY4" fmla="*/ 557467 h 557467"/>
                <a:gd name="connsiteX5" fmla="*/ 108223 w 607639"/>
                <a:gd name="connsiteY5" fmla="*/ 557467 h 557467"/>
                <a:gd name="connsiteX6" fmla="*/ 78892 w 607639"/>
                <a:gd name="connsiteY6" fmla="*/ 528182 h 557467"/>
                <a:gd name="connsiteX7" fmla="*/ 303857 w 607639"/>
                <a:gd name="connsiteY7" fmla="*/ 303714 h 557467"/>
                <a:gd name="connsiteX8" fmla="*/ 455825 w 607639"/>
                <a:gd name="connsiteY8" fmla="*/ 268995 h 557467"/>
                <a:gd name="connsiteX9" fmla="*/ 607639 w 607639"/>
                <a:gd name="connsiteY9" fmla="*/ 420565 h 557467"/>
                <a:gd name="connsiteX10" fmla="*/ 578303 w 607639"/>
                <a:gd name="connsiteY10" fmla="*/ 449854 h 557467"/>
                <a:gd name="connsiteX11" fmla="*/ 576396 w 607639"/>
                <a:gd name="connsiteY11" fmla="*/ 449854 h 557467"/>
                <a:gd name="connsiteX12" fmla="*/ 424875 w 607639"/>
                <a:gd name="connsiteY12" fmla="*/ 272217 h 557467"/>
                <a:gd name="connsiteX13" fmla="*/ 455825 w 607639"/>
                <a:gd name="connsiteY13" fmla="*/ 268995 h 557467"/>
                <a:gd name="connsiteX14" fmla="*/ 151811 w 607639"/>
                <a:gd name="connsiteY14" fmla="*/ 268995 h 557467"/>
                <a:gd name="connsiteX15" fmla="*/ 182906 w 607639"/>
                <a:gd name="connsiteY15" fmla="*/ 272217 h 557467"/>
                <a:gd name="connsiteX16" fmla="*/ 31389 w 607639"/>
                <a:gd name="connsiteY16" fmla="*/ 449854 h 557467"/>
                <a:gd name="connsiteX17" fmla="*/ 29335 w 607639"/>
                <a:gd name="connsiteY17" fmla="*/ 449854 h 557467"/>
                <a:gd name="connsiteX18" fmla="*/ 0 w 607639"/>
                <a:gd name="connsiteY18" fmla="*/ 420565 h 557467"/>
                <a:gd name="connsiteX19" fmla="*/ 151811 w 607639"/>
                <a:gd name="connsiteY19" fmla="*/ 268995 h 557467"/>
                <a:gd name="connsiteX20" fmla="*/ 462556 w 607639"/>
                <a:gd name="connsiteY20" fmla="*/ 35000 h 557467"/>
                <a:gd name="connsiteX21" fmla="*/ 543847 w 607639"/>
                <a:gd name="connsiteY21" fmla="*/ 122571 h 557467"/>
                <a:gd name="connsiteX22" fmla="*/ 462556 w 607639"/>
                <a:gd name="connsiteY22" fmla="*/ 210143 h 557467"/>
                <a:gd name="connsiteX23" fmla="*/ 485153 w 607639"/>
                <a:gd name="connsiteY23" fmla="*/ 122571 h 557467"/>
                <a:gd name="connsiteX24" fmla="*/ 462556 w 607639"/>
                <a:gd name="connsiteY24" fmla="*/ 35000 h 557467"/>
                <a:gd name="connsiteX25" fmla="*/ 145224 w 607639"/>
                <a:gd name="connsiteY25" fmla="*/ 35000 h 557467"/>
                <a:gd name="connsiteX26" fmla="*/ 122481 w 607639"/>
                <a:gd name="connsiteY26" fmla="*/ 122571 h 557467"/>
                <a:gd name="connsiteX27" fmla="*/ 145224 w 607639"/>
                <a:gd name="connsiteY27" fmla="*/ 210143 h 557467"/>
                <a:gd name="connsiteX28" fmla="*/ 63791 w 607639"/>
                <a:gd name="connsiteY28" fmla="*/ 122571 h 557467"/>
                <a:gd name="connsiteX29" fmla="*/ 145224 w 607639"/>
                <a:gd name="connsiteY29" fmla="*/ 35000 h 557467"/>
                <a:gd name="connsiteX30" fmla="*/ 303892 w 607639"/>
                <a:gd name="connsiteY30" fmla="*/ 0 h 557467"/>
                <a:gd name="connsiteX31" fmla="*/ 403912 w 607639"/>
                <a:gd name="connsiteY31" fmla="*/ 51694 h 557467"/>
                <a:gd name="connsiteX32" fmla="*/ 426497 w 607639"/>
                <a:gd name="connsiteY32" fmla="*/ 122572 h 557467"/>
                <a:gd name="connsiteX33" fmla="*/ 403912 w 607639"/>
                <a:gd name="connsiteY33" fmla="*/ 193450 h 557467"/>
                <a:gd name="connsiteX34" fmla="*/ 303892 w 607639"/>
                <a:gd name="connsiteY34" fmla="*/ 245144 h 557467"/>
                <a:gd name="connsiteX35" fmla="*/ 181141 w 607639"/>
                <a:gd name="connsiteY35" fmla="*/ 122572 h 557467"/>
                <a:gd name="connsiteX36" fmla="*/ 303892 w 607639"/>
                <a:gd name="connsiteY36" fmla="*/ 0 h 55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7639" h="557467">
                  <a:moveTo>
                    <a:pt x="303857" y="303714"/>
                  </a:moveTo>
                  <a:cubicBezTo>
                    <a:pt x="320722" y="303714"/>
                    <a:pt x="337148" y="305618"/>
                    <a:pt x="352986" y="309132"/>
                  </a:cubicBezTo>
                  <a:cubicBezTo>
                    <a:pt x="427486" y="325824"/>
                    <a:pt x="488200" y="379562"/>
                    <a:pt x="514597" y="449845"/>
                  </a:cubicBezTo>
                  <a:cubicBezTo>
                    <a:pt x="523690" y="474298"/>
                    <a:pt x="528676" y="500655"/>
                    <a:pt x="528676" y="528182"/>
                  </a:cubicBezTo>
                  <a:cubicBezTo>
                    <a:pt x="528676" y="544289"/>
                    <a:pt x="515477" y="557467"/>
                    <a:pt x="499345" y="557467"/>
                  </a:cubicBezTo>
                  <a:lnTo>
                    <a:pt x="108223" y="557467"/>
                  </a:lnTo>
                  <a:cubicBezTo>
                    <a:pt x="92091" y="557467"/>
                    <a:pt x="78892" y="544289"/>
                    <a:pt x="78892" y="528182"/>
                  </a:cubicBezTo>
                  <a:cubicBezTo>
                    <a:pt x="78892" y="404307"/>
                    <a:pt x="179789" y="303714"/>
                    <a:pt x="303857" y="303714"/>
                  </a:cubicBezTo>
                  <a:close/>
                  <a:moveTo>
                    <a:pt x="455825" y="268995"/>
                  </a:moveTo>
                  <a:cubicBezTo>
                    <a:pt x="539579" y="268995"/>
                    <a:pt x="607639" y="336945"/>
                    <a:pt x="607639" y="420565"/>
                  </a:cubicBezTo>
                  <a:cubicBezTo>
                    <a:pt x="607639" y="436674"/>
                    <a:pt x="594584" y="449854"/>
                    <a:pt x="578303" y="449854"/>
                  </a:cubicBezTo>
                  <a:lnTo>
                    <a:pt x="576396" y="449854"/>
                  </a:lnTo>
                  <a:cubicBezTo>
                    <a:pt x="553661" y="371360"/>
                    <a:pt x="497775" y="306631"/>
                    <a:pt x="424875" y="272217"/>
                  </a:cubicBezTo>
                  <a:cubicBezTo>
                    <a:pt x="434996" y="270020"/>
                    <a:pt x="445410" y="268995"/>
                    <a:pt x="455825" y="268995"/>
                  </a:cubicBezTo>
                  <a:close/>
                  <a:moveTo>
                    <a:pt x="151811" y="268995"/>
                  </a:moveTo>
                  <a:cubicBezTo>
                    <a:pt x="162371" y="268995"/>
                    <a:pt x="172785" y="270020"/>
                    <a:pt x="182906" y="272217"/>
                  </a:cubicBezTo>
                  <a:cubicBezTo>
                    <a:pt x="110008" y="306631"/>
                    <a:pt x="53977" y="371360"/>
                    <a:pt x="31389" y="449854"/>
                  </a:cubicBezTo>
                  <a:lnTo>
                    <a:pt x="29335" y="449854"/>
                  </a:lnTo>
                  <a:cubicBezTo>
                    <a:pt x="13201" y="449854"/>
                    <a:pt x="0" y="436674"/>
                    <a:pt x="0" y="420565"/>
                  </a:cubicBezTo>
                  <a:cubicBezTo>
                    <a:pt x="0" y="336945"/>
                    <a:pt x="68058" y="268995"/>
                    <a:pt x="151811" y="268995"/>
                  </a:cubicBezTo>
                  <a:close/>
                  <a:moveTo>
                    <a:pt x="462556" y="35000"/>
                  </a:moveTo>
                  <a:cubicBezTo>
                    <a:pt x="507897" y="38368"/>
                    <a:pt x="543847" y="76296"/>
                    <a:pt x="543847" y="122571"/>
                  </a:cubicBezTo>
                  <a:cubicBezTo>
                    <a:pt x="543847" y="168847"/>
                    <a:pt x="507897" y="206775"/>
                    <a:pt x="462556" y="210143"/>
                  </a:cubicBezTo>
                  <a:cubicBezTo>
                    <a:pt x="476936" y="184223"/>
                    <a:pt x="485153" y="154349"/>
                    <a:pt x="485153" y="122571"/>
                  </a:cubicBezTo>
                  <a:cubicBezTo>
                    <a:pt x="485153" y="90794"/>
                    <a:pt x="476936" y="60920"/>
                    <a:pt x="462556" y="35000"/>
                  </a:cubicBezTo>
                  <a:close/>
                  <a:moveTo>
                    <a:pt x="145224" y="35000"/>
                  </a:moveTo>
                  <a:cubicBezTo>
                    <a:pt x="130698" y="60920"/>
                    <a:pt x="122481" y="90794"/>
                    <a:pt x="122481" y="122571"/>
                  </a:cubicBezTo>
                  <a:cubicBezTo>
                    <a:pt x="122481" y="154349"/>
                    <a:pt x="130698" y="184223"/>
                    <a:pt x="145224" y="210143"/>
                  </a:cubicBezTo>
                  <a:cubicBezTo>
                    <a:pt x="99739" y="206775"/>
                    <a:pt x="63791" y="168847"/>
                    <a:pt x="63791" y="122571"/>
                  </a:cubicBezTo>
                  <a:cubicBezTo>
                    <a:pt x="63791" y="76296"/>
                    <a:pt x="99739" y="38368"/>
                    <a:pt x="145224" y="35000"/>
                  </a:cubicBezTo>
                  <a:close/>
                  <a:moveTo>
                    <a:pt x="303892" y="0"/>
                  </a:moveTo>
                  <a:cubicBezTo>
                    <a:pt x="345103" y="0"/>
                    <a:pt x="381620" y="20502"/>
                    <a:pt x="403912" y="51694"/>
                  </a:cubicBezTo>
                  <a:cubicBezTo>
                    <a:pt x="418138" y="71756"/>
                    <a:pt x="426497" y="96212"/>
                    <a:pt x="426497" y="122572"/>
                  </a:cubicBezTo>
                  <a:cubicBezTo>
                    <a:pt x="426497" y="148931"/>
                    <a:pt x="418138" y="173387"/>
                    <a:pt x="403912" y="193450"/>
                  </a:cubicBezTo>
                  <a:cubicBezTo>
                    <a:pt x="381620" y="224642"/>
                    <a:pt x="345103" y="245144"/>
                    <a:pt x="303892" y="245144"/>
                  </a:cubicBezTo>
                  <a:cubicBezTo>
                    <a:pt x="236137" y="245144"/>
                    <a:pt x="181141" y="190082"/>
                    <a:pt x="181141" y="122572"/>
                  </a:cubicBezTo>
                  <a:cubicBezTo>
                    <a:pt x="181141" y="55062"/>
                    <a:pt x="236137" y="0"/>
                    <a:pt x="303892" y="0"/>
                  </a:cubicBezTo>
                  <a:close/>
                </a:path>
              </a:pathLst>
            </a:custGeom>
            <a:solidFill>
              <a:schemeClr val="bg1"/>
            </a:solidFill>
            <a:ln>
              <a:noFill/>
            </a:ln>
          </p:spPr>
          <p:txBody>
            <a:bodyPr vert="horz" wrap="square" lIns="91440" tIns="45720" rIns="91440" bIns="45720" numCol="1" anchor="t" anchorCtr="0" compatLnSpc="1">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zh-CN" altLang="en-US" sz="2000" b="0" i="0" u="none" strike="noStrike" kern="1200" cap="none" spc="0" normalizeH="0" baseline="0" noProof="0">
                <a:ln>
                  <a:noFill/>
                </a:ln>
                <a:solidFill>
                  <a:srgbClr val="000000"/>
                </a:solidFill>
                <a:effectLst/>
                <a:uLnTx/>
                <a:uFillTx/>
              </a:endParaRPr>
            </a:p>
          </p:txBody>
        </p:sp>
        <p:sp>
          <p:nvSpPr>
            <p:cNvPr id="17" name="iṩlïḑê">
              <a:extLst>
                <a:ext uri="{FF2B5EF4-FFF2-40B4-BE49-F238E27FC236}">
                  <a16:creationId xmlns:a16="http://schemas.microsoft.com/office/drawing/2014/main" id="{65081D74-D173-4160-BD4F-A226175E4EC9}"/>
                </a:ext>
              </a:extLst>
            </p:cNvPr>
            <p:cNvSpPr txBox="1"/>
            <p:nvPr/>
          </p:nvSpPr>
          <p:spPr>
            <a:xfrm>
              <a:off x="5441715" y="3946121"/>
              <a:ext cx="1211654" cy="990463"/>
            </a:xfrm>
            <a:prstGeom prst="rect">
              <a:avLst/>
            </a:prstGeom>
            <a:noFill/>
          </p:spPr>
          <p:txBody>
            <a:bodyPr wrap="square" lIns="91440" tIns="45720" rIns="91440" bIns="45720" rtlCol="0" anchor="ctr">
              <a:normAutofit/>
            </a:bodyPr>
            <a:lstStyle/>
            <a:p>
              <a:pPr marL="0" marR="0" lvl="0" indent="0" algn="ctr" defTabSz="913765" rtl="0" eaLnBrk="1" fontAlgn="auto" latinLnBrk="0" hangingPunct="1">
                <a:lnSpc>
                  <a:spcPct val="100000"/>
                </a:lnSpc>
                <a:spcBef>
                  <a:spcPts val="0"/>
                </a:spcBef>
                <a:spcAft>
                  <a:spcPts val="0"/>
                </a:spcAft>
                <a:buClrTx/>
                <a:buSzTx/>
                <a:buFontTx/>
                <a:buNone/>
                <a:defRPr/>
              </a:pPr>
              <a:r>
                <a:rPr kumimoji="0" lang="en-US" altLang="zh-CN" sz="1600" b="1" i="0" u="none" strike="noStrike" kern="1200" cap="none" spc="0" normalizeH="0" baseline="0" noProof="0" dirty="0" err="1">
                  <a:ln>
                    <a:noFill/>
                  </a:ln>
                  <a:solidFill>
                    <a:schemeClr val="accent2"/>
                  </a:solidFill>
                  <a:effectLst/>
                  <a:uLnTx/>
                  <a:uFillTx/>
                </a:rPr>
                <a:t>Te</a:t>
              </a:r>
              <a:r>
                <a:rPr kumimoji="0" lang="en-US" altLang="zh-CN" sz="100" b="1" i="0" u="none" strike="noStrike" kern="1200" cap="none" spc="0" normalizeH="0" baseline="0" noProof="0" dirty="0">
                  <a:ln>
                    <a:noFill/>
                  </a:ln>
                  <a:solidFill>
                    <a:schemeClr val="accent2"/>
                  </a:solidFill>
                  <a:effectLst/>
                  <a:uLnTx/>
                  <a:uFillTx/>
                </a:rPr>
                <a:t> </a:t>
              </a:r>
              <a:r>
                <a:rPr kumimoji="0" lang="en-US" altLang="zh-CN" sz="1600" b="1" i="0" u="none" strike="noStrike" kern="1200" cap="none" spc="0" normalizeH="0" baseline="0" noProof="0" dirty="0" err="1">
                  <a:ln>
                    <a:noFill/>
                  </a:ln>
                  <a:solidFill>
                    <a:schemeClr val="accent2"/>
                  </a:solidFill>
                  <a:effectLst/>
                  <a:uLnTx/>
                  <a:uFillTx/>
                </a:rPr>
                <a:t>xt</a:t>
              </a:r>
              <a:r>
                <a:rPr kumimoji="0" lang="en-US" altLang="zh-CN" sz="1600" b="1" i="0" u="none" strike="noStrike" kern="1200" cap="none" spc="0" normalizeH="0" baseline="0" noProof="0" dirty="0">
                  <a:ln>
                    <a:noFill/>
                  </a:ln>
                  <a:solidFill>
                    <a:schemeClr val="accent2"/>
                  </a:solidFill>
                  <a:effectLst/>
                  <a:uLnTx/>
                  <a:uFillTx/>
                </a:rPr>
                <a:t> </a:t>
              </a:r>
              <a:endParaRPr kumimoji="0" lang="en-US" altLang="zh-CN" sz="3200" b="1" i="0" u="none" strike="noStrike" kern="1200" cap="none" spc="0" normalizeH="0" baseline="0" noProof="0" dirty="0">
                <a:ln>
                  <a:noFill/>
                </a:ln>
                <a:solidFill>
                  <a:schemeClr val="accent2"/>
                </a:solidFill>
                <a:effectLst/>
                <a:uLnTx/>
                <a:uFillTx/>
                <a:latin typeface="Impact" panose="020B0806030902050204" pitchFamily="34" charset="0"/>
              </a:endParaRPr>
            </a:p>
          </p:txBody>
        </p:sp>
        <p:sp>
          <p:nvSpPr>
            <p:cNvPr id="18" name="ïsľîḑê">
              <a:extLst>
                <a:ext uri="{FF2B5EF4-FFF2-40B4-BE49-F238E27FC236}">
                  <a16:creationId xmlns:a16="http://schemas.microsoft.com/office/drawing/2014/main" id="{6B3C2BC7-F0F0-428D-B33E-018A7172DA96}"/>
                </a:ext>
              </a:extLst>
            </p:cNvPr>
            <p:cNvSpPr txBox="1"/>
            <p:nvPr/>
          </p:nvSpPr>
          <p:spPr>
            <a:xfrm>
              <a:off x="6850624" y="3130405"/>
              <a:ext cx="1211654" cy="990463"/>
            </a:xfrm>
            <a:prstGeom prst="rect">
              <a:avLst/>
            </a:prstGeom>
            <a:noFill/>
          </p:spPr>
          <p:txBody>
            <a:bodyPr wrap="square" lIns="91440" tIns="45720" rIns="91440" bIns="45720" rtlCol="0" anchor="ctr">
              <a:normAutofit/>
            </a:bodyPr>
            <a:lstStyle/>
            <a:p>
              <a:pPr marL="0" marR="0" lvl="0" indent="0" algn="ctr" defTabSz="913765" rtl="0" eaLnBrk="1" fontAlgn="auto" latinLnBrk="0" hangingPunct="1">
                <a:lnSpc>
                  <a:spcPct val="100000"/>
                </a:lnSpc>
                <a:spcBef>
                  <a:spcPts val="0"/>
                </a:spcBef>
                <a:spcAft>
                  <a:spcPts val="0"/>
                </a:spcAft>
                <a:buClrTx/>
                <a:buSzTx/>
                <a:buFontTx/>
                <a:buNone/>
                <a:defRPr/>
              </a:pPr>
              <a:r>
                <a:rPr kumimoji="0" lang="en-US" altLang="zh-CN" sz="1600" b="1" i="0" u="none" strike="noStrike" kern="1200" cap="none" spc="0" normalizeH="0" baseline="0" noProof="0">
                  <a:ln>
                    <a:noFill/>
                  </a:ln>
                  <a:solidFill>
                    <a:schemeClr val="accent1"/>
                  </a:solidFill>
                  <a:effectLst/>
                  <a:uLnTx/>
                  <a:uFillTx/>
                </a:rPr>
                <a:t>Te</a:t>
              </a:r>
              <a:r>
                <a:rPr kumimoji="0" lang="en-US" altLang="zh-CN" sz="100" b="1" i="0" u="none" strike="noStrike" kern="1200" cap="none" spc="0" normalizeH="0" baseline="0" noProof="0">
                  <a:ln>
                    <a:noFill/>
                  </a:ln>
                  <a:solidFill>
                    <a:schemeClr val="accent1"/>
                  </a:solidFill>
                  <a:effectLst/>
                  <a:uLnTx/>
                  <a:uFillTx/>
                </a:rPr>
                <a:t> </a:t>
              </a:r>
              <a:r>
                <a:rPr kumimoji="0" lang="en-US" altLang="zh-CN" sz="1600" b="1" i="0" u="none" strike="noStrike" kern="1200" cap="none" spc="0" normalizeH="0" baseline="0" noProof="0">
                  <a:ln>
                    <a:noFill/>
                  </a:ln>
                  <a:solidFill>
                    <a:schemeClr val="accent1"/>
                  </a:solidFill>
                  <a:effectLst/>
                  <a:uLnTx/>
                  <a:uFillTx/>
                </a:rPr>
                <a:t>xt </a:t>
              </a:r>
              <a:endParaRPr kumimoji="0" lang="en-US" altLang="zh-CN" sz="3200" b="1" i="0" u="none" strike="noStrike" kern="1200" cap="none" spc="0" normalizeH="0" baseline="0" noProof="0" dirty="0">
                <a:ln>
                  <a:noFill/>
                </a:ln>
                <a:solidFill>
                  <a:schemeClr val="accent1"/>
                </a:solidFill>
                <a:effectLst/>
                <a:uLnTx/>
                <a:uFillTx/>
                <a:latin typeface="Impact" panose="020B0806030902050204" pitchFamily="34" charset="0"/>
              </a:endParaRPr>
            </a:p>
          </p:txBody>
        </p:sp>
        <p:grpSp>
          <p:nvGrpSpPr>
            <p:cNvPr id="19" name="ïṩliďé">
              <a:extLst>
                <a:ext uri="{FF2B5EF4-FFF2-40B4-BE49-F238E27FC236}">
                  <a16:creationId xmlns:a16="http://schemas.microsoft.com/office/drawing/2014/main" id="{4A69144B-5090-471D-82CA-F2B82BC6EE1E}"/>
                </a:ext>
              </a:extLst>
            </p:cNvPr>
            <p:cNvGrpSpPr/>
            <p:nvPr/>
          </p:nvGrpSpPr>
          <p:grpSpPr>
            <a:xfrm>
              <a:off x="1895594" y="4541722"/>
              <a:ext cx="1958179" cy="1216383"/>
              <a:chOff x="8200221" y="1311185"/>
              <a:chExt cx="1958179" cy="1216383"/>
            </a:xfrm>
          </p:grpSpPr>
          <p:sp>
            <p:nvSpPr>
              <p:cNvPr id="26" name="îṩlîḓe">
                <a:extLst>
                  <a:ext uri="{FF2B5EF4-FFF2-40B4-BE49-F238E27FC236}">
                    <a16:creationId xmlns:a16="http://schemas.microsoft.com/office/drawing/2014/main" id="{1D3ADD78-C765-4CB3-854E-D1E46C921FE1}"/>
                  </a:ext>
                </a:extLst>
              </p:cNvPr>
              <p:cNvSpPr/>
              <p:nvPr/>
            </p:nvSpPr>
            <p:spPr bwMode="auto">
              <a:xfrm>
                <a:off x="8200221" y="1757495"/>
                <a:ext cx="1958179" cy="770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a:lnSpc>
                    <a:spcPct val="150000"/>
                  </a:lnSpc>
                  <a:spcBef>
                    <a:spcPct val="0"/>
                  </a:spcBef>
                </a:pPr>
                <a:r>
                  <a:rPr lang="en-US" altLang="zh-CN" sz="1100"/>
                  <a:t>Supporting t</a:t>
                </a:r>
                <a:r>
                  <a:rPr lang="en-US" altLang="zh-CN" sz="100"/>
                  <a:t> </a:t>
                </a:r>
                <a:r>
                  <a:rPr lang="en-US" altLang="zh-CN" sz="1100"/>
                  <a:t>ext </a:t>
                </a:r>
                <a:r>
                  <a:rPr lang="en-US" altLang="zh-CN" sz="1100" dirty="0"/>
                  <a:t>here.</a:t>
                </a:r>
              </a:p>
              <a:p>
                <a:pPr algn="r">
                  <a:lnSpc>
                    <a:spcPct val="150000"/>
                  </a:lnSpc>
                  <a:spcBef>
                    <a:spcPct val="0"/>
                  </a:spcBef>
                </a:pPr>
                <a:r>
                  <a:rPr lang="en-US" altLang="zh-CN" sz="1100" dirty="0"/>
                  <a:t>…… </a:t>
                </a:r>
              </a:p>
            </p:txBody>
          </p:sp>
          <p:sp>
            <p:nvSpPr>
              <p:cNvPr id="27" name="íşļîḑê">
                <a:extLst>
                  <a:ext uri="{FF2B5EF4-FFF2-40B4-BE49-F238E27FC236}">
                    <a16:creationId xmlns:a16="http://schemas.microsoft.com/office/drawing/2014/main" id="{63A8A3D4-12EF-4FB4-878B-557767030C64}"/>
                  </a:ext>
                </a:extLst>
              </p:cNvPr>
              <p:cNvSpPr txBox="1"/>
              <p:nvPr/>
            </p:nvSpPr>
            <p:spPr bwMode="auto">
              <a:xfrm>
                <a:off x="8200221" y="1311185"/>
                <a:ext cx="1958179" cy="44631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eaLnBrk="1" hangingPunct="1">
                  <a:lnSpc>
                    <a:spcPct val="100000"/>
                  </a:lnSpc>
                  <a:spcBef>
                    <a:spcPct val="0"/>
                  </a:spcBef>
                </a:pPr>
                <a:r>
                  <a:rPr lang="en-US" altLang="zh-CN" b="1"/>
                  <a:t>Text</a:t>
                </a:r>
                <a:r>
                  <a:rPr lang="en-US" altLang="zh-CN" sz="100" b="1"/>
                  <a:t> </a:t>
                </a:r>
                <a:r>
                  <a:rPr lang="en-US" altLang="zh-CN" b="1"/>
                  <a:t> </a:t>
                </a:r>
                <a:r>
                  <a:rPr lang="en-US" altLang="zh-CN" b="1" dirty="0"/>
                  <a:t>here</a:t>
                </a:r>
              </a:p>
            </p:txBody>
          </p:sp>
        </p:grpSp>
        <p:grpSp>
          <p:nvGrpSpPr>
            <p:cNvPr id="20" name="îṣḷíḓè">
              <a:extLst>
                <a:ext uri="{FF2B5EF4-FFF2-40B4-BE49-F238E27FC236}">
                  <a16:creationId xmlns:a16="http://schemas.microsoft.com/office/drawing/2014/main" id="{8BC6ACB1-FA45-4A5A-8D78-FA7A543EC67A}"/>
                </a:ext>
              </a:extLst>
            </p:cNvPr>
            <p:cNvGrpSpPr/>
            <p:nvPr/>
          </p:nvGrpSpPr>
          <p:grpSpPr>
            <a:xfrm>
              <a:off x="6742747" y="4850516"/>
              <a:ext cx="1958179" cy="1216383"/>
              <a:chOff x="8200221" y="1311185"/>
              <a:chExt cx="1958179" cy="1216383"/>
            </a:xfrm>
          </p:grpSpPr>
          <p:sp>
            <p:nvSpPr>
              <p:cNvPr id="24" name="í$ļiḋé">
                <a:extLst>
                  <a:ext uri="{FF2B5EF4-FFF2-40B4-BE49-F238E27FC236}">
                    <a16:creationId xmlns:a16="http://schemas.microsoft.com/office/drawing/2014/main" id="{676785D3-ADE9-46A1-81AA-22BD1BFB94F5}"/>
                  </a:ext>
                </a:extLst>
              </p:cNvPr>
              <p:cNvSpPr/>
              <p:nvPr/>
            </p:nvSpPr>
            <p:spPr bwMode="auto">
              <a:xfrm>
                <a:off x="8200221" y="1757495"/>
                <a:ext cx="1958179" cy="770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50000"/>
                  </a:lnSpc>
                  <a:spcBef>
                    <a:spcPct val="0"/>
                  </a:spcBef>
                </a:pPr>
                <a:r>
                  <a:rPr lang="en-US" altLang="zh-CN" sz="1100"/>
                  <a:t>Supporting t</a:t>
                </a:r>
                <a:r>
                  <a:rPr lang="en-US" altLang="zh-CN" sz="100"/>
                  <a:t> </a:t>
                </a:r>
                <a:r>
                  <a:rPr lang="en-US" altLang="zh-CN" sz="1100"/>
                  <a:t>ext </a:t>
                </a:r>
                <a:r>
                  <a:rPr lang="en-US" altLang="zh-CN" sz="1100" dirty="0"/>
                  <a:t>here.</a:t>
                </a:r>
              </a:p>
              <a:p>
                <a:pPr>
                  <a:lnSpc>
                    <a:spcPct val="150000"/>
                  </a:lnSpc>
                  <a:spcBef>
                    <a:spcPct val="0"/>
                  </a:spcBef>
                </a:pPr>
                <a:r>
                  <a:rPr lang="en-US" altLang="zh-CN" sz="1100" dirty="0"/>
                  <a:t>…… </a:t>
                </a:r>
              </a:p>
            </p:txBody>
          </p:sp>
          <p:sp>
            <p:nvSpPr>
              <p:cNvPr id="25" name="ïṩ1îḋé">
                <a:extLst>
                  <a:ext uri="{FF2B5EF4-FFF2-40B4-BE49-F238E27FC236}">
                    <a16:creationId xmlns:a16="http://schemas.microsoft.com/office/drawing/2014/main" id="{5F6283F5-1F38-4D19-A513-264D841402E3}"/>
                  </a:ext>
                </a:extLst>
              </p:cNvPr>
              <p:cNvSpPr txBox="1"/>
              <p:nvPr/>
            </p:nvSpPr>
            <p:spPr bwMode="auto">
              <a:xfrm>
                <a:off x="8200221" y="1311185"/>
                <a:ext cx="1958179" cy="44631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pPr>
                <a:r>
                  <a:rPr lang="en-US" altLang="zh-CN" b="1"/>
                  <a:t>Text</a:t>
                </a:r>
                <a:r>
                  <a:rPr lang="en-US" altLang="zh-CN" sz="100" b="1"/>
                  <a:t> </a:t>
                </a:r>
                <a:r>
                  <a:rPr lang="en-US" altLang="zh-CN" b="1"/>
                  <a:t> </a:t>
                </a:r>
                <a:r>
                  <a:rPr lang="en-US" altLang="zh-CN" b="1" dirty="0"/>
                  <a:t>here</a:t>
                </a:r>
              </a:p>
            </p:txBody>
          </p:sp>
        </p:grpSp>
        <p:grpSp>
          <p:nvGrpSpPr>
            <p:cNvPr id="21" name="íṧḻïḓe">
              <a:extLst>
                <a:ext uri="{FF2B5EF4-FFF2-40B4-BE49-F238E27FC236}">
                  <a16:creationId xmlns:a16="http://schemas.microsoft.com/office/drawing/2014/main" id="{09E8DC79-E2C6-47F6-BD90-354155416480}"/>
                </a:ext>
              </a:extLst>
            </p:cNvPr>
            <p:cNvGrpSpPr/>
            <p:nvPr/>
          </p:nvGrpSpPr>
          <p:grpSpPr>
            <a:xfrm>
              <a:off x="8314321" y="2487914"/>
              <a:ext cx="1958179" cy="1216383"/>
              <a:chOff x="8200221" y="1311185"/>
              <a:chExt cx="1958179" cy="1216383"/>
            </a:xfrm>
          </p:grpSpPr>
          <p:sp>
            <p:nvSpPr>
              <p:cNvPr id="22" name="îś1ïḍe">
                <a:extLst>
                  <a:ext uri="{FF2B5EF4-FFF2-40B4-BE49-F238E27FC236}">
                    <a16:creationId xmlns:a16="http://schemas.microsoft.com/office/drawing/2014/main" id="{1A650FF8-6489-4B38-AFD0-A1A5C4C8C49C}"/>
                  </a:ext>
                </a:extLst>
              </p:cNvPr>
              <p:cNvSpPr/>
              <p:nvPr/>
            </p:nvSpPr>
            <p:spPr bwMode="auto">
              <a:xfrm>
                <a:off x="8200221" y="1757495"/>
                <a:ext cx="1958179" cy="770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50000"/>
                  </a:lnSpc>
                  <a:spcBef>
                    <a:spcPct val="0"/>
                  </a:spcBef>
                </a:pPr>
                <a:r>
                  <a:rPr lang="en-US" altLang="zh-CN" sz="1100"/>
                  <a:t>Supporting t</a:t>
                </a:r>
                <a:r>
                  <a:rPr lang="en-US" altLang="zh-CN" sz="100"/>
                  <a:t> </a:t>
                </a:r>
                <a:r>
                  <a:rPr lang="en-US" altLang="zh-CN" sz="1100"/>
                  <a:t>ext </a:t>
                </a:r>
                <a:r>
                  <a:rPr lang="en-US" altLang="zh-CN" sz="1100" dirty="0"/>
                  <a:t>here.</a:t>
                </a:r>
              </a:p>
              <a:p>
                <a:pPr>
                  <a:lnSpc>
                    <a:spcPct val="150000"/>
                  </a:lnSpc>
                  <a:spcBef>
                    <a:spcPct val="0"/>
                  </a:spcBef>
                </a:pPr>
                <a:r>
                  <a:rPr lang="en-US" altLang="zh-CN" sz="1100" dirty="0"/>
                  <a:t>…… </a:t>
                </a:r>
              </a:p>
            </p:txBody>
          </p:sp>
          <p:sp>
            <p:nvSpPr>
              <p:cNvPr id="23" name="îṡľiḑê">
                <a:extLst>
                  <a:ext uri="{FF2B5EF4-FFF2-40B4-BE49-F238E27FC236}">
                    <a16:creationId xmlns:a16="http://schemas.microsoft.com/office/drawing/2014/main" id="{EAF5A901-C8A4-4BD8-944D-418D6B149EA1}"/>
                  </a:ext>
                </a:extLst>
              </p:cNvPr>
              <p:cNvSpPr txBox="1"/>
              <p:nvPr/>
            </p:nvSpPr>
            <p:spPr bwMode="auto">
              <a:xfrm>
                <a:off x="8200221" y="1311185"/>
                <a:ext cx="1958179" cy="44631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pPr>
                <a:r>
                  <a:rPr lang="en-US" altLang="zh-CN" b="1"/>
                  <a:t>Text</a:t>
                </a:r>
                <a:r>
                  <a:rPr lang="en-US" altLang="zh-CN" sz="100" b="1"/>
                  <a:t> </a:t>
                </a:r>
                <a:r>
                  <a:rPr lang="en-US" altLang="zh-CN" b="1"/>
                  <a:t> </a:t>
                </a:r>
                <a:r>
                  <a:rPr lang="en-US" altLang="zh-CN" b="1" dirty="0"/>
                  <a:t>here</a:t>
                </a:r>
              </a:p>
            </p:txBody>
          </p:sp>
        </p:grpSp>
      </p:grpSp>
    </p:spTree>
    <p:extLst>
      <p:ext uri="{BB962C8B-B14F-4D97-AF65-F5344CB8AC3E}">
        <p14:creationId xmlns:p14="http://schemas.microsoft.com/office/powerpoint/2010/main" val="3089008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GB" altLang="zh-CN" dirty="0"/>
              <a:t>Virus protection in public areas</a:t>
            </a:r>
            <a:endParaRPr lang="zh-CN" altLang="en-US" dirty="0"/>
          </a:p>
        </p:txBody>
      </p:sp>
      <p:sp>
        <p:nvSpPr>
          <p:cNvPr id="3" name="页脚占位符 2"/>
          <p:cNvSpPr>
            <a:spLocks noGrp="1"/>
          </p:cNvSpPr>
          <p:nvPr>
            <p:ph type="ftr" sz="quarter" idx="11"/>
          </p:nvPr>
        </p:nvSpPr>
        <p:spPr/>
        <p:txBody>
          <a:bodyPr/>
          <a:lstStyle/>
          <a:p>
            <a:r>
              <a:rPr lang="en-GB" altLang="zh-CN" dirty="0"/>
              <a:t>https://iSlide-PowerPoint.com </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4</a:t>
            </a:fld>
            <a:endParaRPr lang="zh-CN" altLang="en-US"/>
          </a:p>
        </p:txBody>
      </p:sp>
      <p:grpSp>
        <p:nvGrpSpPr>
          <p:cNvPr id="5" name="277870"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1911720" y="1318917"/>
            <a:ext cx="8417379" cy="4824708"/>
            <a:chOff x="1911720" y="1318917"/>
            <a:chExt cx="8417379" cy="4824708"/>
          </a:xfrm>
        </p:grpSpPr>
        <p:sp>
          <p:nvSpPr>
            <p:cNvPr id="6" name="ïşlîďè">
              <a:extLst>
                <a:ext uri="{FF2B5EF4-FFF2-40B4-BE49-F238E27FC236}">
                  <a16:creationId xmlns:a16="http://schemas.microsoft.com/office/drawing/2014/main" id="{2904B9B6-3448-4E55-AE2D-AC03A32B481E}"/>
                </a:ext>
              </a:extLst>
            </p:cNvPr>
            <p:cNvSpPr/>
            <p:nvPr/>
          </p:nvSpPr>
          <p:spPr bwMode="gray">
            <a:xfrm>
              <a:off x="4066095" y="1318917"/>
              <a:ext cx="4059810" cy="4059810"/>
            </a:xfrm>
            <a:prstGeom prst="donut">
              <a:avLst>
                <a:gd name="adj" fmla="val 3184"/>
              </a:avLst>
            </a:prstGeom>
            <a:solidFill>
              <a:schemeClr val="bg1">
                <a:lumMod val="95000"/>
                <a:alpha val="1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7" name="ïṣļíďe">
              <a:extLst>
                <a:ext uri="{FF2B5EF4-FFF2-40B4-BE49-F238E27FC236}">
                  <a16:creationId xmlns:a16="http://schemas.microsoft.com/office/drawing/2014/main" id="{0B7E00A6-EDC5-4D70-9DEF-90F77F7B5CA7}"/>
                </a:ext>
              </a:extLst>
            </p:cNvPr>
            <p:cNvSpPr/>
            <p:nvPr/>
          </p:nvSpPr>
          <p:spPr bwMode="gray">
            <a:xfrm>
              <a:off x="4845019" y="2099523"/>
              <a:ext cx="2498607" cy="2498607"/>
            </a:xfrm>
            <a:prstGeom prst="donut">
              <a:avLst/>
            </a:prstGeom>
            <a:solidFill>
              <a:schemeClr val="bg1">
                <a:lumMod val="8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wrap="square" lIns="91440" tIns="45720" rIns="91440" bIns="45720" anchor="ctr">
              <a:normAutofit/>
            </a:bodyPr>
            <a:lstStyle/>
            <a:p>
              <a:pPr algn="ctr"/>
              <a:endParaRPr/>
            </a:p>
          </p:txBody>
        </p:sp>
        <p:cxnSp>
          <p:nvCxnSpPr>
            <p:cNvPr id="8" name="直接连接符 7">
              <a:extLst>
                <a:ext uri="{FF2B5EF4-FFF2-40B4-BE49-F238E27FC236}">
                  <a16:creationId xmlns:a16="http://schemas.microsoft.com/office/drawing/2014/main" id="{D0DBAF13-2627-42A6-9F40-39A7F38A1CE4}"/>
                </a:ext>
              </a:extLst>
            </p:cNvPr>
            <p:cNvCxnSpPr>
              <a:cxnSpLocks/>
            </p:cNvCxnSpPr>
            <p:nvPr/>
          </p:nvCxnSpPr>
          <p:spPr>
            <a:xfrm rot="7218462" flipV="1">
              <a:off x="6804348" y="3343207"/>
              <a:ext cx="0" cy="1249304"/>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直接连接符 8">
              <a:extLst>
                <a:ext uri="{FF2B5EF4-FFF2-40B4-BE49-F238E27FC236}">
                  <a16:creationId xmlns:a16="http://schemas.microsoft.com/office/drawing/2014/main" id="{D4B22059-A467-41EE-BE07-FB531E573618}"/>
                </a:ext>
              </a:extLst>
            </p:cNvPr>
            <p:cNvCxnSpPr>
              <a:cxnSpLocks/>
            </p:cNvCxnSpPr>
            <p:nvPr/>
          </p:nvCxnSpPr>
          <p:spPr>
            <a:xfrm rot="14418461" flipV="1">
              <a:off x="5387653" y="3337395"/>
              <a:ext cx="0" cy="1249304"/>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直接连接符 9">
              <a:extLst>
                <a:ext uri="{FF2B5EF4-FFF2-40B4-BE49-F238E27FC236}">
                  <a16:creationId xmlns:a16="http://schemas.microsoft.com/office/drawing/2014/main" id="{A9B1DC98-3707-423E-817D-81FAF084C98B}"/>
                </a:ext>
              </a:extLst>
            </p:cNvPr>
            <p:cNvCxnSpPr>
              <a:cxnSpLocks/>
            </p:cNvCxnSpPr>
            <p:nvPr/>
          </p:nvCxnSpPr>
          <p:spPr>
            <a:xfrm rot="18461" flipV="1">
              <a:off x="6094324" y="2099514"/>
              <a:ext cx="0" cy="1249304"/>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îsļîdê">
              <a:extLst>
                <a:ext uri="{FF2B5EF4-FFF2-40B4-BE49-F238E27FC236}">
                  <a16:creationId xmlns:a16="http://schemas.microsoft.com/office/drawing/2014/main" id="{222856A7-CF1C-4DE0-B1DB-E4C01990F737}"/>
                </a:ext>
              </a:extLst>
            </p:cNvPr>
            <p:cNvSpPr/>
            <p:nvPr/>
          </p:nvSpPr>
          <p:spPr bwMode="gray">
            <a:xfrm>
              <a:off x="5533814" y="2786636"/>
              <a:ext cx="1124373" cy="1124373"/>
            </a:xfrm>
            <a:prstGeom prst="ellipse">
              <a:avLst/>
            </a:prstGeom>
            <a:solidFill>
              <a:schemeClr val="accent2"/>
            </a:solidFill>
            <a:ln>
              <a:noFill/>
            </a:ln>
          </p:spPr>
          <p:style>
            <a:lnRef idx="3">
              <a:schemeClr val="lt1"/>
            </a:lnRef>
            <a:fillRef idx="1">
              <a:schemeClr val="dk1"/>
            </a:fillRef>
            <a:effectRef idx="1">
              <a:schemeClr val="dk1"/>
            </a:effectRef>
            <a:fontRef idx="minor">
              <a:schemeClr val="lt1"/>
            </a:fontRef>
          </p:style>
          <p:txBody>
            <a:bodyPr wrap="square" lIns="91440" tIns="45720" rIns="91440" bIns="45720" anchor="ctr" anchorCtr="1">
              <a:normAutofit/>
            </a:bodyPr>
            <a:lstStyle/>
            <a:p>
              <a:pPr algn="ctr"/>
              <a:r>
                <a:rPr lang="en-US" altLang="zh-CN" sz="2000" b="1">
                  <a:solidFill>
                    <a:schemeClr val="bg1"/>
                  </a:solidFill>
                </a:rPr>
                <a:t>T</a:t>
              </a:r>
              <a:r>
                <a:rPr lang="en-US" altLang="zh-CN" sz="100" b="1">
                  <a:solidFill>
                    <a:schemeClr val="bg1"/>
                  </a:solidFill>
                </a:rPr>
                <a:t> </a:t>
              </a:r>
              <a:r>
                <a:rPr lang="en-US" altLang="zh-CN" sz="2000" b="1">
                  <a:solidFill>
                    <a:schemeClr val="bg1"/>
                  </a:solidFill>
                </a:rPr>
                <a:t>ext</a:t>
              </a:r>
              <a:endParaRPr lang="zh-CN" altLang="en-US" sz="2000" b="1" dirty="0">
                <a:solidFill>
                  <a:schemeClr val="bg1"/>
                </a:solidFill>
              </a:endParaRPr>
            </a:p>
          </p:txBody>
        </p:sp>
        <p:sp>
          <p:nvSpPr>
            <p:cNvPr id="12" name="îṥļíďé">
              <a:extLst>
                <a:ext uri="{FF2B5EF4-FFF2-40B4-BE49-F238E27FC236}">
                  <a16:creationId xmlns:a16="http://schemas.microsoft.com/office/drawing/2014/main" id="{578BCA20-61C8-409F-B4C8-BF78DAB72FCB}"/>
                </a:ext>
              </a:extLst>
            </p:cNvPr>
            <p:cNvSpPr/>
            <p:nvPr/>
          </p:nvSpPr>
          <p:spPr bwMode="gray">
            <a:xfrm>
              <a:off x="4605528" y="1858350"/>
              <a:ext cx="2980944" cy="2980944"/>
            </a:xfrm>
            <a:prstGeom prst="donut">
              <a:avLst>
                <a:gd name="adj" fmla="val 3184"/>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grpSp>
          <p:nvGrpSpPr>
            <p:cNvPr id="13" name="íSḻíďe">
              <a:extLst>
                <a:ext uri="{FF2B5EF4-FFF2-40B4-BE49-F238E27FC236}">
                  <a16:creationId xmlns:a16="http://schemas.microsoft.com/office/drawing/2014/main" id="{9FA96A36-C70D-4373-8786-6C46C66AAF19}"/>
                </a:ext>
              </a:extLst>
            </p:cNvPr>
            <p:cNvGrpSpPr/>
            <p:nvPr/>
          </p:nvGrpSpPr>
          <p:grpSpPr>
            <a:xfrm>
              <a:off x="4555470" y="2381597"/>
              <a:ext cx="684112" cy="685138"/>
              <a:chOff x="4480431" y="3845665"/>
              <a:chExt cx="684112" cy="685138"/>
            </a:xfrm>
          </p:grpSpPr>
          <p:sp>
            <p:nvSpPr>
              <p:cNvPr id="29" name="ïṩļîḑé">
                <a:extLst>
                  <a:ext uri="{FF2B5EF4-FFF2-40B4-BE49-F238E27FC236}">
                    <a16:creationId xmlns:a16="http://schemas.microsoft.com/office/drawing/2014/main" id="{68CDC2D9-9D00-4B1D-B768-B9DA23E5333B}"/>
                  </a:ext>
                </a:extLst>
              </p:cNvPr>
              <p:cNvSpPr/>
              <p:nvPr/>
            </p:nvSpPr>
            <p:spPr>
              <a:xfrm>
                <a:off x="4480431" y="3845665"/>
                <a:ext cx="684112" cy="685138"/>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30" name="iṧļíḋé">
                <a:extLst>
                  <a:ext uri="{FF2B5EF4-FFF2-40B4-BE49-F238E27FC236}">
                    <a16:creationId xmlns:a16="http://schemas.microsoft.com/office/drawing/2014/main" id="{43B01167-16FB-4AF0-A960-99FB77F0381C}"/>
                  </a:ext>
                </a:extLst>
              </p:cNvPr>
              <p:cNvSpPr/>
              <p:nvPr/>
            </p:nvSpPr>
            <p:spPr bwMode="auto">
              <a:xfrm>
                <a:off x="4640547" y="4006295"/>
                <a:ext cx="363880" cy="363880"/>
              </a:xfrm>
              <a:custGeom>
                <a:avLst/>
                <a:gdLst>
                  <a:gd name="T0" fmla="*/ 1083 w 1083"/>
                  <a:gd name="T1" fmla="*/ 542 h 1084"/>
                  <a:gd name="T2" fmla="*/ 158 w 1083"/>
                  <a:gd name="T3" fmla="*/ 926 h 1084"/>
                  <a:gd name="T4" fmla="*/ 542 w 1083"/>
                  <a:gd name="T5" fmla="*/ 0 h 1084"/>
                  <a:gd name="T6" fmla="*/ 517 w 1083"/>
                  <a:gd name="T7" fmla="*/ 1000 h 1084"/>
                  <a:gd name="T8" fmla="*/ 357 w 1083"/>
                  <a:gd name="T9" fmla="*/ 861 h 1084"/>
                  <a:gd name="T10" fmla="*/ 517 w 1083"/>
                  <a:gd name="T11" fmla="*/ 1000 h 1084"/>
                  <a:gd name="T12" fmla="*/ 866 w 1083"/>
                  <a:gd name="T13" fmla="*/ 218 h 1084"/>
                  <a:gd name="T14" fmla="*/ 842 w 1083"/>
                  <a:gd name="T15" fmla="*/ 517 h 1084"/>
                  <a:gd name="T16" fmla="*/ 866 w 1083"/>
                  <a:gd name="T17" fmla="*/ 218 h 1084"/>
                  <a:gd name="T18" fmla="*/ 722 w 1083"/>
                  <a:gd name="T19" fmla="*/ 120 h 1084"/>
                  <a:gd name="T20" fmla="*/ 815 w 1083"/>
                  <a:gd name="T21" fmla="*/ 174 h 1084"/>
                  <a:gd name="T22" fmla="*/ 617 w 1083"/>
                  <a:gd name="T23" fmla="*/ 90 h 1084"/>
                  <a:gd name="T24" fmla="*/ 707 w 1083"/>
                  <a:gd name="T25" fmla="*/ 231 h 1084"/>
                  <a:gd name="T26" fmla="*/ 617 w 1083"/>
                  <a:gd name="T27" fmla="*/ 90 h 1084"/>
                  <a:gd name="T28" fmla="*/ 517 w 1083"/>
                  <a:gd name="T29" fmla="*/ 84 h 1084"/>
                  <a:gd name="T30" fmla="*/ 357 w 1083"/>
                  <a:gd name="T31" fmla="*/ 224 h 1084"/>
                  <a:gd name="T32" fmla="*/ 517 w 1083"/>
                  <a:gd name="T33" fmla="*/ 84 h 1084"/>
                  <a:gd name="T34" fmla="*/ 362 w 1083"/>
                  <a:gd name="T35" fmla="*/ 120 h 1084"/>
                  <a:gd name="T36" fmla="*/ 325 w 1083"/>
                  <a:gd name="T37" fmla="*/ 177 h 1084"/>
                  <a:gd name="T38" fmla="*/ 229 w 1083"/>
                  <a:gd name="T39" fmla="*/ 207 h 1084"/>
                  <a:gd name="T40" fmla="*/ 84 w 1083"/>
                  <a:gd name="T41" fmla="*/ 517 h 1084"/>
                  <a:gd name="T42" fmla="*/ 229 w 1083"/>
                  <a:gd name="T43" fmla="*/ 207 h 1084"/>
                  <a:gd name="T44" fmla="*/ 84 w 1083"/>
                  <a:gd name="T45" fmla="*/ 567 h 1084"/>
                  <a:gd name="T46" fmla="*/ 292 w 1083"/>
                  <a:gd name="T47" fmla="*/ 837 h 1084"/>
                  <a:gd name="T48" fmla="*/ 84 w 1083"/>
                  <a:gd name="T49" fmla="*/ 567 h 1084"/>
                  <a:gd name="T50" fmla="*/ 362 w 1083"/>
                  <a:gd name="T51" fmla="*/ 964 h 1084"/>
                  <a:gd name="T52" fmla="*/ 268 w 1083"/>
                  <a:gd name="T53" fmla="*/ 911 h 1084"/>
                  <a:gd name="T54" fmla="*/ 567 w 1083"/>
                  <a:gd name="T55" fmla="*/ 1000 h 1084"/>
                  <a:gd name="T56" fmla="*/ 726 w 1083"/>
                  <a:gd name="T57" fmla="*/ 861 h 1084"/>
                  <a:gd name="T58" fmla="*/ 566 w 1083"/>
                  <a:gd name="T59" fmla="*/ 1000 h 1084"/>
                  <a:gd name="T60" fmla="*/ 722 w 1083"/>
                  <a:gd name="T61" fmla="*/ 964 h 1084"/>
                  <a:gd name="T62" fmla="*/ 758 w 1083"/>
                  <a:gd name="T63" fmla="*/ 908 h 1084"/>
                  <a:gd name="T64" fmla="*/ 855 w 1083"/>
                  <a:gd name="T65" fmla="*/ 878 h 1084"/>
                  <a:gd name="T66" fmla="*/ 1000 w 1083"/>
                  <a:gd name="T67" fmla="*/ 567 h 1084"/>
                  <a:gd name="T68" fmla="*/ 855 w 1083"/>
                  <a:gd name="T69" fmla="*/ 878 h 1084"/>
                  <a:gd name="T70" fmla="*/ 746 w 1083"/>
                  <a:gd name="T71" fmla="*/ 269 h 1084"/>
                  <a:gd name="T72" fmla="*/ 567 w 1083"/>
                  <a:gd name="T73" fmla="*/ 517 h 1084"/>
                  <a:gd name="T74" fmla="*/ 746 w 1083"/>
                  <a:gd name="T75" fmla="*/ 269 h 1084"/>
                  <a:gd name="T76" fmla="*/ 358 w 1083"/>
                  <a:gd name="T77" fmla="*/ 278 h 1084"/>
                  <a:gd name="T78" fmla="*/ 517 w 1083"/>
                  <a:gd name="T79" fmla="*/ 517 h 1084"/>
                  <a:gd name="T80" fmla="*/ 517 w 1083"/>
                  <a:gd name="T81" fmla="*/ 775 h 1084"/>
                  <a:gd name="T82" fmla="*/ 292 w 1083"/>
                  <a:gd name="T83" fmla="*/ 567 h 1084"/>
                  <a:gd name="T84" fmla="*/ 517 w 1083"/>
                  <a:gd name="T85" fmla="*/ 775 h 1084"/>
                  <a:gd name="T86" fmla="*/ 567 w 1083"/>
                  <a:gd name="T87" fmla="*/ 775 h 1084"/>
                  <a:gd name="T88" fmla="*/ 792 w 1083"/>
                  <a:gd name="T89" fmla="*/ 567 h 1084"/>
                  <a:gd name="T90" fmla="*/ 567 w 1083"/>
                  <a:gd name="T91" fmla="*/ 775 h 1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83" h="1084">
                    <a:moveTo>
                      <a:pt x="542" y="0"/>
                    </a:moveTo>
                    <a:cubicBezTo>
                      <a:pt x="691" y="0"/>
                      <a:pt x="827" y="61"/>
                      <a:pt x="925" y="159"/>
                    </a:cubicBezTo>
                    <a:cubicBezTo>
                      <a:pt x="1023" y="258"/>
                      <a:pt x="1083" y="393"/>
                      <a:pt x="1083" y="542"/>
                    </a:cubicBezTo>
                    <a:cubicBezTo>
                      <a:pt x="1083" y="692"/>
                      <a:pt x="1023" y="827"/>
                      <a:pt x="925" y="926"/>
                    </a:cubicBezTo>
                    <a:cubicBezTo>
                      <a:pt x="827" y="1024"/>
                      <a:pt x="691" y="1084"/>
                      <a:pt x="542" y="1084"/>
                    </a:cubicBezTo>
                    <a:cubicBezTo>
                      <a:pt x="392" y="1084"/>
                      <a:pt x="257" y="1024"/>
                      <a:pt x="158" y="926"/>
                    </a:cubicBezTo>
                    <a:cubicBezTo>
                      <a:pt x="60" y="827"/>
                      <a:pt x="0" y="692"/>
                      <a:pt x="0" y="542"/>
                    </a:cubicBezTo>
                    <a:cubicBezTo>
                      <a:pt x="0" y="393"/>
                      <a:pt x="60" y="258"/>
                      <a:pt x="158" y="159"/>
                    </a:cubicBezTo>
                    <a:cubicBezTo>
                      <a:pt x="257" y="61"/>
                      <a:pt x="392" y="0"/>
                      <a:pt x="542" y="0"/>
                    </a:cubicBezTo>
                    <a:cubicBezTo>
                      <a:pt x="542" y="0"/>
                      <a:pt x="542" y="0"/>
                      <a:pt x="542" y="0"/>
                    </a:cubicBezTo>
                    <a:close/>
                    <a:moveTo>
                      <a:pt x="517" y="1000"/>
                    </a:moveTo>
                    <a:cubicBezTo>
                      <a:pt x="517" y="1000"/>
                      <a:pt x="517" y="1000"/>
                      <a:pt x="517" y="1000"/>
                    </a:cubicBezTo>
                    <a:cubicBezTo>
                      <a:pt x="517" y="825"/>
                      <a:pt x="517" y="825"/>
                      <a:pt x="517" y="825"/>
                    </a:cubicBezTo>
                    <a:cubicBezTo>
                      <a:pt x="468" y="827"/>
                      <a:pt x="420" y="837"/>
                      <a:pt x="376" y="854"/>
                    </a:cubicBezTo>
                    <a:cubicBezTo>
                      <a:pt x="370" y="856"/>
                      <a:pt x="363" y="859"/>
                      <a:pt x="357" y="861"/>
                    </a:cubicBezTo>
                    <a:cubicBezTo>
                      <a:pt x="361" y="869"/>
                      <a:pt x="365" y="877"/>
                      <a:pt x="369" y="884"/>
                    </a:cubicBezTo>
                    <a:cubicBezTo>
                      <a:pt x="396" y="934"/>
                      <a:pt x="430" y="972"/>
                      <a:pt x="466" y="995"/>
                    </a:cubicBezTo>
                    <a:cubicBezTo>
                      <a:pt x="483" y="998"/>
                      <a:pt x="500" y="1000"/>
                      <a:pt x="517" y="1000"/>
                    </a:cubicBezTo>
                    <a:cubicBezTo>
                      <a:pt x="517" y="1000"/>
                      <a:pt x="517" y="1000"/>
                      <a:pt x="517" y="1000"/>
                    </a:cubicBezTo>
                    <a:close/>
                    <a:moveTo>
                      <a:pt x="866" y="218"/>
                    </a:moveTo>
                    <a:cubicBezTo>
                      <a:pt x="866" y="218"/>
                      <a:pt x="866" y="218"/>
                      <a:pt x="866" y="218"/>
                    </a:cubicBezTo>
                    <a:cubicBezTo>
                      <a:pt x="862" y="214"/>
                      <a:pt x="858" y="211"/>
                      <a:pt x="855" y="207"/>
                    </a:cubicBezTo>
                    <a:cubicBezTo>
                      <a:pt x="835" y="223"/>
                      <a:pt x="813" y="236"/>
                      <a:pt x="791" y="248"/>
                    </a:cubicBezTo>
                    <a:cubicBezTo>
                      <a:pt x="820" y="325"/>
                      <a:pt x="839" y="418"/>
                      <a:pt x="842" y="517"/>
                    </a:cubicBezTo>
                    <a:cubicBezTo>
                      <a:pt x="1000" y="517"/>
                      <a:pt x="1000" y="517"/>
                      <a:pt x="1000" y="517"/>
                    </a:cubicBezTo>
                    <a:cubicBezTo>
                      <a:pt x="993" y="401"/>
                      <a:pt x="943" y="296"/>
                      <a:pt x="866" y="218"/>
                    </a:cubicBezTo>
                    <a:cubicBezTo>
                      <a:pt x="866" y="218"/>
                      <a:pt x="866" y="218"/>
                      <a:pt x="866" y="218"/>
                    </a:cubicBezTo>
                    <a:close/>
                    <a:moveTo>
                      <a:pt x="815" y="174"/>
                    </a:moveTo>
                    <a:cubicBezTo>
                      <a:pt x="815" y="174"/>
                      <a:pt x="815" y="174"/>
                      <a:pt x="815" y="174"/>
                    </a:cubicBezTo>
                    <a:cubicBezTo>
                      <a:pt x="787" y="153"/>
                      <a:pt x="755" y="135"/>
                      <a:pt x="722" y="120"/>
                    </a:cubicBezTo>
                    <a:cubicBezTo>
                      <a:pt x="735" y="138"/>
                      <a:pt x="747" y="156"/>
                      <a:pt x="758" y="177"/>
                    </a:cubicBezTo>
                    <a:cubicBezTo>
                      <a:pt x="763" y="185"/>
                      <a:pt x="767" y="193"/>
                      <a:pt x="771" y="202"/>
                    </a:cubicBezTo>
                    <a:cubicBezTo>
                      <a:pt x="787" y="194"/>
                      <a:pt x="801" y="184"/>
                      <a:pt x="815" y="174"/>
                    </a:cubicBezTo>
                    <a:cubicBezTo>
                      <a:pt x="815" y="174"/>
                      <a:pt x="815" y="174"/>
                      <a:pt x="815" y="174"/>
                    </a:cubicBezTo>
                    <a:close/>
                    <a:moveTo>
                      <a:pt x="617" y="90"/>
                    </a:moveTo>
                    <a:cubicBezTo>
                      <a:pt x="617" y="90"/>
                      <a:pt x="617" y="90"/>
                      <a:pt x="617" y="90"/>
                    </a:cubicBezTo>
                    <a:cubicBezTo>
                      <a:pt x="601" y="87"/>
                      <a:pt x="584" y="85"/>
                      <a:pt x="567" y="84"/>
                    </a:cubicBezTo>
                    <a:cubicBezTo>
                      <a:pt x="567" y="260"/>
                      <a:pt x="567" y="260"/>
                      <a:pt x="567" y="260"/>
                    </a:cubicBezTo>
                    <a:cubicBezTo>
                      <a:pt x="616" y="258"/>
                      <a:pt x="664" y="247"/>
                      <a:pt x="707" y="231"/>
                    </a:cubicBezTo>
                    <a:cubicBezTo>
                      <a:pt x="714" y="229"/>
                      <a:pt x="720" y="226"/>
                      <a:pt x="726" y="224"/>
                    </a:cubicBezTo>
                    <a:cubicBezTo>
                      <a:pt x="723" y="216"/>
                      <a:pt x="719" y="208"/>
                      <a:pt x="714" y="201"/>
                    </a:cubicBezTo>
                    <a:cubicBezTo>
                      <a:pt x="687" y="151"/>
                      <a:pt x="654" y="112"/>
                      <a:pt x="617" y="90"/>
                    </a:cubicBezTo>
                    <a:cubicBezTo>
                      <a:pt x="617" y="90"/>
                      <a:pt x="617" y="90"/>
                      <a:pt x="617" y="90"/>
                    </a:cubicBezTo>
                    <a:close/>
                    <a:moveTo>
                      <a:pt x="517" y="84"/>
                    </a:moveTo>
                    <a:cubicBezTo>
                      <a:pt x="517" y="84"/>
                      <a:pt x="517" y="84"/>
                      <a:pt x="517" y="84"/>
                    </a:cubicBezTo>
                    <a:cubicBezTo>
                      <a:pt x="500" y="85"/>
                      <a:pt x="483" y="88"/>
                      <a:pt x="466" y="90"/>
                    </a:cubicBezTo>
                    <a:cubicBezTo>
                      <a:pt x="430" y="112"/>
                      <a:pt x="396" y="151"/>
                      <a:pt x="369" y="201"/>
                    </a:cubicBezTo>
                    <a:cubicBezTo>
                      <a:pt x="365" y="208"/>
                      <a:pt x="361" y="216"/>
                      <a:pt x="357" y="224"/>
                    </a:cubicBezTo>
                    <a:cubicBezTo>
                      <a:pt x="363" y="226"/>
                      <a:pt x="370" y="229"/>
                      <a:pt x="376" y="231"/>
                    </a:cubicBezTo>
                    <a:cubicBezTo>
                      <a:pt x="420" y="247"/>
                      <a:pt x="467" y="258"/>
                      <a:pt x="517" y="260"/>
                    </a:cubicBezTo>
                    <a:cubicBezTo>
                      <a:pt x="517" y="84"/>
                      <a:pt x="517" y="84"/>
                      <a:pt x="517" y="84"/>
                    </a:cubicBezTo>
                    <a:cubicBezTo>
                      <a:pt x="517" y="84"/>
                      <a:pt x="517" y="84"/>
                      <a:pt x="517" y="84"/>
                    </a:cubicBezTo>
                    <a:close/>
                    <a:moveTo>
                      <a:pt x="362" y="120"/>
                    </a:moveTo>
                    <a:cubicBezTo>
                      <a:pt x="362" y="120"/>
                      <a:pt x="362" y="120"/>
                      <a:pt x="362" y="120"/>
                    </a:cubicBezTo>
                    <a:cubicBezTo>
                      <a:pt x="328" y="135"/>
                      <a:pt x="297" y="153"/>
                      <a:pt x="268" y="174"/>
                    </a:cubicBezTo>
                    <a:cubicBezTo>
                      <a:pt x="283" y="184"/>
                      <a:pt x="297" y="194"/>
                      <a:pt x="312" y="202"/>
                    </a:cubicBezTo>
                    <a:cubicBezTo>
                      <a:pt x="316" y="193"/>
                      <a:pt x="320" y="185"/>
                      <a:pt x="325" y="177"/>
                    </a:cubicBezTo>
                    <a:cubicBezTo>
                      <a:pt x="336" y="156"/>
                      <a:pt x="349" y="138"/>
                      <a:pt x="362" y="120"/>
                    </a:cubicBezTo>
                    <a:cubicBezTo>
                      <a:pt x="362" y="120"/>
                      <a:pt x="362" y="120"/>
                      <a:pt x="362" y="120"/>
                    </a:cubicBezTo>
                    <a:close/>
                    <a:moveTo>
                      <a:pt x="229" y="207"/>
                    </a:moveTo>
                    <a:cubicBezTo>
                      <a:pt x="229" y="207"/>
                      <a:pt x="229" y="207"/>
                      <a:pt x="229" y="207"/>
                    </a:cubicBezTo>
                    <a:cubicBezTo>
                      <a:pt x="225" y="211"/>
                      <a:pt x="221" y="214"/>
                      <a:pt x="218" y="218"/>
                    </a:cubicBezTo>
                    <a:cubicBezTo>
                      <a:pt x="140" y="296"/>
                      <a:pt x="90" y="401"/>
                      <a:pt x="84" y="517"/>
                    </a:cubicBezTo>
                    <a:cubicBezTo>
                      <a:pt x="242" y="517"/>
                      <a:pt x="242" y="517"/>
                      <a:pt x="242" y="517"/>
                    </a:cubicBezTo>
                    <a:cubicBezTo>
                      <a:pt x="245" y="418"/>
                      <a:pt x="263" y="325"/>
                      <a:pt x="292" y="248"/>
                    </a:cubicBezTo>
                    <a:cubicBezTo>
                      <a:pt x="270" y="236"/>
                      <a:pt x="249" y="223"/>
                      <a:pt x="229" y="207"/>
                    </a:cubicBezTo>
                    <a:cubicBezTo>
                      <a:pt x="229" y="207"/>
                      <a:pt x="229" y="207"/>
                      <a:pt x="229" y="207"/>
                    </a:cubicBezTo>
                    <a:close/>
                    <a:moveTo>
                      <a:pt x="84" y="567"/>
                    </a:moveTo>
                    <a:cubicBezTo>
                      <a:pt x="84" y="567"/>
                      <a:pt x="84" y="567"/>
                      <a:pt x="84" y="567"/>
                    </a:cubicBezTo>
                    <a:cubicBezTo>
                      <a:pt x="90" y="684"/>
                      <a:pt x="140" y="789"/>
                      <a:pt x="218" y="867"/>
                    </a:cubicBezTo>
                    <a:cubicBezTo>
                      <a:pt x="229" y="878"/>
                      <a:pt x="229" y="878"/>
                      <a:pt x="229" y="878"/>
                    </a:cubicBezTo>
                    <a:cubicBezTo>
                      <a:pt x="249" y="863"/>
                      <a:pt x="270" y="849"/>
                      <a:pt x="292" y="837"/>
                    </a:cubicBezTo>
                    <a:cubicBezTo>
                      <a:pt x="263" y="760"/>
                      <a:pt x="245" y="667"/>
                      <a:pt x="242" y="567"/>
                    </a:cubicBezTo>
                    <a:cubicBezTo>
                      <a:pt x="84" y="567"/>
                      <a:pt x="84" y="567"/>
                      <a:pt x="84" y="567"/>
                    </a:cubicBezTo>
                    <a:cubicBezTo>
                      <a:pt x="84" y="567"/>
                      <a:pt x="84" y="567"/>
                      <a:pt x="84" y="567"/>
                    </a:cubicBezTo>
                    <a:close/>
                    <a:moveTo>
                      <a:pt x="268" y="911"/>
                    </a:moveTo>
                    <a:cubicBezTo>
                      <a:pt x="268" y="911"/>
                      <a:pt x="268" y="911"/>
                      <a:pt x="268" y="911"/>
                    </a:cubicBezTo>
                    <a:cubicBezTo>
                      <a:pt x="297" y="932"/>
                      <a:pt x="328" y="950"/>
                      <a:pt x="362" y="964"/>
                    </a:cubicBezTo>
                    <a:cubicBezTo>
                      <a:pt x="349" y="948"/>
                      <a:pt x="336" y="929"/>
                      <a:pt x="325" y="908"/>
                    </a:cubicBezTo>
                    <a:cubicBezTo>
                      <a:pt x="320" y="900"/>
                      <a:pt x="316" y="892"/>
                      <a:pt x="312" y="883"/>
                    </a:cubicBezTo>
                    <a:cubicBezTo>
                      <a:pt x="297" y="891"/>
                      <a:pt x="283" y="900"/>
                      <a:pt x="268" y="911"/>
                    </a:cubicBezTo>
                    <a:cubicBezTo>
                      <a:pt x="268" y="911"/>
                      <a:pt x="268" y="911"/>
                      <a:pt x="268" y="911"/>
                    </a:cubicBezTo>
                    <a:close/>
                    <a:moveTo>
                      <a:pt x="567" y="1000"/>
                    </a:moveTo>
                    <a:cubicBezTo>
                      <a:pt x="567" y="1000"/>
                      <a:pt x="567" y="1000"/>
                      <a:pt x="567" y="1000"/>
                    </a:cubicBezTo>
                    <a:cubicBezTo>
                      <a:pt x="584" y="1000"/>
                      <a:pt x="601" y="998"/>
                      <a:pt x="617" y="995"/>
                    </a:cubicBezTo>
                    <a:cubicBezTo>
                      <a:pt x="654" y="972"/>
                      <a:pt x="687" y="934"/>
                      <a:pt x="714" y="884"/>
                    </a:cubicBezTo>
                    <a:cubicBezTo>
                      <a:pt x="719" y="877"/>
                      <a:pt x="723" y="869"/>
                      <a:pt x="726" y="861"/>
                    </a:cubicBezTo>
                    <a:cubicBezTo>
                      <a:pt x="720" y="859"/>
                      <a:pt x="714" y="856"/>
                      <a:pt x="707" y="854"/>
                    </a:cubicBezTo>
                    <a:cubicBezTo>
                      <a:pt x="664" y="837"/>
                      <a:pt x="616" y="828"/>
                      <a:pt x="566" y="825"/>
                    </a:cubicBezTo>
                    <a:cubicBezTo>
                      <a:pt x="566" y="1000"/>
                      <a:pt x="566" y="1000"/>
                      <a:pt x="566" y="1000"/>
                    </a:cubicBezTo>
                    <a:cubicBezTo>
                      <a:pt x="567" y="1000"/>
                      <a:pt x="567" y="1000"/>
                      <a:pt x="567" y="1000"/>
                    </a:cubicBezTo>
                    <a:close/>
                    <a:moveTo>
                      <a:pt x="722" y="964"/>
                    </a:moveTo>
                    <a:cubicBezTo>
                      <a:pt x="722" y="964"/>
                      <a:pt x="722" y="964"/>
                      <a:pt x="722" y="964"/>
                    </a:cubicBezTo>
                    <a:cubicBezTo>
                      <a:pt x="755" y="950"/>
                      <a:pt x="787" y="932"/>
                      <a:pt x="815" y="911"/>
                    </a:cubicBezTo>
                    <a:cubicBezTo>
                      <a:pt x="801" y="900"/>
                      <a:pt x="787" y="891"/>
                      <a:pt x="771" y="883"/>
                    </a:cubicBezTo>
                    <a:cubicBezTo>
                      <a:pt x="767" y="892"/>
                      <a:pt x="763" y="900"/>
                      <a:pt x="758" y="908"/>
                    </a:cubicBezTo>
                    <a:cubicBezTo>
                      <a:pt x="747" y="929"/>
                      <a:pt x="735" y="948"/>
                      <a:pt x="722" y="964"/>
                    </a:cubicBezTo>
                    <a:cubicBezTo>
                      <a:pt x="722" y="964"/>
                      <a:pt x="722" y="964"/>
                      <a:pt x="722" y="964"/>
                    </a:cubicBezTo>
                    <a:close/>
                    <a:moveTo>
                      <a:pt x="855" y="878"/>
                    </a:moveTo>
                    <a:cubicBezTo>
                      <a:pt x="855" y="878"/>
                      <a:pt x="855" y="878"/>
                      <a:pt x="855" y="878"/>
                    </a:cubicBezTo>
                    <a:cubicBezTo>
                      <a:pt x="866" y="867"/>
                      <a:pt x="866" y="867"/>
                      <a:pt x="866" y="867"/>
                    </a:cubicBezTo>
                    <a:cubicBezTo>
                      <a:pt x="943" y="789"/>
                      <a:pt x="993" y="684"/>
                      <a:pt x="1000" y="567"/>
                    </a:cubicBezTo>
                    <a:cubicBezTo>
                      <a:pt x="842" y="567"/>
                      <a:pt x="842" y="567"/>
                      <a:pt x="842" y="567"/>
                    </a:cubicBezTo>
                    <a:cubicBezTo>
                      <a:pt x="839" y="667"/>
                      <a:pt x="820" y="760"/>
                      <a:pt x="791" y="837"/>
                    </a:cubicBezTo>
                    <a:cubicBezTo>
                      <a:pt x="813" y="849"/>
                      <a:pt x="835" y="863"/>
                      <a:pt x="855" y="878"/>
                    </a:cubicBezTo>
                    <a:cubicBezTo>
                      <a:pt x="855" y="878"/>
                      <a:pt x="855" y="878"/>
                      <a:pt x="855" y="878"/>
                    </a:cubicBezTo>
                    <a:close/>
                    <a:moveTo>
                      <a:pt x="746" y="269"/>
                    </a:moveTo>
                    <a:cubicBezTo>
                      <a:pt x="746" y="269"/>
                      <a:pt x="746" y="269"/>
                      <a:pt x="746" y="269"/>
                    </a:cubicBezTo>
                    <a:cubicBezTo>
                      <a:pt x="739" y="272"/>
                      <a:pt x="732" y="275"/>
                      <a:pt x="725" y="278"/>
                    </a:cubicBezTo>
                    <a:cubicBezTo>
                      <a:pt x="675" y="296"/>
                      <a:pt x="622" y="308"/>
                      <a:pt x="567" y="310"/>
                    </a:cubicBezTo>
                    <a:cubicBezTo>
                      <a:pt x="567" y="517"/>
                      <a:pt x="567" y="517"/>
                      <a:pt x="567" y="517"/>
                    </a:cubicBezTo>
                    <a:cubicBezTo>
                      <a:pt x="792" y="517"/>
                      <a:pt x="792" y="517"/>
                      <a:pt x="792" y="517"/>
                    </a:cubicBezTo>
                    <a:cubicBezTo>
                      <a:pt x="789" y="425"/>
                      <a:pt x="772" y="340"/>
                      <a:pt x="746" y="269"/>
                    </a:cubicBezTo>
                    <a:cubicBezTo>
                      <a:pt x="746" y="269"/>
                      <a:pt x="746" y="269"/>
                      <a:pt x="746" y="269"/>
                    </a:cubicBezTo>
                    <a:close/>
                    <a:moveTo>
                      <a:pt x="517" y="310"/>
                    </a:moveTo>
                    <a:cubicBezTo>
                      <a:pt x="517" y="310"/>
                      <a:pt x="517" y="310"/>
                      <a:pt x="517" y="310"/>
                    </a:cubicBezTo>
                    <a:cubicBezTo>
                      <a:pt x="462" y="308"/>
                      <a:pt x="409" y="296"/>
                      <a:pt x="358" y="278"/>
                    </a:cubicBezTo>
                    <a:cubicBezTo>
                      <a:pt x="352" y="275"/>
                      <a:pt x="345" y="272"/>
                      <a:pt x="338" y="269"/>
                    </a:cubicBezTo>
                    <a:cubicBezTo>
                      <a:pt x="311" y="340"/>
                      <a:pt x="294" y="425"/>
                      <a:pt x="292" y="517"/>
                    </a:cubicBezTo>
                    <a:cubicBezTo>
                      <a:pt x="517" y="517"/>
                      <a:pt x="517" y="517"/>
                      <a:pt x="517" y="517"/>
                    </a:cubicBezTo>
                    <a:cubicBezTo>
                      <a:pt x="517" y="310"/>
                      <a:pt x="517" y="310"/>
                      <a:pt x="517" y="310"/>
                    </a:cubicBezTo>
                    <a:cubicBezTo>
                      <a:pt x="517" y="310"/>
                      <a:pt x="517" y="310"/>
                      <a:pt x="517" y="310"/>
                    </a:cubicBezTo>
                    <a:close/>
                    <a:moveTo>
                      <a:pt x="517" y="775"/>
                    </a:moveTo>
                    <a:cubicBezTo>
                      <a:pt x="517" y="775"/>
                      <a:pt x="517" y="775"/>
                      <a:pt x="517" y="775"/>
                    </a:cubicBezTo>
                    <a:cubicBezTo>
                      <a:pt x="517" y="567"/>
                      <a:pt x="517" y="567"/>
                      <a:pt x="517" y="567"/>
                    </a:cubicBezTo>
                    <a:cubicBezTo>
                      <a:pt x="292" y="567"/>
                      <a:pt x="292" y="567"/>
                      <a:pt x="292" y="567"/>
                    </a:cubicBezTo>
                    <a:cubicBezTo>
                      <a:pt x="294" y="659"/>
                      <a:pt x="311" y="744"/>
                      <a:pt x="338" y="815"/>
                    </a:cubicBezTo>
                    <a:cubicBezTo>
                      <a:pt x="345" y="813"/>
                      <a:pt x="352" y="810"/>
                      <a:pt x="359" y="807"/>
                    </a:cubicBezTo>
                    <a:cubicBezTo>
                      <a:pt x="409" y="789"/>
                      <a:pt x="462" y="777"/>
                      <a:pt x="517" y="775"/>
                    </a:cubicBezTo>
                    <a:cubicBezTo>
                      <a:pt x="517" y="775"/>
                      <a:pt x="517" y="775"/>
                      <a:pt x="517" y="775"/>
                    </a:cubicBezTo>
                    <a:close/>
                    <a:moveTo>
                      <a:pt x="567" y="775"/>
                    </a:moveTo>
                    <a:cubicBezTo>
                      <a:pt x="567" y="775"/>
                      <a:pt x="567" y="775"/>
                      <a:pt x="567" y="775"/>
                    </a:cubicBezTo>
                    <a:cubicBezTo>
                      <a:pt x="622" y="778"/>
                      <a:pt x="675" y="789"/>
                      <a:pt x="725" y="807"/>
                    </a:cubicBezTo>
                    <a:cubicBezTo>
                      <a:pt x="732" y="810"/>
                      <a:pt x="739" y="813"/>
                      <a:pt x="746" y="815"/>
                    </a:cubicBezTo>
                    <a:cubicBezTo>
                      <a:pt x="772" y="744"/>
                      <a:pt x="789" y="659"/>
                      <a:pt x="792" y="567"/>
                    </a:cubicBezTo>
                    <a:cubicBezTo>
                      <a:pt x="567" y="567"/>
                      <a:pt x="567" y="567"/>
                      <a:pt x="567" y="567"/>
                    </a:cubicBezTo>
                    <a:cubicBezTo>
                      <a:pt x="567" y="775"/>
                      <a:pt x="567" y="775"/>
                      <a:pt x="567" y="775"/>
                    </a:cubicBezTo>
                    <a:cubicBezTo>
                      <a:pt x="567" y="775"/>
                      <a:pt x="567" y="775"/>
                      <a:pt x="567" y="775"/>
                    </a:cubicBezTo>
                    <a:close/>
                  </a:path>
                </a:pathLst>
              </a:custGeom>
              <a:solidFill>
                <a:schemeClr val="accent1"/>
              </a:solidFill>
              <a:ln>
                <a:noFill/>
              </a:ln>
            </p:spPr>
            <p:txBody>
              <a:bodyPr anchor="ctr"/>
              <a:lstStyle/>
              <a:p>
                <a:pPr algn="ctr"/>
                <a:endParaRPr/>
              </a:p>
            </p:txBody>
          </p:sp>
        </p:grpSp>
        <p:grpSp>
          <p:nvGrpSpPr>
            <p:cNvPr id="14" name="îṧľïḓé">
              <a:extLst>
                <a:ext uri="{FF2B5EF4-FFF2-40B4-BE49-F238E27FC236}">
                  <a16:creationId xmlns:a16="http://schemas.microsoft.com/office/drawing/2014/main" id="{A6086E94-3A57-4301-BBC2-F3BD62B42C67}"/>
                </a:ext>
              </a:extLst>
            </p:cNvPr>
            <p:cNvGrpSpPr/>
            <p:nvPr/>
          </p:nvGrpSpPr>
          <p:grpSpPr>
            <a:xfrm>
              <a:off x="6939104" y="2381597"/>
              <a:ext cx="684112" cy="685138"/>
              <a:chOff x="4480431" y="3845665"/>
              <a:chExt cx="684112" cy="685138"/>
            </a:xfrm>
          </p:grpSpPr>
          <p:sp>
            <p:nvSpPr>
              <p:cNvPr id="27" name="îśļïḋè">
                <a:extLst>
                  <a:ext uri="{FF2B5EF4-FFF2-40B4-BE49-F238E27FC236}">
                    <a16:creationId xmlns:a16="http://schemas.microsoft.com/office/drawing/2014/main" id="{7B396C3F-B1A8-4F86-AA3C-5E8D3A164CD6}"/>
                  </a:ext>
                </a:extLst>
              </p:cNvPr>
              <p:cNvSpPr/>
              <p:nvPr/>
            </p:nvSpPr>
            <p:spPr>
              <a:xfrm>
                <a:off x="4480431" y="3845665"/>
                <a:ext cx="684112" cy="685138"/>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8" name="i$ļîḑé">
                <a:extLst>
                  <a:ext uri="{FF2B5EF4-FFF2-40B4-BE49-F238E27FC236}">
                    <a16:creationId xmlns:a16="http://schemas.microsoft.com/office/drawing/2014/main" id="{7A700E89-0254-47B1-A94E-B65991117414}"/>
                  </a:ext>
                </a:extLst>
              </p:cNvPr>
              <p:cNvSpPr/>
              <p:nvPr/>
            </p:nvSpPr>
            <p:spPr bwMode="auto">
              <a:xfrm>
                <a:off x="4640547" y="4006295"/>
                <a:ext cx="363880" cy="363880"/>
              </a:xfrm>
              <a:custGeom>
                <a:avLst/>
                <a:gdLst>
                  <a:gd name="T0" fmla="*/ 1083 w 1083"/>
                  <a:gd name="T1" fmla="*/ 542 h 1084"/>
                  <a:gd name="T2" fmla="*/ 158 w 1083"/>
                  <a:gd name="T3" fmla="*/ 926 h 1084"/>
                  <a:gd name="T4" fmla="*/ 542 w 1083"/>
                  <a:gd name="T5" fmla="*/ 0 h 1084"/>
                  <a:gd name="T6" fmla="*/ 517 w 1083"/>
                  <a:gd name="T7" fmla="*/ 1000 h 1084"/>
                  <a:gd name="T8" fmla="*/ 357 w 1083"/>
                  <a:gd name="T9" fmla="*/ 861 h 1084"/>
                  <a:gd name="T10" fmla="*/ 517 w 1083"/>
                  <a:gd name="T11" fmla="*/ 1000 h 1084"/>
                  <a:gd name="T12" fmla="*/ 866 w 1083"/>
                  <a:gd name="T13" fmla="*/ 218 h 1084"/>
                  <a:gd name="T14" fmla="*/ 842 w 1083"/>
                  <a:gd name="T15" fmla="*/ 517 h 1084"/>
                  <a:gd name="T16" fmla="*/ 866 w 1083"/>
                  <a:gd name="T17" fmla="*/ 218 h 1084"/>
                  <a:gd name="T18" fmla="*/ 722 w 1083"/>
                  <a:gd name="T19" fmla="*/ 120 h 1084"/>
                  <a:gd name="T20" fmla="*/ 815 w 1083"/>
                  <a:gd name="T21" fmla="*/ 174 h 1084"/>
                  <a:gd name="T22" fmla="*/ 617 w 1083"/>
                  <a:gd name="T23" fmla="*/ 90 h 1084"/>
                  <a:gd name="T24" fmla="*/ 707 w 1083"/>
                  <a:gd name="T25" fmla="*/ 231 h 1084"/>
                  <a:gd name="T26" fmla="*/ 617 w 1083"/>
                  <a:gd name="T27" fmla="*/ 90 h 1084"/>
                  <a:gd name="T28" fmla="*/ 517 w 1083"/>
                  <a:gd name="T29" fmla="*/ 84 h 1084"/>
                  <a:gd name="T30" fmla="*/ 357 w 1083"/>
                  <a:gd name="T31" fmla="*/ 224 h 1084"/>
                  <a:gd name="T32" fmla="*/ 517 w 1083"/>
                  <a:gd name="T33" fmla="*/ 84 h 1084"/>
                  <a:gd name="T34" fmla="*/ 362 w 1083"/>
                  <a:gd name="T35" fmla="*/ 120 h 1084"/>
                  <a:gd name="T36" fmla="*/ 325 w 1083"/>
                  <a:gd name="T37" fmla="*/ 177 h 1084"/>
                  <a:gd name="T38" fmla="*/ 229 w 1083"/>
                  <a:gd name="T39" fmla="*/ 207 h 1084"/>
                  <a:gd name="T40" fmla="*/ 84 w 1083"/>
                  <a:gd name="T41" fmla="*/ 517 h 1084"/>
                  <a:gd name="T42" fmla="*/ 229 w 1083"/>
                  <a:gd name="T43" fmla="*/ 207 h 1084"/>
                  <a:gd name="T44" fmla="*/ 84 w 1083"/>
                  <a:gd name="T45" fmla="*/ 567 h 1084"/>
                  <a:gd name="T46" fmla="*/ 292 w 1083"/>
                  <a:gd name="T47" fmla="*/ 837 h 1084"/>
                  <a:gd name="T48" fmla="*/ 84 w 1083"/>
                  <a:gd name="T49" fmla="*/ 567 h 1084"/>
                  <a:gd name="T50" fmla="*/ 362 w 1083"/>
                  <a:gd name="T51" fmla="*/ 964 h 1084"/>
                  <a:gd name="T52" fmla="*/ 268 w 1083"/>
                  <a:gd name="T53" fmla="*/ 911 h 1084"/>
                  <a:gd name="T54" fmla="*/ 567 w 1083"/>
                  <a:gd name="T55" fmla="*/ 1000 h 1084"/>
                  <a:gd name="T56" fmla="*/ 726 w 1083"/>
                  <a:gd name="T57" fmla="*/ 861 h 1084"/>
                  <a:gd name="T58" fmla="*/ 566 w 1083"/>
                  <a:gd name="T59" fmla="*/ 1000 h 1084"/>
                  <a:gd name="T60" fmla="*/ 722 w 1083"/>
                  <a:gd name="T61" fmla="*/ 964 h 1084"/>
                  <a:gd name="T62" fmla="*/ 758 w 1083"/>
                  <a:gd name="T63" fmla="*/ 908 h 1084"/>
                  <a:gd name="T64" fmla="*/ 855 w 1083"/>
                  <a:gd name="T65" fmla="*/ 878 h 1084"/>
                  <a:gd name="T66" fmla="*/ 1000 w 1083"/>
                  <a:gd name="T67" fmla="*/ 567 h 1084"/>
                  <a:gd name="T68" fmla="*/ 855 w 1083"/>
                  <a:gd name="T69" fmla="*/ 878 h 1084"/>
                  <a:gd name="T70" fmla="*/ 746 w 1083"/>
                  <a:gd name="T71" fmla="*/ 269 h 1084"/>
                  <a:gd name="T72" fmla="*/ 567 w 1083"/>
                  <a:gd name="T73" fmla="*/ 517 h 1084"/>
                  <a:gd name="T74" fmla="*/ 746 w 1083"/>
                  <a:gd name="T75" fmla="*/ 269 h 1084"/>
                  <a:gd name="T76" fmla="*/ 358 w 1083"/>
                  <a:gd name="T77" fmla="*/ 278 h 1084"/>
                  <a:gd name="T78" fmla="*/ 517 w 1083"/>
                  <a:gd name="T79" fmla="*/ 517 h 1084"/>
                  <a:gd name="T80" fmla="*/ 517 w 1083"/>
                  <a:gd name="T81" fmla="*/ 775 h 1084"/>
                  <a:gd name="T82" fmla="*/ 292 w 1083"/>
                  <a:gd name="T83" fmla="*/ 567 h 1084"/>
                  <a:gd name="T84" fmla="*/ 517 w 1083"/>
                  <a:gd name="T85" fmla="*/ 775 h 1084"/>
                  <a:gd name="T86" fmla="*/ 567 w 1083"/>
                  <a:gd name="T87" fmla="*/ 775 h 1084"/>
                  <a:gd name="T88" fmla="*/ 792 w 1083"/>
                  <a:gd name="T89" fmla="*/ 567 h 1084"/>
                  <a:gd name="T90" fmla="*/ 567 w 1083"/>
                  <a:gd name="T91" fmla="*/ 775 h 1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83" h="1084">
                    <a:moveTo>
                      <a:pt x="542" y="0"/>
                    </a:moveTo>
                    <a:cubicBezTo>
                      <a:pt x="691" y="0"/>
                      <a:pt x="827" y="61"/>
                      <a:pt x="925" y="159"/>
                    </a:cubicBezTo>
                    <a:cubicBezTo>
                      <a:pt x="1023" y="258"/>
                      <a:pt x="1083" y="393"/>
                      <a:pt x="1083" y="542"/>
                    </a:cubicBezTo>
                    <a:cubicBezTo>
                      <a:pt x="1083" y="692"/>
                      <a:pt x="1023" y="827"/>
                      <a:pt x="925" y="926"/>
                    </a:cubicBezTo>
                    <a:cubicBezTo>
                      <a:pt x="827" y="1024"/>
                      <a:pt x="691" y="1084"/>
                      <a:pt x="542" y="1084"/>
                    </a:cubicBezTo>
                    <a:cubicBezTo>
                      <a:pt x="392" y="1084"/>
                      <a:pt x="257" y="1024"/>
                      <a:pt x="158" y="926"/>
                    </a:cubicBezTo>
                    <a:cubicBezTo>
                      <a:pt x="60" y="827"/>
                      <a:pt x="0" y="692"/>
                      <a:pt x="0" y="542"/>
                    </a:cubicBezTo>
                    <a:cubicBezTo>
                      <a:pt x="0" y="393"/>
                      <a:pt x="60" y="258"/>
                      <a:pt x="158" y="159"/>
                    </a:cubicBezTo>
                    <a:cubicBezTo>
                      <a:pt x="257" y="61"/>
                      <a:pt x="392" y="0"/>
                      <a:pt x="542" y="0"/>
                    </a:cubicBezTo>
                    <a:cubicBezTo>
                      <a:pt x="542" y="0"/>
                      <a:pt x="542" y="0"/>
                      <a:pt x="542" y="0"/>
                    </a:cubicBezTo>
                    <a:close/>
                    <a:moveTo>
                      <a:pt x="517" y="1000"/>
                    </a:moveTo>
                    <a:cubicBezTo>
                      <a:pt x="517" y="1000"/>
                      <a:pt x="517" y="1000"/>
                      <a:pt x="517" y="1000"/>
                    </a:cubicBezTo>
                    <a:cubicBezTo>
                      <a:pt x="517" y="825"/>
                      <a:pt x="517" y="825"/>
                      <a:pt x="517" y="825"/>
                    </a:cubicBezTo>
                    <a:cubicBezTo>
                      <a:pt x="468" y="827"/>
                      <a:pt x="420" y="837"/>
                      <a:pt x="376" y="854"/>
                    </a:cubicBezTo>
                    <a:cubicBezTo>
                      <a:pt x="370" y="856"/>
                      <a:pt x="363" y="859"/>
                      <a:pt x="357" y="861"/>
                    </a:cubicBezTo>
                    <a:cubicBezTo>
                      <a:pt x="361" y="869"/>
                      <a:pt x="365" y="877"/>
                      <a:pt x="369" y="884"/>
                    </a:cubicBezTo>
                    <a:cubicBezTo>
                      <a:pt x="396" y="934"/>
                      <a:pt x="430" y="972"/>
                      <a:pt x="466" y="995"/>
                    </a:cubicBezTo>
                    <a:cubicBezTo>
                      <a:pt x="483" y="998"/>
                      <a:pt x="500" y="1000"/>
                      <a:pt x="517" y="1000"/>
                    </a:cubicBezTo>
                    <a:cubicBezTo>
                      <a:pt x="517" y="1000"/>
                      <a:pt x="517" y="1000"/>
                      <a:pt x="517" y="1000"/>
                    </a:cubicBezTo>
                    <a:close/>
                    <a:moveTo>
                      <a:pt x="866" y="218"/>
                    </a:moveTo>
                    <a:cubicBezTo>
                      <a:pt x="866" y="218"/>
                      <a:pt x="866" y="218"/>
                      <a:pt x="866" y="218"/>
                    </a:cubicBezTo>
                    <a:cubicBezTo>
                      <a:pt x="862" y="214"/>
                      <a:pt x="858" y="211"/>
                      <a:pt x="855" y="207"/>
                    </a:cubicBezTo>
                    <a:cubicBezTo>
                      <a:pt x="835" y="223"/>
                      <a:pt x="813" y="236"/>
                      <a:pt x="791" y="248"/>
                    </a:cubicBezTo>
                    <a:cubicBezTo>
                      <a:pt x="820" y="325"/>
                      <a:pt x="839" y="418"/>
                      <a:pt x="842" y="517"/>
                    </a:cubicBezTo>
                    <a:cubicBezTo>
                      <a:pt x="1000" y="517"/>
                      <a:pt x="1000" y="517"/>
                      <a:pt x="1000" y="517"/>
                    </a:cubicBezTo>
                    <a:cubicBezTo>
                      <a:pt x="993" y="401"/>
                      <a:pt x="943" y="296"/>
                      <a:pt x="866" y="218"/>
                    </a:cubicBezTo>
                    <a:cubicBezTo>
                      <a:pt x="866" y="218"/>
                      <a:pt x="866" y="218"/>
                      <a:pt x="866" y="218"/>
                    </a:cubicBezTo>
                    <a:close/>
                    <a:moveTo>
                      <a:pt x="815" y="174"/>
                    </a:moveTo>
                    <a:cubicBezTo>
                      <a:pt x="815" y="174"/>
                      <a:pt x="815" y="174"/>
                      <a:pt x="815" y="174"/>
                    </a:cubicBezTo>
                    <a:cubicBezTo>
                      <a:pt x="787" y="153"/>
                      <a:pt x="755" y="135"/>
                      <a:pt x="722" y="120"/>
                    </a:cubicBezTo>
                    <a:cubicBezTo>
                      <a:pt x="735" y="138"/>
                      <a:pt x="747" y="156"/>
                      <a:pt x="758" y="177"/>
                    </a:cubicBezTo>
                    <a:cubicBezTo>
                      <a:pt x="763" y="185"/>
                      <a:pt x="767" y="193"/>
                      <a:pt x="771" y="202"/>
                    </a:cubicBezTo>
                    <a:cubicBezTo>
                      <a:pt x="787" y="194"/>
                      <a:pt x="801" y="184"/>
                      <a:pt x="815" y="174"/>
                    </a:cubicBezTo>
                    <a:cubicBezTo>
                      <a:pt x="815" y="174"/>
                      <a:pt x="815" y="174"/>
                      <a:pt x="815" y="174"/>
                    </a:cubicBezTo>
                    <a:close/>
                    <a:moveTo>
                      <a:pt x="617" y="90"/>
                    </a:moveTo>
                    <a:cubicBezTo>
                      <a:pt x="617" y="90"/>
                      <a:pt x="617" y="90"/>
                      <a:pt x="617" y="90"/>
                    </a:cubicBezTo>
                    <a:cubicBezTo>
                      <a:pt x="601" y="87"/>
                      <a:pt x="584" y="85"/>
                      <a:pt x="567" y="84"/>
                    </a:cubicBezTo>
                    <a:cubicBezTo>
                      <a:pt x="567" y="260"/>
                      <a:pt x="567" y="260"/>
                      <a:pt x="567" y="260"/>
                    </a:cubicBezTo>
                    <a:cubicBezTo>
                      <a:pt x="616" y="258"/>
                      <a:pt x="664" y="247"/>
                      <a:pt x="707" y="231"/>
                    </a:cubicBezTo>
                    <a:cubicBezTo>
                      <a:pt x="714" y="229"/>
                      <a:pt x="720" y="226"/>
                      <a:pt x="726" y="224"/>
                    </a:cubicBezTo>
                    <a:cubicBezTo>
                      <a:pt x="723" y="216"/>
                      <a:pt x="719" y="208"/>
                      <a:pt x="714" y="201"/>
                    </a:cubicBezTo>
                    <a:cubicBezTo>
                      <a:pt x="687" y="151"/>
                      <a:pt x="654" y="112"/>
                      <a:pt x="617" y="90"/>
                    </a:cubicBezTo>
                    <a:cubicBezTo>
                      <a:pt x="617" y="90"/>
                      <a:pt x="617" y="90"/>
                      <a:pt x="617" y="90"/>
                    </a:cubicBezTo>
                    <a:close/>
                    <a:moveTo>
                      <a:pt x="517" y="84"/>
                    </a:moveTo>
                    <a:cubicBezTo>
                      <a:pt x="517" y="84"/>
                      <a:pt x="517" y="84"/>
                      <a:pt x="517" y="84"/>
                    </a:cubicBezTo>
                    <a:cubicBezTo>
                      <a:pt x="500" y="85"/>
                      <a:pt x="483" y="88"/>
                      <a:pt x="466" y="90"/>
                    </a:cubicBezTo>
                    <a:cubicBezTo>
                      <a:pt x="430" y="112"/>
                      <a:pt x="396" y="151"/>
                      <a:pt x="369" y="201"/>
                    </a:cubicBezTo>
                    <a:cubicBezTo>
                      <a:pt x="365" y="208"/>
                      <a:pt x="361" y="216"/>
                      <a:pt x="357" y="224"/>
                    </a:cubicBezTo>
                    <a:cubicBezTo>
                      <a:pt x="363" y="226"/>
                      <a:pt x="370" y="229"/>
                      <a:pt x="376" y="231"/>
                    </a:cubicBezTo>
                    <a:cubicBezTo>
                      <a:pt x="420" y="247"/>
                      <a:pt x="467" y="258"/>
                      <a:pt x="517" y="260"/>
                    </a:cubicBezTo>
                    <a:cubicBezTo>
                      <a:pt x="517" y="84"/>
                      <a:pt x="517" y="84"/>
                      <a:pt x="517" y="84"/>
                    </a:cubicBezTo>
                    <a:cubicBezTo>
                      <a:pt x="517" y="84"/>
                      <a:pt x="517" y="84"/>
                      <a:pt x="517" y="84"/>
                    </a:cubicBezTo>
                    <a:close/>
                    <a:moveTo>
                      <a:pt x="362" y="120"/>
                    </a:moveTo>
                    <a:cubicBezTo>
                      <a:pt x="362" y="120"/>
                      <a:pt x="362" y="120"/>
                      <a:pt x="362" y="120"/>
                    </a:cubicBezTo>
                    <a:cubicBezTo>
                      <a:pt x="328" y="135"/>
                      <a:pt x="297" y="153"/>
                      <a:pt x="268" y="174"/>
                    </a:cubicBezTo>
                    <a:cubicBezTo>
                      <a:pt x="283" y="184"/>
                      <a:pt x="297" y="194"/>
                      <a:pt x="312" y="202"/>
                    </a:cubicBezTo>
                    <a:cubicBezTo>
                      <a:pt x="316" y="193"/>
                      <a:pt x="320" y="185"/>
                      <a:pt x="325" y="177"/>
                    </a:cubicBezTo>
                    <a:cubicBezTo>
                      <a:pt x="336" y="156"/>
                      <a:pt x="349" y="138"/>
                      <a:pt x="362" y="120"/>
                    </a:cubicBezTo>
                    <a:cubicBezTo>
                      <a:pt x="362" y="120"/>
                      <a:pt x="362" y="120"/>
                      <a:pt x="362" y="120"/>
                    </a:cubicBezTo>
                    <a:close/>
                    <a:moveTo>
                      <a:pt x="229" y="207"/>
                    </a:moveTo>
                    <a:cubicBezTo>
                      <a:pt x="229" y="207"/>
                      <a:pt x="229" y="207"/>
                      <a:pt x="229" y="207"/>
                    </a:cubicBezTo>
                    <a:cubicBezTo>
                      <a:pt x="225" y="211"/>
                      <a:pt x="221" y="214"/>
                      <a:pt x="218" y="218"/>
                    </a:cubicBezTo>
                    <a:cubicBezTo>
                      <a:pt x="140" y="296"/>
                      <a:pt x="90" y="401"/>
                      <a:pt x="84" y="517"/>
                    </a:cubicBezTo>
                    <a:cubicBezTo>
                      <a:pt x="242" y="517"/>
                      <a:pt x="242" y="517"/>
                      <a:pt x="242" y="517"/>
                    </a:cubicBezTo>
                    <a:cubicBezTo>
                      <a:pt x="245" y="418"/>
                      <a:pt x="263" y="325"/>
                      <a:pt x="292" y="248"/>
                    </a:cubicBezTo>
                    <a:cubicBezTo>
                      <a:pt x="270" y="236"/>
                      <a:pt x="249" y="223"/>
                      <a:pt x="229" y="207"/>
                    </a:cubicBezTo>
                    <a:cubicBezTo>
                      <a:pt x="229" y="207"/>
                      <a:pt x="229" y="207"/>
                      <a:pt x="229" y="207"/>
                    </a:cubicBezTo>
                    <a:close/>
                    <a:moveTo>
                      <a:pt x="84" y="567"/>
                    </a:moveTo>
                    <a:cubicBezTo>
                      <a:pt x="84" y="567"/>
                      <a:pt x="84" y="567"/>
                      <a:pt x="84" y="567"/>
                    </a:cubicBezTo>
                    <a:cubicBezTo>
                      <a:pt x="90" y="684"/>
                      <a:pt x="140" y="789"/>
                      <a:pt x="218" y="867"/>
                    </a:cubicBezTo>
                    <a:cubicBezTo>
                      <a:pt x="229" y="878"/>
                      <a:pt x="229" y="878"/>
                      <a:pt x="229" y="878"/>
                    </a:cubicBezTo>
                    <a:cubicBezTo>
                      <a:pt x="249" y="863"/>
                      <a:pt x="270" y="849"/>
                      <a:pt x="292" y="837"/>
                    </a:cubicBezTo>
                    <a:cubicBezTo>
                      <a:pt x="263" y="760"/>
                      <a:pt x="245" y="667"/>
                      <a:pt x="242" y="567"/>
                    </a:cubicBezTo>
                    <a:cubicBezTo>
                      <a:pt x="84" y="567"/>
                      <a:pt x="84" y="567"/>
                      <a:pt x="84" y="567"/>
                    </a:cubicBezTo>
                    <a:cubicBezTo>
                      <a:pt x="84" y="567"/>
                      <a:pt x="84" y="567"/>
                      <a:pt x="84" y="567"/>
                    </a:cubicBezTo>
                    <a:close/>
                    <a:moveTo>
                      <a:pt x="268" y="911"/>
                    </a:moveTo>
                    <a:cubicBezTo>
                      <a:pt x="268" y="911"/>
                      <a:pt x="268" y="911"/>
                      <a:pt x="268" y="911"/>
                    </a:cubicBezTo>
                    <a:cubicBezTo>
                      <a:pt x="297" y="932"/>
                      <a:pt x="328" y="950"/>
                      <a:pt x="362" y="964"/>
                    </a:cubicBezTo>
                    <a:cubicBezTo>
                      <a:pt x="349" y="948"/>
                      <a:pt x="336" y="929"/>
                      <a:pt x="325" y="908"/>
                    </a:cubicBezTo>
                    <a:cubicBezTo>
                      <a:pt x="320" y="900"/>
                      <a:pt x="316" y="892"/>
                      <a:pt x="312" y="883"/>
                    </a:cubicBezTo>
                    <a:cubicBezTo>
                      <a:pt x="297" y="891"/>
                      <a:pt x="283" y="900"/>
                      <a:pt x="268" y="911"/>
                    </a:cubicBezTo>
                    <a:cubicBezTo>
                      <a:pt x="268" y="911"/>
                      <a:pt x="268" y="911"/>
                      <a:pt x="268" y="911"/>
                    </a:cubicBezTo>
                    <a:close/>
                    <a:moveTo>
                      <a:pt x="567" y="1000"/>
                    </a:moveTo>
                    <a:cubicBezTo>
                      <a:pt x="567" y="1000"/>
                      <a:pt x="567" y="1000"/>
                      <a:pt x="567" y="1000"/>
                    </a:cubicBezTo>
                    <a:cubicBezTo>
                      <a:pt x="584" y="1000"/>
                      <a:pt x="601" y="998"/>
                      <a:pt x="617" y="995"/>
                    </a:cubicBezTo>
                    <a:cubicBezTo>
                      <a:pt x="654" y="972"/>
                      <a:pt x="687" y="934"/>
                      <a:pt x="714" y="884"/>
                    </a:cubicBezTo>
                    <a:cubicBezTo>
                      <a:pt x="719" y="877"/>
                      <a:pt x="723" y="869"/>
                      <a:pt x="726" y="861"/>
                    </a:cubicBezTo>
                    <a:cubicBezTo>
                      <a:pt x="720" y="859"/>
                      <a:pt x="714" y="856"/>
                      <a:pt x="707" y="854"/>
                    </a:cubicBezTo>
                    <a:cubicBezTo>
                      <a:pt x="664" y="837"/>
                      <a:pt x="616" y="828"/>
                      <a:pt x="566" y="825"/>
                    </a:cubicBezTo>
                    <a:cubicBezTo>
                      <a:pt x="566" y="1000"/>
                      <a:pt x="566" y="1000"/>
                      <a:pt x="566" y="1000"/>
                    </a:cubicBezTo>
                    <a:cubicBezTo>
                      <a:pt x="567" y="1000"/>
                      <a:pt x="567" y="1000"/>
                      <a:pt x="567" y="1000"/>
                    </a:cubicBezTo>
                    <a:close/>
                    <a:moveTo>
                      <a:pt x="722" y="964"/>
                    </a:moveTo>
                    <a:cubicBezTo>
                      <a:pt x="722" y="964"/>
                      <a:pt x="722" y="964"/>
                      <a:pt x="722" y="964"/>
                    </a:cubicBezTo>
                    <a:cubicBezTo>
                      <a:pt x="755" y="950"/>
                      <a:pt x="787" y="932"/>
                      <a:pt x="815" y="911"/>
                    </a:cubicBezTo>
                    <a:cubicBezTo>
                      <a:pt x="801" y="900"/>
                      <a:pt x="787" y="891"/>
                      <a:pt x="771" y="883"/>
                    </a:cubicBezTo>
                    <a:cubicBezTo>
                      <a:pt x="767" y="892"/>
                      <a:pt x="763" y="900"/>
                      <a:pt x="758" y="908"/>
                    </a:cubicBezTo>
                    <a:cubicBezTo>
                      <a:pt x="747" y="929"/>
                      <a:pt x="735" y="948"/>
                      <a:pt x="722" y="964"/>
                    </a:cubicBezTo>
                    <a:cubicBezTo>
                      <a:pt x="722" y="964"/>
                      <a:pt x="722" y="964"/>
                      <a:pt x="722" y="964"/>
                    </a:cubicBezTo>
                    <a:close/>
                    <a:moveTo>
                      <a:pt x="855" y="878"/>
                    </a:moveTo>
                    <a:cubicBezTo>
                      <a:pt x="855" y="878"/>
                      <a:pt x="855" y="878"/>
                      <a:pt x="855" y="878"/>
                    </a:cubicBezTo>
                    <a:cubicBezTo>
                      <a:pt x="866" y="867"/>
                      <a:pt x="866" y="867"/>
                      <a:pt x="866" y="867"/>
                    </a:cubicBezTo>
                    <a:cubicBezTo>
                      <a:pt x="943" y="789"/>
                      <a:pt x="993" y="684"/>
                      <a:pt x="1000" y="567"/>
                    </a:cubicBezTo>
                    <a:cubicBezTo>
                      <a:pt x="842" y="567"/>
                      <a:pt x="842" y="567"/>
                      <a:pt x="842" y="567"/>
                    </a:cubicBezTo>
                    <a:cubicBezTo>
                      <a:pt x="839" y="667"/>
                      <a:pt x="820" y="760"/>
                      <a:pt x="791" y="837"/>
                    </a:cubicBezTo>
                    <a:cubicBezTo>
                      <a:pt x="813" y="849"/>
                      <a:pt x="835" y="863"/>
                      <a:pt x="855" y="878"/>
                    </a:cubicBezTo>
                    <a:cubicBezTo>
                      <a:pt x="855" y="878"/>
                      <a:pt x="855" y="878"/>
                      <a:pt x="855" y="878"/>
                    </a:cubicBezTo>
                    <a:close/>
                    <a:moveTo>
                      <a:pt x="746" y="269"/>
                    </a:moveTo>
                    <a:cubicBezTo>
                      <a:pt x="746" y="269"/>
                      <a:pt x="746" y="269"/>
                      <a:pt x="746" y="269"/>
                    </a:cubicBezTo>
                    <a:cubicBezTo>
                      <a:pt x="739" y="272"/>
                      <a:pt x="732" y="275"/>
                      <a:pt x="725" y="278"/>
                    </a:cubicBezTo>
                    <a:cubicBezTo>
                      <a:pt x="675" y="296"/>
                      <a:pt x="622" y="308"/>
                      <a:pt x="567" y="310"/>
                    </a:cubicBezTo>
                    <a:cubicBezTo>
                      <a:pt x="567" y="517"/>
                      <a:pt x="567" y="517"/>
                      <a:pt x="567" y="517"/>
                    </a:cubicBezTo>
                    <a:cubicBezTo>
                      <a:pt x="792" y="517"/>
                      <a:pt x="792" y="517"/>
                      <a:pt x="792" y="517"/>
                    </a:cubicBezTo>
                    <a:cubicBezTo>
                      <a:pt x="789" y="425"/>
                      <a:pt x="772" y="340"/>
                      <a:pt x="746" y="269"/>
                    </a:cubicBezTo>
                    <a:cubicBezTo>
                      <a:pt x="746" y="269"/>
                      <a:pt x="746" y="269"/>
                      <a:pt x="746" y="269"/>
                    </a:cubicBezTo>
                    <a:close/>
                    <a:moveTo>
                      <a:pt x="517" y="310"/>
                    </a:moveTo>
                    <a:cubicBezTo>
                      <a:pt x="517" y="310"/>
                      <a:pt x="517" y="310"/>
                      <a:pt x="517" y="310"/>
                    </a:cubicBezTo>
                    <a:cubicBezTo>
                      <a:pt x="462" y="308"/>
                      <a:pt x="409" y="296"/>
                      <a:pt x="358" y="278"/>
                    </a:cubicBezTo>
                    <a:cubicBezTo>
                      <a:pt x="352" y="275"/>
                      <a:pt x="345" y="272"/>
                      <a:pt x="338" y="269"/>
                    </a:cubicBezTo>
                    <a:cubicBezTo>
                      <a:pt x="311" y="340"/>
                      <a:pt x="294" y="425"/>
                      <a:pt x="292" y="517"/>
                    </a:cubicBezTo>
                    <a:cubicBezTo>
                      <a:pt x="517" y="517"/>
                      <a:pt x="517" y="517"/>
                      <a:pt x="517" y="517"/>
                    </a:cubicBezTo>
                    <a:cubicBezTo>
                      <a:pt x="517" y="310"/>
                      <a:pt x="517" y="310"/>
                      <a:pt x="517" y="310"/>
                    </a:cubicBezTo>
                    <a:cubicBezTo>
                      <a:pt x="517" y="310"/>
                      <a:pt x="517" y="310"/>
                      <a:pt x="517" y="310"/>
                    </a:cubicBezTo>
                    <a:close/>
                    <a:moveTo>
                      <a:pt x="517" y="775"/>
                    </a:moveTo>
                    <a:cubicBezTo>
                      <a:pt x="517" y="775"/>
                      <a:pt x="517" y="775"/>
                      <a:pt x="517" y="775"/>
                    </a:cubicBezTo>
                    <a:cubicBezTo>
                      <a:pt x="517" y="567"/>
                      <a:pt x="517" y="567"/>
                      <a:pt x="517" y="567"/>
                    </a:cubicBezTo>
                    <a:cubicBezTo>
                      <a:pt x="292" y="567"/>
                      <a:pt x="292" y="567"/>
                      <a:pt x="292" y="567"/>
                    </a:cubicBezTo>
                    <a:cubicBezTo>
                      <a:pt x="294" y="659"/>
                      <a:pt x="311" y="744"/>
                      <a:pt x="338" y="815"/>
                    </a:cubicBezTo>
                    <a:cubicBezTo>
                      <a:pt x="345" y="813"/>
                      <a:pt x="352" y="810"/>
                      <a:pt x="359" y="807"/>
                    </a:cubicBezTo>
                    <a:cubicBezTo>
                      <a:pt x="409" y="789"/>
                      <a:pt x="462" y="777"/>
                      <a:pt x="517" y="775"/>
                    </a:cubicBezTo>
                    <a:cubicBezTo>
                      <a:pt x="517" y="775"/>
                      <a:pt x="517" y="775"/>
                      <a:pt x="517" y="775"/>
                    </a:cubicBezTo>
                    <a:close/>
                    <a:moveTo>
                      <a:pt x="567" y="775"/>
                    </a:moveTo>
                    <a:cubicBezTo>
                      <a:pt x="567" y="775"/>
                      <a:pt x="567" y="775"/>
                      <a:pt x="567" y="775"/>
                    </a:cubicBezTo>
                    <a:cubicBezTo>
                      <a:pt x="622" y="778"/>
                      <a:pt x="675" y="789"/>
                      <a:pt x="725" y="807"/>
                    </a:cubicBezTo>
                    <a:cubicBezTo>
                      <a:pt x="732" y="810"/>
                      <a:pt x="739" y="813"/>
                      <a:pt x="746" y="815"/>
                    </a:cubicBezTo>
                    <a:cubicBezTo>
                      <a:pt x="772" y="744"/>
                      <a:pt x="789" y="659"/>
                      <a:pt x="792" y="567"/>
                    </a:cubicBezTo>
                    <a:cubicBezTo>
                      <a:pt x="567" y="567"/>
                      <a:pt x="567" y="567"/>
                      <a:pt x="567" y="567"/>
                    </a:cubicBezTo>
                    <a:cubicBezTo>
                      <a:pt x="567" y="775"/>
                      <a:pt x="567" y="775"/>
                      <a:pt x="567" y="775"/>
                    </a:cubicBezTo>
                    <a:cubicBezTo>
                      <a:pt x="567" y="775"/>
                      <a:pt x="567" y="775"/>
                      <a:pt x="567" y="775"/>
                    </a:cubicBezTo>
                    <a:close/>
                  </a:path>
                </a:pathLst>
              </a:custGeom>
              <a:solidFill>
                <a:schemeClr val="accent1"/>
              </a:solidFill>
              <a:ln>
                <a:noFill/>
              </a:ln>
            </p:spPr>
            <p:txBody>
              <a:bodyPr anchor="ctr"/>
              <a:lstStyle/>
              <a:p>
                <a:pPr algn="ctr"/>
                <a:endParaRPr/>
              </a:p>
            </p:txBody>
          </p:sp>
        </p:grpSp>
        <p:grpSp>
          <p:nvGrpSpPr>
            <p:cNvPr id="15" name="ïṩḷíḑé">
              <a:extLst>
                <a:ext uri="{FF2B5EF4-FFF2-40B4-BE49-F238E27FC236}">
                  <a16:creationId xmlns:a16="http://schemas.microsoft.com/office/drawing/2014/main" id="{D71B0857-FBCE-407F-90E4-0A687DB44CFC}"/>
                </a:ext>
              </a:extLst>
            </p:cNvPr>
            <p:cNvGrpSpPr/>
            <p:nvPr/>
          </p:nvGrpSpPr>
          <p:grpSpPr>
            <a:xfrm>
              <a:off x="5753944" y="4218621"/>
              <a:ext cx="684112" cy="685138"/>
              <a:chOff x="4480431" y="3845665"/>
              <a:chExt cx="684112" cy="685138"/>
            </a:xfrm>
          </p:grpSpPr>
          <p:sp>
            <p:nvSpPr>
              <p:cNvPr id="25" name="ïṥļiḋe">
                <a:extLst>
                  <a:ext uri="{FF2B5EF4-FFF2-40B4-BE49-F238E27FC236}">
                    <a16:creationId xmlns:a16="http://schemas.microsoft.com/office/drawing/2014/main" id="{4E435D34-D1B5-4C0D-AD4C-7B50440C2F75}"/>
                  </a:ext>
                </a:extLst>
              </p:cNvPr>
              <p:cNvSpPr/>
              <p:nvPr/>
            </p:nvSpPr>
            <p:spPr>
              <a:xfrm>
                <a:off x="4480431" y="3845665"/>
                <a:ext cx="684112" cy="685138"/>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6" name="îś1îďè">
                <a:extLst>
                  <a:ext uri="{FF2B5EF4-FFF2-40B4-BE49-F238E27FC236}">
                    <a16:creationId xmlns:a16="http://schemas.microsoft.com/office/drawing/2014/main" id="{C5837BBB-BDF3-449B-830F-86D73E7ACD71}"/>
                  </a:ext>
                </a:extLst>
              </p:cNvPr>
              <p:cNvSpPr/>
              <p:nvPr/>
            </p:nvSpPr>
            <p:spPr bwMode="auto">
              <a:xfrm>
                <a:off x="4640547" y="4006295"/>
                <a:ext cx="363880" cy="363880"/>
              </a:xfrm>
              <a:custGeom>
                <a:avLst/>
                <a:gdLst>
                  <a:gd name="T0" fmla="*/ 1083 w 1083"/>
                  <a:gd name="T1" fmla="*/ 542 h 1084"/>
                  <a:gd name="T2" fmla="*/ 158 w 1083"/>
                  <a:gd name="T3" fmla="*/ 926 h 1084"/>
                  <a:gd name="T4" fmla="*/ 542 w 1083"/>
                  <a:gd name="T5" fmla="*/ 0 h 1084"/>
                  <a:gd name="T6" fmla="*/ 517 w 1083"/>
                  <a:gd name="T7" fmla="*/ 1000 h 1084"/>
                  <a:gd name="T8" fmla="*/ 357 w 1083"/>
                  <a:gd name="T9" fmla="*/ 861 h 1084"/>
                  <a:gd name="T10" fmla="*/ 517 w 1083"/>
                  <a:gd name="T11" fmla="*/ 1000 h 1084"/>
                  <a:gd name="T12" fmla="*/ 866 w 1083"/>
                  <a:gd name="T13" fmla="*/ 218 h 1084"/>
                  <a:gd name="T14" fmla="*/ 842 w 1083"/>
                  <a:gd name="T15" fmla="*/ 517 h 1084"/>
                  <a:gd name="T16" fmla="*/ 866 w 1083"/>
                  <a:gd name="T17" fmla="*/ 218 h 1084"/>
                  <a:gd name="T18" fmla="*/ 722 w 1083"/>
                  <a:gd name="T19" fmla="*/ 120 h 1084"/>
                  <a:gd name="T20" fmla="*/ 815 w 1083"/>
                  <a:gd name="T21" fmla="*/ 174 h 1084"/>
                  <a:gd name="T22" fmla="*/ 617 w 1083"/>
                  <a:gd name="T23" fmla="*/ 90 h 1084"/>
                  <a:gd name="T24" fmla="*/ 707 w 1083"/>
                  <a:gd name="T25" fmla="*/ 231 h 1084"/>
                  <a:gd name="T26" fmla="*/ 617 w 1083"/>
                  <a:gd name="T27" fmla="*/ 90 h 1084"/>
                  <a:gd name="T28" fmla="*/ 517 w 1083"/>
                  <a:gd name="T29" fmla="*/ 84 h 1084"/>
                  <a:gd name="T30" fmla="*/ 357 w 1083"/>
                  <a:gd name="T31" fmla="*/ 224 h 1084"/>
                  <a:gd name="T32" fmla="*/ 517 w 1083"/>
                  <a:gd name="T33" fmla="*/ 84 h 1084"/>
                  <a:gd name="T34" fmla="*/ 362 w 1083"/>
                  <a:gd name="T35" fmla="*/ 120 h 1084"/>
                  <a:gd name="T36" fmla="*/ 325 w 1083"/>
                  <a:gd name="T37" fmla="*/ 177 h 1084"/>
                  <a:gd name="T38" fmla="*/ 229 w 1083"/>
                  <a:gd name="T39" fmla="*/ 207 h 1084"/>
                  <a:gd name="T40" fmla="*/ 84 w 1083"/>
                  <a:gd name="T41" fmla="*/ 517 h 1084"/>
                  <a:gd name="T42" fmla="*/ 229 w 1083"/>
                  <a:gd name="T43" fmla="*/ 207 h 1084"/>
                  <a:gd name="T44" fmla="*/ 84 w 1083"/>
                  <a:gd name="T45" fmla="*/ 567 h 1084"/>
                  <a:gd name="T46" fmla="*/ 292 w 1083"/>
                  <a:gd name="T47" fmla="*/ 837 h 1084"/>
                  <a:gd name="T48" fmla="*/ 84 w 1083"/>
                  <a:gd name="T49" fmla="*/ 567 h 1084"/>
                  <a:gd name="T50" fmla="*/ 362 w 1083"/>
                  <a:gd name="T51" fmla="*/ 964 h 1084"/>
                  <a:gd name="T52" fmla="*/ 268 w 1083"/>
                  <a:gd name="T53" fmla="*/ 911 h 1084"/>
                  <a:gd name="T54" fmla="*/ 567 w 1083"/>
                  <a:gd name="T55" fmla="*/ 1000 h 1084"/>
                  <a:gd name="T56" fmla="*/ 726 w 1083"/>
                  <a:gd name="T57" fmla="*/ 861 h 1084"/>
                  <a:gd name="T58" fmla="*/ 566 w 1083"/>
                  <a:gd name="T59" fmla="*/ 1000 h 1084"/>
                  <a:gd name="T60" fmla="*/ 722 w 1083"/>
                  <a:gd name="T61" fmla="*/ 964 h 1084"/>
                  <a:gd name="T62" fmla="*/ 758 w 1083"/>
                  <a:gd name="T63" fmla="*/ 908 h 1084"/>
                  <a:gd name="T64" fmla="*/ 855 w 1083"/>
                  <a:gd name="T65" fmla="*/ 878 h 1084"/>
                  <a:gd name="T66" fmla="*/ 1000 w 1083"/>
                  <a:gd name="T67" fmla="*/ 567 h 1084"/>
                  <a:gd name="T68" fmla="*/ 855 w 1083"/>
                  <a:gd name="T69" fmla="*/ 878 h 1084"/>
                  <a:gd name="T70" fmla="*/ 746 w 1083"/>
                  <a:gd name="T71" fmla="*/ 269 h 1084"/>
                  <a:gd name="T72" fmla="*/ 567 w 1083"/>
                  <a:gd name="T73" fmla="*/ 517 h 1084"/>
                  <a:gd name="T74" fmla="*/ 746 w 1083"/>
                  <a:gd name="T75" fmla="*/ 269 h 1084"/>
                  <a:gd name="T76" fmla="*/ 358 w 1083"/>
                  <a:gd name="T77" fmla="*/ 278 h 1084"/>
                  <a:gd name="T78" fmla="*/ 517 w 1083"/>
                  <a:gd name="T79" fmla="*/ 517 h 1084"/>
                  <a:gd name="T80" fmla="*/ 517 w 1083"/>
                  <a:gd name="T81" fmla="*/ 775 h 1084"/>
                  <a:gd name="T82" fmla="*/ 292 w 1083"/>
                  <a:gd name="T83" fmla="*/ 567 h 1084"/>
                  <a:gd name="T84" fmla="*/ 517 w 1083"/>
                  <a:gd name="T85" fmla="*/ 775 h 1084"/>
                  <a:gd name="T86" fmla="*/ 567 w 1083"/>
                  <a:gd name="T87" fmla="*/ 775 h 1084"/>
                  <a:gd name="T88" fmla="*/ 792 w 1083"/>
                  <a:gd name="T89" fmla="*/ 567 h 1084"/>
                  <a:gd name="T90" fmla="*/ 567 w 1083"/>
                  <a:gd name="T91" fmla="*/ 775 h 10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83" h="1084">
                    <a:moveTo>
                      <a:pt x="542" y="0"/>
                    </a:moveTo>
                    <a:cubicBezTo>
                      <a:pt x="691" y="0"/>
                      <a:pt x="827" y="61"/>
                      <a:pt x="925" y="159"/>
                    </a:cubicBezTo>
                    <a:cubicBezTo>
                      <a:pt x="1023" y="258"/>
                      <a:pt x="1083" y="393"/>
                      <a:pt x="1083" y="542"/>
                    </a:cubicBezTo>
                    <a:cubicBezTo>
                      <a:pt x="1083" y="692"/>
                      <a:pt x="1023" y="827"/>
                      <a:pt x="925" y="926"/>
                    </a:cubicBezTo>
                    <a:cubicBezTo>
                      <a:pt x="827" y="1024"/>
                      <a:pt x="691" y="1084"/>
                      <a:pt x="542" y="1084"/>
                    </a:cubicBezTo>
                    <a:cubicBezTo>
                      <a:pt x="392" y="1084"/>
                      <a:pt x="257" y="1024"/>
                      <a:pt x="158" y="926"/>
                    </a:cubicBezTo>
                    <a:cubicBezTo>
                      <a:pt x="60" y="827"/>
                      <a:pt x="0" y="692"/>
                      <a:pt x="0" y="542"/>
                    </a:cubicBezTo>
                    <a:cubicBezTo>
                      <a:pt x="0" y="393"/>
                      <a:pt x="60" y="258"/>
                      <a:pt x="158" y="159"/>
                    </a:cubicBezTo>
                    <a:cubicBezTo>
                      <a:pt x="257" y="61"/>
                      <a:pt x="392" y="0"/>
                      <a:pt x="542" y="0"/>
                    </a:cubicBezTo>
                    <a:cubicBezTo>
                      <a:pt x="542" y="0"/>
                      <a:pt x="542" y="0"/>
                      <a:pt x="542" y="0"/>
                    </a:cubicBezTo>
                    <a:close/>
                    <a:moveTo>
                      <a:pt x="517" y="1000"/>
                    </a:moveTo>
                    <a:cubicBezTo>
                      <a:pt x="517" y="1000"/>
                      <a:pt x="517" y="1000"/>
                      <a:pt x="517" y="1000"/>
                    </a:cubicBezTo>
                    <a:cubicBezTo>
                      <a:pt x="517" y="825"/>
                      <a:pt x="517" y="825"/>
                      <a:pt x="517" y="825"/>
                    </a:cubicBezTo>
                    <a:cubicBezTo>
                      <a:pt x="468" y="827"/>
                      <a:pt x="420" y="837"/>
                      <a:pt x="376" y="854"/>
                    </a:cubicBezTo>
                    <a:cubicBezTo>
                      <a:pt x="370" y="856"/>
                      <a:pt x="363" y="859"/>
                      <a:pt x="357" y="861"/>
                    </a:cubicBezTo>
                    <a:cubicBezTo>
                      <a:pt x="361" y="869"/>
                      <a:pt x="365" y="877"/>
                      <a:pt x="369" y="884"/>
                    </a:cubicBezTo>
                    <a:cubicBezTo>
                      <a:pt x="396" y="934"/>
                      <a:pt x="430" y="972"/>
                      <a:pt x="466" y="995"/>
                    </a:cubicBezTo>
                    <a:cubicBezTo>
                      <a:pt x="483" y="998"/>
                      <a:pt x="500" y="1000"/>
                      <a:pt x="517" y="1000"/>
                    </a:cubicBezTo>
                    <a:cubicBezTo>
                      <a:pt x="517" y="1000"/>
                      <a:pt x="517" y="1000"/>
                      <a:pt x="517" y="1000"/>
                    </a:cubicBezTo>
                    <a:close/>
                    <a:moveTo>
                      <a:pt x="866" y="218"/>
                    </a:moveTo>
                    <a:cubicBezTo>
                      <a:pt x="866" y="218"/>
                      <a:pt x="866" y="218"/>
                      <a:pt x="866" y="218"/>
                    </a:cubicBezTo>
                    <a:cubicBezTo>
                      <a:pt x="862" y="214"/>
                      <a:pt x="858" y="211"/>
                      <a:pt x="855" y="207"/>
                    </a:cubicBezTo>
                    <a:cubicBezTo>
                      <a:pt x="835" y="223"/>
                      <a:pt x="813" y="236"/>
                      <a:pt x="791" y="248"/>
                    </a:cubicBezTo>
                    <a:cubicBezTo>
                      <a:pt x="820" y="325"/>
                      <a:pt x="839" y="418"/>
                      <a:pt x="842" y="517"/>
                    </a:cubicBezTo>
                    <a:cubicBezTo>
                      <a:pt x="1000" y="517"/>
                      <a:pt x="1000" y="517"/>
                      <a:pt x="1000" y="517"/>
                    </a:cubicBezTo>
                    <a:cubicBezTo>
                      <a:pt x="993" y="401"/>
                      <a:pt x="943" y="296"/>
                      <a:pt x="866" y="218"/>
                    </a:cubicBezTo>
                    <a:cubicBezTo>
                      <a:pt x="866" y="218"/>
                      <a:pt x="866" y="218"/>
                      <a:pt x="866" y="218"/>
                    </a:cubicBezTo>
                    <a:close/>
                    <a:moveTo>
                      <a:pt x="815" y="174"/>
                    </a:moveTo>
                    <a:cubicBezTo>
                      <a:pt x="815" y="174"/>
                      <a:pt x="815" y="174"/>
                      <a:pt x="815" y="174"/>
                    </a:cubicBezTo>
                    <a:cubicBezTo>
                      <a:pt x="787" y="153"/>
                      <a:pt x="755" y="135"/>
                      <a:pt x="722" y="120"/>
                    </a:cubicBezTo>
                    <a:cubicBezTo>
                      <a:pt x="735" y="138"/>
                      <a:pt x="747" y="156"/>
                      <a:pt x="758" y="177"/>
                    </a:cubicBezTo>
                    <a:cubicBezTo>
                      <a:pt x="763" y="185"/>
                      <a:pt x="767" y="193"/>
                      <a:pt x="771" y="202"/>
                    </a:cubicBezTo>
                    <a:cubicBezTo>
                      <a:pt x="787" y="194"/>
                      <a:pt x="801" y="184"/>
                      <a:pt x="815" y="174"/>
                    </a:cubicBezTo>
                    <a:cubicBezTo>
                      <a:pt x="815" y="174"/>
                      <a:pt x="815" y="174"/>
                      <a:pt x="815" y="174"/>
                    </a:cubicBezTo>
                    <a:close/>
                    <a:moveTo>
                      <a:pt x="617" y="90"/>
                    </a:moveTo>
                    <a:cubicBezTo>
                      <a:pt x="617" y="90"/>
                      <a:pt x="617" y="90"/>
                      <a:pt x="617" y="90"/>
                    </a:cubicBezTo>
                    <a:cubicBezTo>
                      <a:pt x="601" y="87"/>
                      <a:pt x="584" y="85"/>
                      <a:pt x="567" y="84"/>
                    </a:cubicBezTo>
                    <a:cubicBezTo>
                      <a:pt x="567" y="260"/>
                      <a:pt x="567" y="260"/>
                      <a:pt x="567" y="260"/>
                    </a:cubicBezTo>
                    <a:cubicBezTo>
                      <a:pt x="616" y="258"/>
                      <a:pt x="664" y="247"/>
                      <a:pt x="707" y="231"/>
                    </a:cubicBezTo>
                    <a:cubicBezTo>
                      <a:pt x="714" y="229"/>
                      <a:pt x="720" y="226"/>
                      <a:pt x="726" y="224"/>
                    </a:cubicBezTo>
                    <a:cubicBezTo>
                      <a:pt x="723" y="216"/>
                      <a:pt x="719" y="208"/>
                      <a:pt x="714" y="201"/>
                    </a:cubicBezTo>
                    <a:cubicBezTo>
                      <a:pt x="687" y="151"/>
                      <a:pt x="654" y="112"/>
                      <a:pt x="617" y="90"/>
                    </a:cubicBezTo>
                    <a:cubicBezTo>
                      <a:pt x="617" y="90"/>
                      <a:pt x="617" y="90"/>
                      <a:pt x="617" y="90"/>
                    </a:cubicBezTo>
                    <a:close/>
                    <a:moveTo>
                      <a:pt x="517" y="84"/>
                    </a:moveTo>
                    <a:cubicBezTo>
                      <a:pt x="517" y="84"/>
                      <a:pt x="517" y="84"/>
                      <a:pt x="517" y="84"/>
                    </a:cubicBezTo>
                    <a:cubicBezTo>
                      <a:pt x="500" y="85"/>
                      <a:pt x="483" y="88"/>
                      <a:pt x="466" y="90"/>
                    </a:cubicBezTo>
                    <a:cubicBezTo>
                      <a:pt x="430" y="112"/>
                      <a:pt x="396" y="151"/>
                      <a:pt x="369" y="201"/>
                    </a:cubicBezTo>
                    <a:cubicBezTo>
                      <a:pt x="365" y="208"/>
                      <a:pt x="361" y="216"/>
                      <a:pt x="357" y="224"/>
                    </a:cubicBezTo>
                    <a:cubicBezTo>
                      <a:pt x="363" y="226"/>
                      <a:pt x="370" y="229"/>
                      <a:pt x="376" y="231"/>
                    </a:cubicBezTo>
                    <a:cubicBezTo>
                      <a:pt x="420" y="247"/>
                      <a:pt x="467" y="258"/>
                      <a:pt x="517" y="260"/>
                    </a:cubicBezTo>
                    <a:cubicBezTo>
                      <a:pt x="517" y="84"/>
                      <a:pt x="517" y="84"/>
                      <a:pt x="517" y="84"/>
                    </a:cubicBezTo>
                    <a:cubicBezTo>
                      <a:pt x="517" y="84"/>
                      <a:pt x="517" y="84"/>
                      <a:pt x="517" y="84"/>
                    </a:cubicBezTo>
                    <a:close/>
                    <a:moveTo>
                      <a:pt x="362" y="120"/>
                    </a:moveTo>
                    <a:cubicBezTo>
                      <a:pt x="362" y="120"/>
                      <a:pt x="362" y="120"/>
                      <a:pt x="362" y="120"/>
                    </a:cubicBezTo>
                    <a:cubicBezTo>
                      <a:pt x="328" y="135"/>
                      <a:pt x="297" y="153"/>
                      <a:pt x="268" y="174"/>
                    </a:cubicBezTo>
                    <a:cubicBezTo>
                      <a:pt x="283" y="184"/>
                      <a:pt x="297" y="194"/>
                      <a:pt x="312" y="202"/>
                    </a:cubicBezTo>
                    <a:cubicBezTo>
                      <a:pt x="316" y="193"/>
                      <a:pt x="320" y="185"/>
                      <a:pt x="325" y="177"/>
                    </a:cubicBezTo>
                    <a:cubicBezTo>
                      <a:pt x="336" y="156"/>
                      <a:pt x="349" y="138"/>
                      <a:pt x="362" y="120"/>
                    </a:cubicBezTo>
                    <a:cubicBezTo>
                      <a:pt x="362" y="120"/>
                      <a:pt x="362" y="120"/>
                      <a:pt x="362" y="120"/>
                    </a:cubicBezTo>
                    <a:close/>
                    <a:moveTo>
                      <a:pt x="229" y="207"/>
                    </a:moveTo>
                    <a:cubicBezTo>
                      <a:pt x="229" y="207"/>
                      <a:pt x="229" y="207"/>
                      <a:pt x="229" y="207"/>
                    </a:cubicBezTo>
                    <a:cubicBezTo>
                      <a:pt x="225" y="211"/>
                      <a:pt x="221" y="214"/>
                      <a:pt x="218" y="218"/>
                    </a:cubicBezTo>
                    <a:cubicBezTo>
                      <a:pt x="140" y="296"/>
                      <a:pt x="90" y="401"/>
                      <a:pt x="84" y="517"/>
                    </a:cubicBezTo>
                    <a:cubicBezTo>
                      <a:pt x="242" y="517"/>
                      <a:pt x="242" y="517"/>
                      <a:pt x="242" y="517"/>
                    </a:cubicBezTo>
                    <a:cubicBezTo>
                      <a:pt x="245" y="418"/>
                      <a:pt x="263" y="325"/>
                      <a:pt x="292" y="248"/>
                    </a:cubicBezTo>
                    <a:cubicBezTo>
                      <a:pt x="270" y="236"/>
                      <a:pt x="249" y="223"/>
                      <a:pt x="229" y="207"/>
                    </a:cubicBezTo>
                    <a:cubicBezTo>
                      <a:pt x="229" y="207"/>
                      <a:pt x="229" y="207"/>
                      <a:pt x="229" y="207"/>
                    </a:cubicBezTo>
                    <a:close/>
                    <a:moveTo>
                      <a:pt x="84" y="567"/>
                    </a:moveTo>
                    <a:cubicBezTo>
                      <a:pt x="84" y="567"/>
                      <a:pt x="84" y="567"/>
                      <a:pt x="84" y="567"/>
                    </a:cubicBezTo>
                    <a:cubicBezTo>
                      <a:pt x="90" y="684"/>
                      <a:pt x="140" y="789"/>
                      <a:pt x="218" y="867"/>
                    </a:cubicBezTo>
                    <a:cubicBezTo>
                      <a:pt x="229" y="878"/>
                      <a:pt x="229" y="878"/>
                      <a:pt x="229" y="878"/>
                    </a:cubicBezTo>
                    <a:cubicBezTo>
                      <a:pt x="249" y="863"/>
                      <a:pt x="270" y="849"/>
                      <a:pt x="292" y="837"/>
                    </a:cubicBezTo>
                    <a:cubicBezTo>
                      <a:pt x="263" y="760"/>
                      <a:pt x="245" y="667"/>
                      <a:pt x="242" y="567"/>
                    </a:cubicBezTo>
                    <a:cubicBezTo>
                      <a:pt x="84" y="567"/>
                      <a:pt x="84" y="567"/>
                      <a:pt x="84" y="567"/>
                    </a:cubicBezTo>
                    <a:cubicBezTo>
                      <a:pt x="84" y="567"/>
                      <a:pt x="84" y="567"/>
                      <a:pt x="84" y="567"/>
                    </a:cubicBezTo>
                    <a:close/>
                    <a:moveTo>
                      <a:pt x="268" y="911"/>
                    </a:moveTo>
                    <a:cubicBezTo>
                      <a:pt x="268" y="911"/>
                      <a:pt x="268" y="911"/>
                      <a:pt x="268" y="911"/>
                    </a:cubicBezTo>
                    <a:cubicBezTo>
                      <a:pt x="297" y="932"/>
                      <a:pt x="328" y="950"/>
                      <a:pt x="362" y="964"/>
                    </a:cubicBezTo>
                    <a:cubicBezTo>
                      <a:pt x="349" y="948"/>
                      <a:pt x="336" y="929"/>
                      <a:pt x="325" y="908"/>
                    </a:cubicBezTo>
                    <a:cubicBezTo>
                      <a:pt x="320" y="900"/>
                      <a:pt x="316" y="892"/>
                      <a:pt x="312" y="883"/>
                    </a:cubicBezTo>
                    <a:cubicBezTo>
                      <a:pt x="297" y="891"/>
                      <a:pt x="283" y="900"/>
                      <a:pt x="268" y="911"/>
                    </a:cubicBezTo>
                    <a:cubicBezTo>
                      <a:pt x="268" y="911"/>
                      <a:pt x="268" y="911"/>
                      <a:pt x="268" y="911"/>
                    </a:cubicBezTo>
                    <a:close/>
                    <a:moveTo>
                      <a:pt x="567" y="1000"/>
                    </a:moveTo>
                    <a:cubicBezTo>
                      <a:pt x="567" y="1000"/>
                      <a:pt x="567" y="1000"/>
                      <a:pt x="567" y="1000"/>
                    </a:cubicBezTo>
                    <a:cubicBezTo>
                      <a:pt x="584" y="1000"/>
                      <a:pt x="601" y="998"/>
                      <a:pt x="617" y="995"/>
                    </a:cubicBezTo>
                    <a:cubicBezTo>
                      <a:pt x="654" y="972"/>
                      <a:pt x="687" y="934"/>
                      <a:pt x="714" y="884"/>
                    </a:cubicBezTo>
                    <a:cubicBezTo>
                      <a:pt x="719" y="877"/>
                      <a:pt x="723" y="869"/>
                      <a:pt x="726" y="861"/>
                    </a:cubicBezTo>
                    <a:cubicBezTo>
                      <a:pt x="720" y="859"/>
                      <a:pt x="714" y="856"/>
                      <a:pt x="707" y="854"/>
                    </a:cubicBezTo>
                    <a:cubicBezTo>
                      <a:pt x="664" y="837"/>
                      <a:pt x="616" y="828"/>
                      <a:pt x="566" y="825"/>
                    </a:cubicBezTo>
                    <a:cubicBezTo>
                      <a:pt x="566" y="1000"/>
                      <a:pt x="566" y="1000"/>
                      <a:pt x="566" y="1000"/>
                    </a:cubicBezTo>
                    <a:cubicBezTo>
                      <a:pt x="567" y="1000"/>
                      <a:pt x="567" y="1000"/>
                      <a:pt x="567" y="1000"/>
                    </a:cubicBezTo>
                    <a:close/>
                    <a:moveTo>
                      <a:pt x="722" y="964"/>
                    </a:moveTo>
                    <a:cubicBezTo>
                      <a:pt x="722" y="964"/>
                      <a:pt x="722" y="964"/>
                      <a:pt x="722" y="964"/>
                    </a:cubicBezTo>
                    <a:cubicBezTo>
                      <a:pt x="755" y="950"/>
                      <a:pt x="787" y="932"/>
                      <a:pt x="815" y="911"/>
                    </a:cubicBezTo>
                    <a:cubicBezTo>
                      <a:pt x="801" y="900"/>
                      <a:pt x="787" y="891"/>
                      <a:pt x="771" y="883"/>
                    </a:cubicBezTo>
                    <a:cubicBezTo>
                      <a:pt x="767" y="892"/>
                      <a:pt x="763" y="900"/>
                      <a:pt x="758" y="908"/>
                    </a:cubicBezTo>
                    <a:cubicBezTo>
                      <a:pt x="747" y="929"/>
                      <a:pt x="735" y="948"/>
                      <a:pt x="722" y="964"/>
                    </a:cubicBezTo>
                    <a:cubicBezTo>
                      <a:pt x="722" y="964"/>
                      <a:pt x="722" y="964"/>
                      <a:pt x="722" y="964"/>
                    </a:cubicBezTo>
                    <a:close/>
                    <a:moveTo>
                      <a:pt x="855" y="878"/>
                    </a:moveTo>
                    <a:cubicBezTo>
                      <a:pt x="855" y="878"/>
                      <a:pt x="855" y="878"/>
                      <a:pt x="855" y="878"/>
                    </a:cubicBezTo>
                    <a:cubicBezTo>
                      <a:pt x="866" y="867"/>
                      <a:pt x="866" y="867"/>
                      <a:pt x="866" y="867"/>
                    </a:cubicBezTo>
                    <a:cubicBezTo>
                      <a:pt x="943" y="789"/>
                      <a:pt x="993" y="684"/>
                      <a:pt x="1000" y="567"/>
                    </a:cubicBezTo>
                    <a:cubicBezTo>
                      <a:pt x="842" y="567"/>
                      <a:pt x="842" y="567"/>
                      <a:pt x="842" y="567"/>
                    </a:cubicBezTo>
                    <a:cubicBezTo>
                      <a:pt x="839" y="667"/>
                      <a:pt x="820" y="760"/>
                      <a:pt x="791" y="837"/>
                    </a:cubicBezTo>
                    <a:cubicBezTo>
                      <a:pt x="813" y="849"/>
                      <a:pt x="835" y="863"/>
                      <a:pt x="855" y="878"/>
                    </a:cubicBezTo>
                    <a:cubicBezTo>
                      <a:pt x="855" y="878"/>
                      <a:pt x="855" y="878"/>
                      <a:pt x="855" y="878"/>
                    </a:cubicBezTo>
                    <a:close/>
                    <a:moveTo>
                      <a:pt x="746" y="269"/>
                    </a:moveTo>
                    <a:cubicBezTo>
                      <a:pt x="746" y="269"/>
                      <a:pt x="746" y="269"/>
                      <a:pt x="746" y="269"/>
                    </a:cubicBezTo>
                    <a:cubicBezTo>
                      <a:pt x="739" y="272"/>
                      <a:pt x="732" y="275"/>
                      <a:pt x="725" y="278"/>
                    </a:cubicBezTo>
                    <a:cubicBezTo>
                      <a:pt x="675" y="296"/>
                      <a:pt x="622" y="308"/>
                      <a:pt x="567" y="310"/>
                    </a:cubicBezTo>
                    <a:cubicBezTo>
                      <a:pt x="567" y="517"/>
                      <a:pt x="567" y="517"/>
                      <a:pt x="567" y="517"/>
                    </a:cubicBezTo>
                    <a:cubicBezTo>
                      <a:pt x="792" y="517"/>
                      <a:pt x="792" y="517"/>
                      <a:pt x="792" y="517"/>
                    </a:cubicBezTo>
                    <a:cubicBezTo>
                      <a:pt x="789" y="425"/>
                      <a:pt x="772" y="340"/>
                      <a:pt x="746" y="269"/>
                    </a:cubicBezTo>
                    <a:cubicBezTo>
                      <a:pt x="746" y="269"/>
                      <a:pt x="746" y="269"/>
                      <a:pt x="746" y="269"/>
                    </a:cubicBezTo>
                    <a:close/>
                    <a:moveTo>
                      <a:pt x="517" y="310"/>
                    </a:moveTo>
                    <a:cubicBezTo>
                      <a:pt x="517" y="310"/>
                      <a:pt x="517" y="310"/>
                      <a:pt x="517" y="310"/>
                    </a:cubicBezTo>
                    <a:cubicBezTo>
                      <a:pt x="462" y="308"/>
                      <a:pt x="409" y="296"/>
                      <a:pt x="358" y="278"/>
                    </a:cubicBezTo>
                    <a:cubicBezTo>
                      <a:pt x="352" y="275"/>
                      <a:pt x="345" y="272"/>
                      <a:pt x="338" y="269"/>
                    </a:cubicBezTo>
                    <a:cubicBezTo>
                      <a:pt x="311" y="340"/>
                      <a:pt x="294" y="425"/>
                      <a:pt x="292" y="517"/>
                    </a:cubicBezTo>
                    <a:cubicBezTo>
                      <a:pt x="517" y="517"/>
                      <a:pt x="517" y="517"/>
                      <a:pt x="517" y="517"/>
                    </a:cubicBezTo>
                    <a:cubicBezTo>
                      <a:pt x="517" y="310"/>
                      <a:pt x="517" y="310"/>
                      <a:pt x="517" y="310"/>
                    </a:cubicBezTo>
                    <a:cubicBezTo>
                      <a:pt x="517" y="310"/>
                      <a:pt x="517" y="310"/>
                      <a:pt x="517" y="310"/>
                    </a:cubicBezTo>
                    <a:close/>
                    <a:moveTo>
                      <a:pt x="517" y="775"/>
                    </a:moveTo>
                    <a:cubicBezTo>
                      <a:pt x="517" y="775"/>
                      <a:pt x="517" y="775"/>
                      <a:pt x="517" y="775"/>
                    </a:cubicBezTo>
                    <a:cubicBezTo>
                      <a:pt x="517" y="567"/>
                      <a:pt x="517" y="567"/>
                      <a:pt x="517" y="567"/>
                    </a:cubicBezTo>
                    <a:cubicBezTo>
                      <a:pt x="292" y="567"/>
                      <a:pt x="292" y="567"/>
                      <a:pt x="292" y="567"/>
                    </a:cubicBezTo>
                    <a:cubicBezTo>
                      <a:pt x="294" y="659"/>
                      <a:pt x="311" y="744"/>
                      <a:pt x="338" y="815"/>
                    </a:cubicBezTo>
                    <a:cubicBezTo>
                      <a:pt x="345" y="813"/>
                      <a:pt x="352" y="810"/>
                      <a:pt x="359" y="807"/>
                    </a:cubicBezTo>
                    <a:cubicBezTo>
                      <a:pt x="409" y="789"/>
                      <a:pt x="462" y="777"/>
                      <a:pt x="517" y="775"/>
                    </a:cubicBezTo>
                    <a:cubicBezTo>
                      <a:pt x="517" y="775"/>
                      <a:pt x="517" y="775"/>
                      <a:pt x="517" y="775"/>
                    </a:cubicBezTo>
                    <a:close/>
                    <a:moveTo>
                      <a:pt x="567" y="775"/>
                    </a:moveTo>
                    <a:cubicBezTo>
                      <a:pt x="567" y="775"/>
                      <a:pt x="567" y="775"/>
                      <a:pt x="567" y="775"/>
                    </a:cubicBezTo>
                    <a:cubicBezTo>
                      <a:pt x="622" y="778"/>
                      <a:pt x="675" y="789"/>
                      <a:pt x="725" y="807"/>
                    </a:cubicBezTo>
                    <a:cubicBezTo>
                      <a:pt x="732" y="810"/>
                      <a:pt x="739" y="813"/>
                      <a:pt x="746" y="815"/>
                    </a:cubicBezTo>
                    <a:cubicBezTo>
                      <a:pt x="772" y="744"/>
                      <a:pt x="789" y="659"/>
                      <a:pt x="792" y="567"/>
                    </a:cubicBezTo>
                    <a:cubicBezTo>
                      <a:pt x="567" y="567"/>
                      <a:pt x="567" y="567"/>
                      <a:pt x="567" y="567"/>
                    </a:cubicBezTo>
                    <a:cubicBezTo>
                      <a:pt x="567" y="775"/>
                      <a:pt x="567" y="775"/>
                      <a:pt x="567" y="775"/>
                    </a:cubicBezTo>
                    <a:cubicBezTo>
                      <a:pt x="567" y="775"/>
                      <a:pt x="567" y="775"/>
                      <a:pt x="567" y="775"/>
                    </a:cubicBezTo>
                    <a:close/>
                  </a:path>
                </a:pathLst>
              </a:custGeom>
              <a:solidFill>
                <a:schemeClr val="accent1"/>
              </a:solidFill>
              <a:ln>
                <a:noFill/>
              </a:ln>
            </p:spPr>
            <p:txBody>
              <a:bodyPr anchor="ctr"/>
              <a:lstStyle/>
              <a:p>
                <a:pPr algn="ctr"/>
                <a:endParaRPr/>
              </a:p>
            </p:txBody>
          </p:sp>
        </p:grpSp>
        <p:grpSp>
          <p:nvGrpSpPr>
            <p:cNvPr id="16" name="îŝļide">
              <a:extLst>
                <a:ext uri="{FF2B5EF4-FFF2-40B4-BE49-F238E27FC236}">
                  <a16:creationId xmlns:a16="http://schemas.microsoft.com/office/drawing/2014/main" id="{E8F4C673-4010-4D07-AA82-7A9939949550}"/>
                </a:ext>
              </a:extLst>
            </p:cNvPr>
            <p:cNvGrpSpPr/>
            <p:nvPr/>
          </p:nvGrpSpPr>
          <p:grpSpPr>
            <a:xfrm>
              <a:off x="4883520" y="5049232"/>
              <a:ext cx="2428318" cy="1094393"/>
              <a:chOff x="673101" y="1535685"/>
              <a:chExt cx="2098380" cy="1094393"/>
            </a:xfrm>
          </p:grpSpPr>
          <p:sp>
            <p:nvSpPr>
              <p:cNvPr id="23" name="ïṡ1ïḋe">
                <a:extLst>
                  <a:ext uri="{FF2B5EF4-FFF2-40B4-BE49-F238E27FC236}">
                    <a16:creationId xmlns:a16="http://schemas.microsoft.com/office/drawing/2014/main" id="{F0863AB1-AEBA-478A-A9E6-39020734A820}"/>
                  </a:ext>
                </a:extLst>
              </p:cNvPr>
              <p:cNvSpPr txBox="1"/>
              <p:nvPr/>
            </p:nvSpPr>
            <p:spPr>
              <a:xfrm>
                <a:off x="673101" y="1535685"/>
                <a:ext cx="2098380" cy="483522"/>
              </a:xfrm>
              <a:prstGeom prst="rect">
                <a:avLst/>
              </a:prstGeom>
              <a:noFill/>
            </p:spPr>
            <p:txBody>
              <a:bodyPr wrap="none" rtlCol="0" anchor="b">
                <a:normAutofit/>
              </a:bodyPr>
              <a:lstStyle/>
              <a:p>
                <a:pPr lvl="0" algn="ctr" defTabSz="914378">
                  <a:spcBef>
                    <a:spcPct val="0"/>
                  </a:spcBef>
                  <a:defRPr/>
                </a:pPr>
                <a:r>
                  <a:rPr lang="en-US" altLang="zh-CN" b="1"/>
                  <a:t>Te</a:t>
                </a:r>
                <a:r>
                  <a:rPr lang="en-US" altLang="zh-CN" sz="100" b="1"/>
                  <a:t> </a:t>
                </a:r>
                <a:r>
                  <a:rPr lang="en-US" altLang="zh-CN" b="1"/>
                  <a:t>xt here</a:t>
                </a:r>
                <a:endParaRPr lang="zh-CN" altLang="en-US" b="1" dirty="0"/>
              </a:p>
            </p:txBody>
          </p:sp>
          <p:sp>
            <p:nvSpPr>
              <p:cNvPr id="24" name="îṡḻiḋê">
                <a:extLst>
                  <a:ext uri="{FF2B5EF4-FFF2-40B4-BE49-F238E27FC236}">
                    <a16:creationId xmlns:a16="http://schemas.microsoft.com/office/drawing/2014/main" id="{4F8452E0-3848-4F46-8A94-EFC6BC719DDC}"/>
                  </a:ext>
                </a:extLst>
              </p:cNvPr>
              <p:cNvSpPr/>
              <p:nvPr/>
            </p:nvSpPr>
            <p:spPr bwMode="auto">
              <a:xfrm>
                <a:off x="673101" y="2019207"/>
                <a:ext cx="2098380" cy="610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lnSpc>
                    <a:spcPct val="130000"/>
                  </a:lnSpc>
                </a:pPr>
                <a:r>
                  <a:rPr lang="en-US" altLang="zh-CN" sz="1100"/>
                  <a:t>Suppo</a:t>
                </a:r>
                <a:r>
                  <a:rPr lang="en-US" altLang="zh-CN" sz="100"/>
                  <a:t> </a:t>
                </a:r>
                <a:r>
                  <a:rPr lang="en-US" altLang="zh-CN" sz="1100"/>
                  <a:t>rting text here.</a:t>
                </a:r>
              </a:p>
              <a:p>
                <a:pPr algn="ctr">
                  <a:lnSpc>
                    <a:spcPct val="130000"/>
                  </a:lnSpc>
                </a:pPr>
                <a:r>
                  <a:rPr lang="en-US" altLang="zh-CN" sz="1100"/>
                  <a:t>…… </a:t>
                </a:r>
                <a:endParaRPr lang="en-US" altLang="zh-CN" sz="1100" dirty="0"/>
              </a:p>
            </p:txBody>
          </p:sp>
        </p:grpSp>
        <p:grpSp>
          <p:nvGrpSpPr>
            <p:cNvPr id="17" name="îśļïḍe">
              <a:extLst>
                <a:ext uri="{FF2B5EF4-FFF2-40B4-BE49-F238E27FC236}">
                  <a16:creationId xmlns:a16="http://schemas.microsoft.com/office/drawing/2014/main" id="{BE543EF0-6D22-4AF8-8941-7C20E1E0D421}"/>
                </a:ext>
              </a:extLst>
            </p:cNvPr>
            <p:cNvGrpSpPr/>
            <p:nvPr/>
          </p:nvGrpSpPr>
          <p:grpSpPr>
            <a:xfrm>
              <a:off x="1911720" y="2099523"/>
              <a:ext cx="2428318" cy="1094393"/>
              <a:chOff x="673101" y="1535685"/>
              <a:chExt cx="2098380" cy="1094393"/>
            </a:xfrm>
          </p:grpSpPr>
          <p:sp>
            <p:nvSpPr>
              <p:cNvPr id="21" name="íŝliḍé">
                <a:extLst>
                  <a:ext uri="{FF2B5EF4-FFF2-40B4-BE49-F238E27FC236}">
                    <a16:creationId xmlns:a16="http://schemas.microsoft.com/office/drawing/2014/main" id="{F5639F35-9388-499C-BCEF-4140E398B4D5}"/>
                  </a:ext>
                </a:extLst>
              </p:cNvPr>
              <p:cNvSpPr txBox="1"/>
              <p:nvPr/>
            </p:nvSpPr>
            <p:spPr>
              <a:xfrm>
                <a:off x="673101" y="1535685"/>
                <a:ext cx="2098380" cy="483522"/>
              </a:xfrm>
              <a:prstGeom prst="rect">
                <a:avLst/>
              </a:prstGeom>
              <a:noFill/>
            </p:spPr>
            <p:txBody>
              <a:bodyPr wrap="none" rtlCol="0" anchor="b">
                <a:normAutofit/>
              </a:bodyPr>
              <a:lstStyle/>
              <a:p>
                <a:pPr lvl="0" algn="r" defTabSz="914378">
                  <a:spcBef>
                    <a:spcPct val="0"/>
                  </a:spcBef>
                  <a:defRPr/>
                </a:pPr>
                <a:r>
                  <a:rPr lang="en-US" altLang="zh-CN" b="1"/>
                  <a:t>Te</a:t>
                </a:r>
                <a:r>
                  <a:rPr lang="en-US" altLang="zh-CN" sz="100" b="1"/>
                  <a:t> </a:t>
                </a:r>
                <a:r>
                  <a:rPr lang="en-US" altLang="zh-CN" b="1"/>
                  <a:t>xt here</a:t>
                </a:r>
                <a:endParaRPr lang="zh-CN" altLang="en-US" b="1" dirty="0"/>
              </a:p>
            </p:txBody>
          </p:sp>
          <p:sp>
            <p:nvSpPr>
              <p:cNvPr id="22" name="i$ḻiḓê">
                <a:extLst>
                  <a:ext uri="{FF2B5EF4-FFF2-40B4-BE49-F238E27FC236}">
                    <a16:creationId xmlns:a16="http://schemas.microsoft.com/office/drawing/2014/main" id="{D6490E2A-43A5-4B8A-A328-4E5822068EE1}"/>
                  </a:ext>
                </a:extLst>
              </p:cNvPr>
              <p:cNvSpPr/>
              <p:nvPr/>
            </p:nvSpPr>
            <p:spPr bwMode="auto">
              <a:xfrm>
                <a:off x="673101" y="2019207"/>
                <a:ext cx="2098380" cy="610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a:lnSpc>
                    <a:spcPct val="130000"/>
                  </a:lnSpc>
                </a:pPr>
                <a:r>
                  <a:rPr lang="en-US" altLang="zh-CN" sz="1100"/>
                  <a:t>Suppo</a:t>
                </a:r>
                <a:r>
                  <a:rPr lang="en-US" altLang="zh-CN" sz="100"/>
                  <a:t> </a:t>
                </a:r>
                <a:r>
                  <a:rPr lang="en-US" altLang="zh-CN" sz="1100"/>
                  <a:t>rting text here.</a:t>
                </a:r>
              </a:p>
              <a:p>
                <a:pPr algn="r">
                  <a:lnSpc>
                    <a:spcPct val="130000"/>
                  </a:lnSpc>
                </a:pPr>
                <a:r>
                  <a:rPr lang="en-US" altLang="zh-CN" sz="1100"/>
                  <a:t>…… </a:t>
                </a:r>
                <a:endParaRPr lang="en-US" altLang="zh-CN" sz="1100" dirty="0"/>
              </a:p>
            </p:txBody>
          </p:sp>
        </p:grpSp>
        <p:grpSp>
          <p:nvGrpSpPr>
            <p:cNvPr id="18" name="í$ḷíḓè">
              <a:extLst>
                <a:ext uri="{FF2B5EF4-FFF2-40B4-BE49-F238E27FC236}">
                  <a16:creationId xmlns:a16="http://schemas.microsoft.com/office/drawing/2014/main" id="{3CA98FCA-ADB3-4C47-AFF2-94EA540BE755}"/>
                </a:ext>
              </a:extLst>
            </p:cNvPr>
            <p:cNvGrpSpPr/>
            <p:nvPr/>
          </p:nvGrpSpPr>
          <p:grpSpPr>
            <a:xfrm>
              <a:off x="7900781" y="2099523"/>
              <a:ext cx="2428318" cy="1094393"/>
              <a:chOff x="673101" y="1535685"/>
              <a:chExt cx="2098380" cy="1094393"/>
            </a:xfrm>
          </p:grpSpPr>
          <p:sp>
            <p:nvSpPr>
              <p:cNvPr id="19" name="ïsļíḓê">
                <a:extLst>
                  <a:ext uri="{FF2B5EF4-FFF2-40B4-BE49-F238E27FC236}">
                    <a16:creationId xmlns:a16="http://schemas.microsoft.com/office/drawing/2014/main" id="{8E96FCA5-25C9-4BA7-9125-430EFFC28203}"/>
                  </a:ext>
                </a:extLst>
              </p:cNvPr>
              <p:cNvSpPr txBox="1"/>
              <p:nvPr/>
            </p:nvSpPr>
            <p:spPr>
              <a:xfrm>
                <a:off x="673101" y="1535685"/>
                <a:ext cx="2098380" cy="483522"/>
              </a:xfrm>
              <a:prstGeom prst="rect">
                <a:avLst/>
              </a:prstGeom>
              <a:noFill/>
            </p:spPr>
            <p:txBody>
              <a:bodyPr wrap="none" rtlCol="0" anchor="b">
                <a:normAutofit/>
              </a:bodyPr>
              <a:lstStyle/>
              <a:p>
                <a:pPr lvl="0" defTabSz="914378">
                  <a:spcBef>
                    <a:spcPct val="0"/>
                  </a:spcBef>
                  <a:defRPr/>
                </a:pPr>
                <a:r>
                  <a:rPr lang="en-US" altLang="zh-CN" b="1"/>
                  <a:t>Te</a:t>
                </a:r>
                <a:r>
                  <a:rPr lang="en-US" altLang="zh-CN" sz="100" b="1"/>
                  <a:t> </a:t>
                </a:r>
                <a:r>
                  <a:rPr lang="en-US" altLang="zh-CN" b="1"/>
                  <a:t>xt here</a:t>
                </a:r>
                <a:endParaRPr lang="zh-CN" altLang="en-US" b="1" dirty="0"/>
              </a:p>
            </p:txBody>
          </p:sp>
          <p:sp>
            <p:nvSpPr>
              <p:cNvPr id="20" name="îSľiďê">
                <a:extLst>
                  <a:ext uri="{FF2B5EF4-FFF2-40B4-BE49-F238E27FC236}">
                    <a16:creationId xmlns:a16="http://schemas.microsoft.com/office/drawing/2014/main" id="{C2884D76-F0DA-435D-9458-56EF0A5A4315}"/>
                  </a:ext>
                </a:extLst>
              </p:cNvPr>
              <p:cNvSpPr/>
              <p:nvPr/>
            </p:nvSpPr>
            <p:spPr bwMode="auto">
              <a:xfrm>
                <a:off x="673101" y="2019207"/>
                <a:ext cx="2098380" cy="610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30000"/>
                  </a:lnSpc>
                </a:pPr>
                <a:r>
                  <a:rPr lang="en-US" altLang="zh-CN" sz="1100"/>
                  <a:t>Suppo</a:t>
                </a:r>
                <a:r>
                  <a:rPr lang="en-US" altLang="zh-CN" sz="100"/>
                  <a:t> </a:t>
                </a:r>
                <a:r>
                  <a:rPr lang="en-US" altLang="zh-CN" sz="1100"/>
                  <a:t>rting text here.</a:t>
                </a:r>
              </a:p>
              <a:p>
                <a:pPr>
                  <a:lnSpc>
                    <a:spcPct val="130000"/>
                  </a:lnSpc>
                </a:pPr>
                <a:r>
                  <a:rPr lang="en-US" altLang="zh-CN" sz="1100"/>
                  <a:t>…… </a:t>
                </a:r>
                <a:endParaRPr lang="en-US" altLang="zh-CN" sz="1100" dirty="0"/>
              </a:p>
            </p:txBody>
          </p:sp>
        </p:grpSp>
      </p:grpSp>
    </p:spTree>
    <p:extLst>
      <p:ext uri="{BB962C8B-B14F-4D97-AF65-F5344CB8AC3E}">
        <p14:creationId xmlns:p14="http://schemas.microsoft.com/office/powerpoint/2010/main" val="11131619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GB" altLang="zh-CN" dirty="0"/>
              <a:t>Virus protection in public areas</a:t>
            </a:r>
            <a:endParaRPr lang="zh-CN" altLang="en-US" dirty="0"/>
          </a:p>
        </p:txBody>
      </p:sp>
      <p:sp>
        <p:nvSpPr>
          <p:cNvPr id="3" name="页脚占位符 2"/>
          <p:cNvSpPr>
            <a:spLocks noGrp="1"/>
          </p:cNvSpPr>
          <p:nvPr>
            <p:ph type="ftr" sz="quarter" idx="11"/>
          </p:nvPr>
        </p:nvSpPr>
        <p:spPr/>
        <p:txBody>
          <a:bodyPr/>
          <a:lstStyle/>
          <a:p>
            <a:r>
              <a:rPr lang="en-GB" altLang="zh-CN" dirty="0"/>
              <a:t>https://iSlide-PowerPoint.com </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5</a:t>
            </a:fld>
            <a:endParaRPr lang="zh-CN" altLang="en-US"/>
          </a:p>
        </p:txBody>
      </p:sp>
      <p:grpSp>
        <p:nvGrpSpPr>
          <p:cNvPr id="5" name="27788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1141587" y="1421550"/>
            <a:ext cx="9908826" cy="4432079"/>
            <a:chOff x="1141587" y="1421550"/>
            <a:chExt cx="9908826" cy="4432079"/>
          </a:xfrm>
        </p:grpSpPr>
        <p:sp>
          <p:nvSpPr>
            <p:cNvPr id="6" name="ïṣlîḍê">
              <a:extLst>
                <a:ext uri="{FF2B5EF4-FFF2-40B4-BE49-F238E27FC236}">
                  <a16:creationId xmlns:a16="http://schemas.microsoft.com/office/drawing/2014/main" id="{57221B3B-EA3B-4C6A-BAB0-4BDE2452FCA8}"/>
                </a:ext>
              </a:extLst>
            </p:cNvPr>
            <p:cNvSpPr/>
            <p:nvPr/>
          </p:nvSpPr>
          <p:spPr>
            <a:xfrm rot="5400000">
              <a:off x="5600096" y="3066728"/>
              <a:ext cx="991839" cy="1145277"/>
            </a:xfrm>
            <a:custGeom>
              <a:avLst/>
              <a:gdLst/>
              <a:ahLst/>
              <a:cxnLst/>
              <a:rect l="l" t="t" r="r" b="b"/>
              <a:pathLst>
                <a:path w="21600" h="21600" extrusionOk="0">
                  <a:moveTo>
                    <a:pt x="10800" y="0"/>
                  </a:moveTo>
                  <a:lnTo>
                    <a:pt x="21600" y="5400"/>
                  </a:lnTo>
                  <a:lnTo>
                    <a:pt x="21600" y="16200"/>
                  </a:lnTo>
                  <a:lnTo>
                    <a:pt x="10800" y="21600"/>
                  </a:lnTo>
                  <a:lnTo>
                    <a:pt x="0" y="16200"/>
                  </a:lnTo>
                  <a:lnTo>
                    <a:pt x="0" y="5400"/>
                  </a:lnTo>
                  <a:close/>
                </a:path>
              </a:pathLst>
            </a:custGeom>
            <a:solidFill>
              <a:schemeClr val="bg1">
                <a:lumMod val="85000"/>
              </a:schemeClr>
            </a:solidFill>
            <a:ln>
              <a:noFill/>
            </a:ln>
          </p:spPr>
          <p:txBody>
            <a:bodyPr spcFirstLastPara="1" wrap="square" lIns="91440" tIns="45720" rIns="91440" bIns="45720" anchor="ctr" anchorCtr="0">
              <a:normAutofit/>
            </a:bodyPr>
            <a:lstStyle/>
            <a:p>
              <a:pPr marL="0" marR="0" lvl="0" indent="0" algn="l" rtl="0">
                <a:lnSpc>
                  <a:spcPct val="100000"/>
                </a:lnSpc>
                <a:spcBef>
                  <a:spcPts val="0"/>
                </a:spcBef>
                <a:spcAft>
                  <a:spcPts val="0"/>
                </a:spcAft>
                <a:buClr>
                  <a:srgbClr val="252D30"/>
                </a:buClr>
                <a:buSzPts val="800"/>
                <a:buFont typeface="Arial"/>
                <a:buNone/>
              </a:pPr>
              <a:endParaRPr sz="800" b="0" i="0" u="none" strike="noStrike" cap="none" dirty="0">
                <a:solidFill>
                  <a:srgbClr val="252D30"/>
                </a:solidFill>
              </a:endParaRPr>
            </a:p>
          </p:txBody>
        </p:sp>
        <p:sp>
          <p:nvSpPr>
            <p:cNvPr id="7" name="îsľïḍè">
              <a:extLst>
                <a:ext uri="{FF2B5EF4-FFF2-40B4-BE49-F238E27FC236}">
                  <a16:creationId xmlns:a16="http://schemas.microsoft.com/office/drawing/2014/main" id="{F46A90B8-E8EF-44E0-9D9C-9FCA04EF445C}"/>
                </a:ext>
              </a:extLst>
            </p:cNvPr>
            <p:cNvSpPr/>
            <p:nvPr/>
          </p:nvSpPr>
          <p:spPr>
            <a:xfrm>
              <a:off x="4732752" y="1642205"/>
              <a:ext cx="1327091" cy="1692432"/>
            </a:xfrm>
            <a:custGeom>
              <a:avLst/>
              <a:gdLst/>
              <a:ahLst/>
              <a:cxnLst/>
              <a:rect l="l" t="t" r="r" b="b"/>
              <a:pathLst>
                <a:path w="20804" h="21600" extrusionOk="0">
                  <a:moveTo>
                    <a:pt x="8152" y="0"/>
                  </a:moveTo>
                  <a:cubicBezTo>
                    <a:pt x="6066" y="0"/>
                    <a:pt x="3980" y="649"/>
                    <a:pt x="2388" y="1945"/>
                  </a:cubicBezTo>
                  <a:cubicBezTo>
                    <a:pt x="-796" y="4537"/>
                    <a:pt x="-796" y="8739"/>
                    <a:pt x="2388" y="11330"/>
                  </a:cubicBezTo>
                  <a:cubicBezTo>
                    <a:pt x="4899" y="13375"/>
                    <a:pt x="8636" y="13800"/>
                    <a:pt x="11667" y="12620"/>
                  </a:cubicBezTo>
                  <a:lnTo>
                    <a:pt x="15523" y="17995"/>
                  </a:lnTo>
                  <a:lnTo>
                    <a:pt x="13233" y="21223"/>
                  </a:lnTo>
                  <a:lnTo>
                    <a:pt x="14028" y="21600"/>
                  </a:lnTo>
                  <a:lnTo>
                    <a:pt x="16320" y="18368"/>
                  </a:lnTo>
                  <a:lnTo>
                    <a:pt x="20804" y="18368"/>
                  </a:lnTo>
                  <a:lnTo>
                    <a:pt x="20804" y="17614"/>
                  </a:lnTo>
                  <a:lnTo>
                    <a:pt x="16343" y="17614"/>
                  </a:lnTo>
                  <a:lnTo>
                    <a:pt x="12494" y="12249"/>
                  </a:lnTo>
                  <a:cubicBezTo>
                    <a:pt x="12998" y="11990"/>
                    <a:pt x="13477" y="11688"/>
                    <a:pt x="13916" y="11330"/>
                  </a:cubicBezTo>
                  <a:cubicBezTo>
                    <a:pt x="17100" y="8739"/>
                    <a:pt x="17100" y="4537"/>
                    <a:pt x="13916" y="1945"/>
                  </a:cubicBezTo>
                  <a:cubicBezTo>
                    <a:pt x="12324" y="649"/>
                    <a:pt x="10238" y="0"/>
                    <a:pt x="8152" y="0"/>
                  </a:cubicBezTo>
                  <a:close/>
                  <a:moveTo>
                    <a:pt x="8152" y="754"/>
                  </a:moveTo>
                  <a:cubicBezTo>
                    <a:pt x="10001" y="754"/>
                    <a:pt x="11852" y="1329"/>
                    <a:pt x="13263" y="2478"/>
                  </a:cubicBezTo>
                  <a:cubicBezTo>
                    <a:pt x="16086" y="4776"/>
                    <a:pt x="16086" y="8501"/>
                    <a:pt x="13263" y="10799"/>
                  </a:cubicBezTo>
                  <a:cubicBezTo>
                    <a:pt x="10441" y="13097"/>
                    <a:pt x="5865" y="13097"/>
                    <a:pt x="3043" y="10799"/>
                  </a:cubicBezTo>
                  <a:cubicBezTo>
                    <a:pt x="221" y="8501"/>
                    <a:pt x="221" y="4776"/>
                    <a:pt x="3043" y="2478"/>
                  </a:cubicBezTo>
                  <a:cubicBezTo>
                    <a:pt x="4454" y="1329"/>
                    <a:pt x="6303" y="754"/>
                    <a:pt x="8152" y="754"/>
                  </a:cubicBezTo>
                  <a:close/>
                </a:path>
              </a:pathLst>
            </a:custGeom>
            <a:solidFill>
              <a:schemeClr val="bg1">
                <a:lumMod val="95000"/>
              </a:schemeClr>
            </a:solidFill>
            <a:ln>
              <a:noFill/>
            </a:ln>
          </p:spPr>
          <p:txBody>
            <a:bodyPr spcFirstLastPara="1" wrap="square" lIns="91440" tIns="45720" rIns="91440" bIns="45720" anchor="ctr" anchorCtr="0">
              <a:normAutofit/>
            </a:bodyPr>
            <a:lstStyle/>
            <a:p>
              <a:pPr marL="0" marR="0" lvl="0" indent="0" algn="l" rtl="0">
                <a:lnSpc>
                  <a:spcPct val="100000"/>
                </a:lnSpc>
                <a:spcBef>
                  <a:spcPts val="0"/>
                </a:spcBef>
                <a:spcAft>
                  <a:spcPts val="0"/>
                </a:spcAft>
                <a:buClr>
                  <a:srgbClr val="252D30"/>
                </a:buClr>
                <a:buSzPts val="800"/>
                <a:buFont typeface="Arial"/>
                <a:buNone/>
              </a:pPr>
              <a:endParaRPr sz="800" b="0" i="0" u="none" strike="noStrike" cap="none">
                <a:solidFill>
                  <a:srgbClr val="252D30"/>
                </a:solidFill>
              </a:endParaRPr>
            </a:p>
          </p:txBody>
        </p:sp>
        <p:sp>
          <p:nvSpPr>
            <p:cNvPr id="8" name="i$ļîḑè">
              <a:extLst>
                <a:ext uri="{FF2B5EF4-FFF2-40B4-BE49-F238E27FC236}">
                  <a16:creationId xmlns:a16="http://schemas.microsoft.com/office/drawing/2014/main" id="{796F1514-1A20-4380-8823-1951871C597F}"/>
                </a:ext>
              </a:extLst>
            </p:cNvPr>
            <p:cNvSpPr/>
            <p:nvPr/>
          </p:nvSpPr>
          <p:spPr>
            <a:xfrm>
              <a:off x="6120051" y="1642205"/>
              <a:ext cx="1353886" cy="1689688"/>
            </a:xfrm>
            <a:custGeom>
              <a:avLst/>
              <a:gdLst/>
              <a:ahLst/>
              <a:cxnLst/>
              <a:rect l="l" t="t" r="r" b="b"/>
              <a:pathLst>
                <a:path w="20819" h="21600" extrusionOk="0">
                  <a:moveTo>
                    <a:pt x="12823" y="0"/>
                  </a:moveTo>
                  <a:cubicBezTo>
                    <a:pt x="10776" y="0"/>
                    <a:pt x="8730" y="650"/>
                    <a:pt x="7168" y="1948"/>
                  </a:cubicBezTo>
                  <a:cubicBezTo>
                    <a:pt x="4045" y="4544"/>
                    <a:pt x="4045" y="8753"/>
                    <a:pt x="7168" y="11349"/>
                  </a:cubicBezTo>
                  <a:cubicBezTo>
                    <a:pt x="7550" y="11666"/>
                    <a:pt x="7960" y="11943"/>
                    <a:pt x="8392" y="12182"/>
                  </a:cubicBezTo>
                  <a:lnTo>
                    <a:pt x="4535" y="17642"/>
                  </a:lnTo>
                  <a:lnTo>
                    <a:pt x="0" y="17642"/>
                  </a:lnTo>
                  <a:lnTo>
                    <a:pt x="0" y="18398"/>
                  </a:lnTo>
                  <a:lnTo>
                    <a:pt x="4585" y="18398"/>
                  </a:lnTo>
                  <a:lnTo>
                    <a:pt x="6809" y="21600"/>
                  </a:lnTo>
                  <a:lnTo>
                    <a:pt x="7593" y="21229"/>
                  </a:lnTo>
                  <a:lnTo>
                    <a:pt x="5354" y="18001"/>
                  </a:lnTo>
                  <a:lnTo>
                    <a:pt x="9194" y="12570"/>
                  </a:lnTo>
                  <a:cubicBezTo>
                    <a:pt x="12197" y="13843"/>
                    <a:pt x="15964" y="13438"/>
                    <a:pt x="18477" y="11349"/>
                  </a:cubicBezTo>
                  <a:cubicBezTo>
                    <a:pt x="21600" y="8753"/>
                    <a:pt x="21600" y="4544"/>
                    <a:pt x="18477" y="1948"/>
                  </a:cubicBezTo>
                  <a:cubicBezTo>
                    <a:pt x="16916" y="650"/>
                    <a:pt x="14869" y="0"/>
                    <a:pt x="12823" y="0"/>
                  </a:cubicBezTo>
                  <a:close/>
                  <a:moveTo>
                    <a:pt x="12823" y="755"/>
                  </a:moveTo>
                  <a:cubicBezTo>
                    <a:pt x="14637" y="755"/>
                    <a:pt x="16452" y="1332"/>
                    <a:pt x="17837" y="2482"/>
                  </a:cubicBezTo>
                  <a:cubicBezTo>
                    <a:pt x="20605" y="4784"/>
                    <a:pt x="20605" y="8515"/>
                    <a:pt x="17837" y="10817"/>
                  </a:cubicBezTo>
                  <a:cubicBezTo>
                    <a:pt x="15068" y="13118"/>
                    <a:pt x="10580" y="13118"/>
                    <a:pt x="7811" y="10817"/>
                  </a:cubicBezTo>
                  <a:cubicBezTo>
                    <a:pt x="5043" y="8515"/>
                    <a:pt x="5043" y="4784"/>
                    <a:pt x="7811" y="2482"/>
                  </a:cubicBezTo>
                  <a:cubicBezTo>
                    <a:pt x="9195" y="1332"/>
                    <a:pt x="11009" y="755"/>
                    <a:pt x="12823" y="755"/>
                  </a:cubicBezTo>
                  <a:close/>
                </a:path>
              </a:pathLst>
            </a:custGeom>
            <a:solidFill>
              <a:schemeClr val="bg1">
                <a:lumMod val="95000"/>
              </a:schemeClr>
            </a:solidFill>
            <a:ln>
              <a:noFill/>
            </a:ln>
          </p:spPr>
          <p:txBody>
            <a:bodyPr spcFirstLastPara="1" wrap="square" lIns="91440" tIns="45720" rIns="91440" bIns="45720" anchor="ctr" anchorCtr="0">
              <a:normAutofit/>
            </a:bodyPr>
            <a:lstStyle/>
            <a:p>
              <a:pPr>
                <a:buClr>
                  <a:srgbClr val="252D30"/>
                </a:buClr>
                <a:buSzPts val="800"/>
              </a:pPr>
              <a:endParaRPr sz="800">
                <a:solidFill>
                  <a:srgbClr val="252D30"/>
                </a:solidFill>
              </a:endParaRPr>
            </a:p>
          </p:txBody>
        </p:sp>
        <p:sp>
          <p:nvSpPr>
            <p:cNvPr id="9" name="íśḻïḓé">
              <a:extLst>
                <a:ext uri="{FF2B5EF4-FFF2-40B4-BE49-F238E27FC236}">
                  <a16:creationId xmlns:a16="http://schemas.microsoft.com/office/drawing/2014/main" id="{38970F29-2DBB-4B0C-BAB3-0C36771349D0}"/>
                </a:ext>
              </a:extLst>
            </p:cNvPr>
            <p:cNvSpPr/>
            <p:nvPr/>
          </p:nvSpPr>
          <p:spPr>
            <a:xfrm>
              <a:off x="6591381" y="3120600"/>
              <a:ext cx="1729659" cy="1040096"/>
            </a:xfrm>
            <a:custGeom>
              <a:avLst/>
              <a:gdLst/>
              <a:ahLst/>
              <a:cxnLst/>
              <a:rect l="l" t="t" r="r" b="b"/>
              <a:pathLst>
                <a:path w="20984" h="20595" extrusionOk="0">
                  <a:moveTo>
                    <a:pt x="14675" y="0"/>
                  </a:moveTo>
                  <a:cubicBezTo>
                    <a:pt x="13061" y="0"/>
                    <a:pt x="11446" y="1007"/>
                    <a:pt x="10214" y="3017"/>
                  </a:cubicBezTo>
                  <a:cubicBezTo>
                    <a:pt x="9083" y="4863"/>
                    <a:pt x="8478" y="7236"/>
                    <a:pt x="8385" y="9652"/>
                  </a:cubicBezTo>
                  <a:lnTo>
                    <a:pt x="2411" y="9652"/>
                  </a:lnTo>
                  <a:lnTo>
                    <a:pt x="636" y="4641"/>
                  </a:lnTo>
                  <a:lnTo>
                    <a:pt x="18" y="5216"/>
                  </a:lnTo>
                  <a:lnTo>
                    <a:pt x="1807" y="10272"/>
                  </a:lnTo>
                  <a:lnTo>
                    <a:pt x="0" y="15380"/>
                  </a:lnTo>
                  <a:lnTo>
                    <a:pt x="607" y="15958"/>
                  </a:lnTo>
                  <a:lnTo>
                    <a:pt x="2416" y="10844"/>
                  </a:lnTo>
                  <a:lnTo>
                    <a:pt x="8381" y="10844"/>
                  </a:lnTo>
                  <a:cubicBezTo>
                    <a:pt x="8461" y="13294"/>
                    <a:pt x="9068" y="15707"/>
                    <a:pt x="10214" y="17579"/>
                  </a:cubicBezTo>
                  <a:cubicBezTo>
                    <a:pt x="12678" y="21600"/>
                    <a:pt x="16672" y="21600"/>
                    <a:pt x="19136" y="17579"/>
                  </a:cubicBezTo>
                  <a:cubicBezTo>
                    <a:pt x="21600" y="13557"/>
                    <a:pt x="21600" y="7038"/>
                    <a:pt x="19136" y="3017"/>
                  </a:cubicBezTo>
                  <a:cubicBezTo>
                    <a:pt x="17904" y="1007"/>
                    <a:pt x="16290" y="0"/>
                    <a:pt x="14675" y="0"/>
                  </a:cubicBezTo>
                  <a:close/>
                  <a:moveTo>
                    <a:pt x="14675" y="1170"/>
                  </a:moveTo>
                  <a:cubicBezTo>
                    <a:pt x="16107" y="1170"/>
                    <a:pt x="17539" y="2063"/>
                    <a:pt x="18631" y="3845"/>
                  </a:cubicBezTo>
                  <a:cubicBezTo>
                    <a:pt x="20815" y="7410"/>
                    <a:pt x="20815" y="13189"/>
                    <a:pt x="18631" y="16754"/>
                  </a:cubicBezTo>
                  <a:cubicBezTo>
                    <a:pt x="16447" y="20319"/>
                    <a:pt x="12906" y="20319"/>
                    <a:pt x="10722" y="16754"/>
                  </a:cubicBezTo>
                  <a:cubicBezTo>
                    <a:pt x="8537" y="13189"/>
                    <a:pt x="8537" y="7410"/>
                    <a:pt x="10722" y="3845"/>
                  </a:cubicBezTo>
                  <a:cubicBezTo>
                    <a:pt x="11814" y="2063"/>
                    <a:pt x="13244" y="1170"/>
                    <a:pt x="14675" y="1170"/>
                  </a:cubicBezTo>
                  <a:close/>
                </a:path>
              </a:pathLst>
            </a:custGeom>
            <a:solidFill>
              <a:schemeClr val="bg1">
                <a:lumMod val="95000"/>
              </a:schemeClr>
            </a:solidFill>
            <a:ln>
              <a:noFill/>
            </a:ln>
          </p:spPr>
          <p:txBody>
            <a:bodyPr spcFirstLastPara="1" wrap="square" lIns="91440" tIns="45720" rIns="91440" bIns="45720" anchor="ctr" anchorCtr="0">
              <a:normAutofit/>
            </a:bodyPr>
            <a:lstStyle/>
            <a:p>
              <a:pPr>
                <a:buClr>
                  <a:srgbClr val="252D30"/>
                </a:buClr>
                <a:buSzPts val="800"/>
              </a:pPr>
              <a:endParaRPr sz="800">
                <a:solidFill>
                  <a:srgbClr val="252D30"/>
                </a:solidFill>
              </a:endParaRPr>
            </a:p>
          </p:txBody>
        </p:sp>
        <p:sp>
          <p:nvSpPr>
            <p:cNvPr id="10" name="îṧľiḍé">
              <a:extLst>
                <a:ext uri="{FF2B5EF4-FFF2-40B4-BE49-F238E27FC236}">
                  <a16:creationId xmlns:a16="http://schemas.microsoft.com/office/drawing/2014/main" id="{5A78C717-A986-4DA1-B48A-FCC1AC6BA93A}"/>
                </a:ext>
              </a:extLst>
            </p:cNvPr>
            <p:cNvSpPr/>
            <p:nvPr/>
          </p:nvSpPr>
          <p:spPr>
            <a:xfrm>
              <a:off x="3870960" y="3120600"/>
              <a:ext cx="1726592" cy="1040096"/>
            </a:xfrm>
            <a:custGeom>
              <a:avLst/>
              <a:gdLst/>
              <a:ahLst/>
              <a:cxnLst/>
              <a:rect l="l" t="t" r="r" b="b"/>
              <a:pathLst>
                <a:path w="20983" h="20595" extrusionOk="0">
                  <a:moveTo>
                    <a:pt x="6320" y="0"/>
                  </a:moveTo>
                  <a:cubicBezTo>
                    <a:pt x="4702" y="0"/>
                    <a:pt x="3085" y="1007"/>
                    <a:pt x="1851" y="3017"/>
                  </a:cubicBezTo>
                  <a:cubicBezTo>
                    <a:pt x="-617" y="7038"/>
                    <a:pt x="-617" y="13557"/>
                    <a:pt x="1851" y="17579"/>
                  </a:cubicBezTo>
                  <a:cubicBezTo>
                    <a:pt x="4319" y="21600"/>
                    <a:pt x="8320" y="21600"/>
                    <a:pt x="10788" y="17579"/>
                  </a:cubicBezTo>
                  <a:cubicBezTo>
                    <a:pt x="11937" y="15707"/>
                    <a:pt x="12545" y="13294"/>
                    <a:pt x="12624" y="10844"/>
                  </a:cubicBezTo>
                  <a:lnTo>
                    <a:pt x="18600" y="10844"/>
                  </a:lnTo>
                  <a:lnTo>
                    <a:pt x="20322" y="15703"/>
                  </a:lnTo>
                  <a:lnTo>
                    <a:pt x="20932" y="15134"/>
                  </a:lnTo>
                  <a:lnTo>
                    <a:pt x="19210" y="10272"/>
                  </a:lnTo>
                  <a:lnTo>
                    <a:pt x="20983" y="5270"/>
                  </a:lnTo>
                  <a:lnTo>
                    <a:pt x="20367" y="4686"/>
                  </a:lnTo>
                  <a:lnTo>
                    <a:pt x="18605" y="9652"/>
                  </a:lnTo>
                  <a:lnTo>
                    <a:pt x="12621" y="9652"/>
                  </a:lnTo>
                  <a:cubicBezTo>
                    <a:pt x="12528" y="7236"/>
                    <a:pt x="11922" y="4863"/>
                    <a:pt x="10788" y="3017"/>
                  </a:cubicBezTo>
                  <a:cubicBezTo>
                    <a:pt x="9554" y="1007"/>
                    <a:pt x="7937" y="0"/>
                    <a:pt x="6320" y="0"/>
                  </a:cubicBezTo>
                  <a:close/>
                  <a:moveTo>
                    <a:pt x="6320" y="1170"/>
                  </a:moveTo>
                  <a:cubicBezTo>
                    <a:pt x="7753" y="1170"/>
                    <a:pt x="9188" y="2063"/>
                    <a:pt x="10282" y="3845"/>
                  </a:cubicBezTo>
                  <a:cubicBezTo>
                    <a:pt x="12470" y="7410"/>
                    <a:pt x="12470" y="13189"/>
                    <a:pt x="10282" y="16754"/>
                  </a:cubicBezTo>
                  <a:cubicBezTo>
                    <a:pt x="8094" y="20319"/>
                    <a:pt x="4547" y="20319"/>
                    <a:pt x="2359" y="16754"/>
                  </a:cubicBezTo>
                  <a:cubicBezTo>
                    <a:pt x="171" y="13189"/>
                    <a:pt x="171" y="7410"/>
                    <a:pt x="2359" y="3845"/>
                  </a:cubicBezTo>
                  <a:cubicBezTo>
                    <a:pt x="3453" y="2063"/>
                    <a:pt x="4886" y="1170"/>
                    <a:pt x="6320" y="1170"/>
                  </a:cubicBezTo>
                  <a:close/>
                </a:path>
              </a:pathLst>
            </a:custGeom>
            <a:solidFill>
              <a:schemeClr val="bg1">
                <a:lumMod val="95000"/>
              </a:schemeClr>
            </a:solidFill>
            <a:ln>
              <a:noFill/>
            </a:ln>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spcFirstLastPara="1" wrap="square" lIns="91440" tIns="45720" rIns="91440" bIns="45720" anchor="ctr" anchorCtr="0">
              <a:normAutofit/>
            </a:bodyPr>
            <a:lstStyle/>
            <a:p>
              <a:pPr>
                <a:buClr>
                  <a:srgbClr val="252D30"/>
                </a:buClr>
                <a:buSzPts val="800"/>
              </a:pPr>
              <a:endParaRPr sz="800">
                <a:solidFill>
                  <a:srgbClr val="252D30"/>
                </a:solidFill>
              </a:endParaRPr>
            </a:p>
          </p:txBody>
        </p:sp>
        <p:sp>
          <p:nvSpPr>
            <p:cNvPr id="11" name="ïṩļíḑê">
              <a:extLst>
                <a:ext uri="{FF2B5EF4-FFF2-40B4-BE49-F238E27FC236}">
                  <a16:creationId xmlns:a16="http://schemas.microsoft.com/office/drawing/2014/main" id="{6126CB7B-4A80-4520-833D-F6188219EEA7}"/>
                </a:ext>
              </a:extLst>
            </p:cNvPr>
            <p:cNvSpPr/>
            <p:nvPr/>
          </p:nvSpPr>
          <p:spPr>
            <a:xfrm>
              <a:off x="4730654" y="3936874"/>
              <a:ext cx="1329190" cy="1698021"/>
            </a:xfrm>
            <a:custGeom>
              <a:avLst/>
              <a:gdLst/>
              <a:ahLst/>
              <a:cxnLst/>
              <a:rect l="l" t="t" r="r" b="b"/>
              <a:pathLst>
                <a:path w="20805" h="20973" extrusionOk="0">
                  <a:moveTo>
                    <a:pt x="13973" y="0"/>
                  </a:moveTo>
                  <a:lnTo>
                    <a:pt x="13187" y="355"/>
                  </a:lnTo>
                  <a:lnTo>
                    <a:pt x="15423" y="3409"/>
                  </a:lnTo>
                  <a:lnTo>
                    <a:pt x="11639" y="8756"/>
                  </a:lnTo>
                  <a:cubicBezTo>
                    <a:pt x="10534" y="8341"/>
                    <a:pt x="9338" y="8126"/>
                    <a:pt x="8139" y="8126"/>
                  </a:cubicBezTo>
                  <a:cubicBezTo>
                    <a:pt x="6056" y="8126"/>
                    <a:pt x="3973" y="8754"/>
                    <a:pt x="2384" y="10008"/>
                  </a:cubicBezTo>
                  <a:cubicBezTo>
                    <a:pt x="-795" y="12517"/>
                    <a:pt x="-795" y="16583"/>
                    <a:pt x="2384" y="19092"/>
                  </a:cubicBezTo>
                  <a:cubicBezTo>
                    <a:pt x="5563" y="21600"/>
                    <a:pt x="10716" y="21600"/>
                    <a:pt x="13895" y="19092"/>
                  </a:cubicBezTo>
                  <a:cubicBezTo>
                    <a:pt x="17074" y="16583"/>
                    <a:pt x="17074" y="12517"/>
                    <a:pt x="13895" y="10008"/>
                  </a:cubicBezTo>
                  <a:cubicBezTo>
                    <a:pt x="13454" y="9661"/>
                    <a:pt x="12971" y="9367"/>
                    <a:pt x="12465" y="9115"/>
                  </a:cubicBezTo>
                  <a:lnTo>
                    <a:pt x="16133" y="3928"/>
                  </a:lnTo>
                  <a:lnTo>
                    <a:pt x="20805" y="3928"/>
                  </a:lnTo>
                  <a:lnTo>
                    <a:pt x="20805" y="3218"/>
                  </a:lnTo>
                  <a:lnTo>
                    <a:pt x="16328" y="3218"/>
                  </a:lnTo>
                  <a:lnTo>
                    <a:pt x="13973" y="0"/>
                  </a:lnTo>
                  <a:close/>
                  <a:moveTo>
                    <a:pt x="8139" y="8856"/>
                  </a:moveTo>
                  <a:cubicBezTo>
                    <a:pt x="9986" y="8856"/>
                    <a:pt x="11834" y="9413"/>
                    <a:pt x="13243" y="10525"/>
                  </a:cubicBezTo>
                  <a:cubicBezTo>
                    <a:pt x="16061" y="12748"/>
                    <a:pt x="16061" y="16354"/>
                    <a:pt x="13243" y="18577"/>
                  </a:cubicBezTo>
                  <a:cubicBezTo>
                    <a:pt x="10425" y="20801"/>
                    <a:pt x="5856" y="20801"/>
                    <a:pt x="3038" y="18577"/>
                  </a:cubicBezTo>
                  <a:cubicBezTo>
                    <a:pt x="220" y="16354"/>
                    <a:pt x="220" y="12748"/>
                    <a:pt x="3038" y="10525"/>
                  </a:cubicBezTo>
                  <a:cubicBezTo>
                    <a:pt x="4447" y="9413"/>
                    <a:pt x="6293" y="8856"/>
                    <a:pt x="8139" y="8856"/>
                  </a:cubicBezTo>
                  <a:close/>
                </a:path>
              </a:pathLst>
            </a:custGeom>
            <a:solidFill>
              <a:schemeClr val="bg1">
                <a:lumMod val="95000"/>
              </a:schemeClr>
            </a:solidFill>
            <a:ln>
              <a:noFill/>
            </a:ln>
          </p:spPr>
          <p:txBody>
            <a:bodyPr spcFirstLastPara="1" wrap="square" lIns="91440" tIns="45720" rIns="91440" bIns="45720" anchor="ctr" anchorCtr="0">
              <a:normAutofit/>
            </a:bodyPr>
            <a:lstStyle/>
            <a:p>
              <a:pPr>
                <a:buClr>
                  <a:srgbClr val="252D30"/>
                </a:buClr>
                <a:buSzPts val="800"/>
              </a:pPr>
              <a:endParaRPr sz="800">
                <a:solidFill>
                  <a:srgbClr val="252D30"/>
                </a:solidFill>
              </a:endParaRPr>
            </a:p>
          </p:txBody>
        </p:sp>
        <p:sp>
          <p:nvSpPr>
            <p:cNvPr id="12" name="íşlîḍê">
              <a:extLst>
                <a:ext uri="{FF2B5EF4-FFF2-40B4-BE49-F238E27FC236}">
                  <a16:creationId xmlns:a16="http://schemas.microsoft.com/office/drawing/2014/main" id="{1F81CACF-5A9A-45E7-90F0-096DAD5DD9CE}"/>
                </a:ext>
              </a:extLst>
            </p:cNvPr>
            <p:cNvSpPr/>
            <p:nvPr/>
          </p:nvSpPr>
          <p:spPr>
            <a:xfrm>
              <a:off x="6120051" y="3949464"/>
              <a:ext cx="1351626" cy="1685431"/>
            </a:xfrm>
            <a:custGeom>
              <a:avLst/>
              <a:gdLst/>
              <a:ahLst/>
              <a:cxnLst/>
              <a:rect l="l" t="t" r="r" b="b"/>
              <a:pathLst>
                <a:path w="20818" h="20968" extrusionOk="0">
                  <a:moveTo>
                    <a:pt x="6797" y="0"/>
                  </a:moveTo>
                  <a:lnTo>
                    <a:pt x="4592" y="3085"/>
                  </a:lnTo>
                  <a:lnTo>
                    <a:pt x="0" y="3085"/>
                  </a:lnTo>
                  <a:lnTo>
                    <a:pt x="0" y="3799"/>
                  </a:lnTo>
                  <a:lnTo>
                    <a:pt x="4542" y="3799"/>
                  </a:lnTo>
                  <a:lnTo>
                    <a:pt x="8319" y="9145"/>
                  </a:lnTo>
                  <a:cubicBezTo>
                    <a:pt x="7906" y="9371"/>
                    <a:pt x="7511" y="9629"/>
                    <a:pt x="7145" y="9924"/>
                  </a:cubicBezTo>
                  <a:cubicBezTo>
                    <a:pt x="4017" y="12451"/>
                    <a:pt x="4017" y="16547"/>
                    <a:pt x="7145" y="19073"/>
                  </a:cubicBezTo>
                  <a:cubicBezTo>
                    <a:pt x="10273" y="21600"/>
                    <a:pt x="15344" y="21600"/>
                    <a:pt x="18472" y="19073"/>
                  </a:cubicBezTo>
                  <a:cubicBezTo>
                    <a:pt x="21600" y="16547"/>
                    <a:pt x="21600" y="12451"/>
                    <a:pt x="18472" y="9924"/>
                  </a:cubicBezTo>
                  <a:cubicBezTo>
                    <a:pt x="16908" y="8661"/>
                    <a:pt x="14858" y="8029"/>
                    <a:pt x="12809" y="8029"/>
                  </a:cubicBezTo>
                  <a:cubicBezTo>
                    <a:pt x="11538" y="8029"/>
                    <a:pt x="10269" y="8272"/>
                    <a:pt x="9114" y="8758"/>
                  </a:cubicBezTo>
                  <a:lnTo>
                    <a:pt x="5360" y="3450"/>
                  </a:lnTo>
                  <a:lnTo>
                    <a:pt x="7568" y="363"/>
                  </a:lnTo>
                  <a:lnTo>
                    <a:pt x="6797" y="0"/>
                  </a:lnTo>
                  <a:close/>
                  <a:moveTo>
                    <a:pt x="12809" y="8764"/>
                  </a:moveTo>
                  <a:cubicBezTo>
                    <a:pt x="14626" y="8764"/>
                    <a:pt x="16444" y="9325"/>
                    <a:pt x="17831" y="10444"/>
                  </a:cubicBezTo>
                  <a:cubicBezTo>
                    <a:pt x="20603" y="12684"/>
                    <a:pt x="20603" y="16316"/>
                    <a:pt x="17831" y="18555"/>
                  </a:cubicBezTo>
                  <a:cubicBezTo>
                    <a:pt x="15058" y="20795"/>
                    <a:pt x="10562" y="20795"/>
                    <a:pt x="7789" y="18555"/>
                  </a:cubicBezTo>
                  <a:cubicBezTo>
                    <a:pt x="5016" y="16316"/>
                    <a:pt x="5016" y="12684"/>
                    <a:pt x="7789" y="10444"/>
                  </a:cubicBezTo>
                  <a:cubicBezTo>
                    <a:pt x="9175" y="9325"/>
                    <a:pt x="10991" y="8764"/>
                    <a:pt x="12809" y="8764"/>
                  </a:cubicBezTo>
                  <a:close/>
                </a:path>
              </a:pathLst>
            </a:custGeom>
            <a:solidFill>
              <a:schemeClr val="bg1">
                <a:lumMod val="95000"/>
              </a:schemeClr>
            </a:solidFill>
            <a:ln>
              <a:noFill/>
            </a:ln>
          </p:spPr>
          <p:txBody>
            <a:bodyPr spcFirstLastPara="1" wrap="square" lIns="91440" tIns="45720" rIns="91440" bIns="45720" anchor="ctr" anchorCtr="0">
              <a:normAutofit/>
            </a:bodyPr>
            <a:lstStyle/>
            <a:p>
              <a:pPr>
                <a:buClr>
                  <a:srgbClr val="252D30"/>
                </a:buClr>
                <a:buSzPts val="800"/>
              </a:pPr>
              <a:endParaRPr sz="800">
                <a:solidFill>
                  <a:srgbClr val="252D30"/>
                </a:solidFill>
              </a:endParaRPr>
            </a:p>
          </p:txBody>
        </p:sp>
        <p:sp>
          <p:nvSpPr>
            <p:cNvPr id="13" name="îŝḻíḓè">
              <a:extLst>
                <a:ext uri="{FF2B5EF4-FFF2-40B4-BE49-F238E27FC236}">
                  <a16:creationId xmlns:a16="http://schemas.microsoft.com/office/drawing/2014/main" id="{8C758E98-649E-44F7-AF53-70940D8E14AF}"/>
                </a:ext>
              </a:extLst>
            </p:cNvPr>
            <p:cNvSpPr/>
            <p:nvPr/>
          </p:nvSpPr>
          <p:spPr>
            <a:xfrm>
              <a:off x="4958864" y="1866697"/>
              <a:ext cx="589298" cy="589298"/>
            </a:xfrm>
            <a:prstGeom prst="ellipse">
              <a:avLst/>
            </a:prstGeom>
            <a:solidFill>
              <a:schemeClr val="accent2"/>
            </a:solidFill>
            <a:ln>
              <a:noFill/>
            </a:ln>
          </p:spPr>
          <p:txBody>
            <a:bodyPr spcFirstLastPara="1" wrap="square" lIns="91440" tIns="45720" rIns="91440" bIns="45720" anchor="ctr" anchorCtr="0">
              <a:normAutofit/>
            </a:bodyPr>
            <a:lstStyle/>
            <a:p>
              <a:pPr marL="0" marR="0" lvl="0" indent="0" algn="l" rtl="0">
                <a:lnSpc>
                  <a:spcPct val="100000"/>
                </a:lnSpc>
                <a:spcBef>
                  <a:spcPts val="0"/>
                </a:spcBef>
                <a:spcAft>
                  <a:spcPts val="0"/>
                </a:spcAft>
                <a:buClr>
                  <a:srgbClr val="252D30"/>
                </a:buClr>
                <a:buSzPts val="800"/>
                <a:buFont typeface="Arial"/>
                <a:buNone/>
              </a:pPr>
              <a:endParaRPr sz="800" b="0" i="0" u="none" strike="noStrike" cap="none">
                <a:solidFill>
                  <a:srgbClr val="252D30"/>
                </a:solidFill>
              </a:endParaRPr>
            </a:p>
          </p:txBody>
        </p:sp>
        <p:sp>
          <p:nvSpPr>
            <p:cNvPr id="14" name="îŝļídè">
              <a:extLst>
                <a:ext uri="{FF2B5EF4-FFF2-40B4-BE49-F238E27FC236}">
                  <a16:creationId xmlns:a16="http://schemas.microsoft.com/office/drawing/2014/main" id="{F21473D0-73AF-42DC-83C2-89717A8249EC}"/>
                </a:ext>
              </a:extLst>
            </p:cNvPr>
            <p:cNvSpPr/>
            <p:nvPr/>
          </p:nvSpPr>
          <p:spPr>
            <a:xfrm>
              <a:off x="6657203" y="1866697"/>
              <a:ext cx="589298" cy="589298"/>
            </a:xfrm>
            <a:prstGeom prst="ellipse">
              <a:avLst/>
            </a:prstGeom>
            <a:solidFill>
              <a:schemeClr val="accent1"/>
            </a:solidFill>
            <a:ln>
              <a:noFill/>
            </a:ln>
          </p:spPr>
          <p:txBody>
            <a:bodyPr spcFirstLastPara="1" wrap="square" lIns="91440" tIns="45720" rIns="91440" bIns="45720" anchor="ctr" anchorCtr="0">
              <a:normAutofit/>
            </a:bodyPr>
            <a:lstStyle/>
            <a:p>
              <a:pPr>
                <a:buClr>
                  <a:srgbClr val="252D30"/>
                </a:buClr>
                <a:buSzPts val="800"/>
              </a:pPr>
              <a:endParaRPr sz="800">
                <a:solidFill>
                  <a:srgbClr val="252D30"/>
                </a:solidFill>
              </a:endParaRPr>
            </a:p>
          </p:txBody>
        </p:sp>
        <p:sp>
          <p:nvSpPr>
            <p:cNvPr id="15" name="îšḷîdé">
              <a:extLst>
                <a:ext uri="{FF2B5EF4-FFF2-40B4-BE49-F238E27FC236}">
                  <a16:creationId xmlns:a16="http://schemas.microsoft.com/office/drawing/2014/main" id="{F19F889C-9B98-4574-A03C-A6CA074D7940}"/>
                </a:ext>
              </a:extLst>
            </p:cNvPr>
            <p:cNvSpPr/>
            <p:nvPr/>
          </p:nvSpPr>
          <p:spPr>
            <a:xfrm>
              <a:off x="4958396" y="4817097"/>
              <a:ext cx="589298" cy="589298"/>
            </a:xfrm>
            <a:prstGeom prst="ellipse">
              <a:avLst/>
            </a:prstGeom>
            <a:solidFill>
              <a:schemeClr val="accent1"/>
            </a:solidFill>
            <a:ln>
              <a:noFill/>
            </a:ln>
          </p:spPr>
          <p:txBody>
            <a:bodyPr spcFirstLastPara="1" wrap="square" lIns="91440" tIns="45720" rIns="91440" bIns="45720" anchor="ctr" anchorCtr="0">
              <a:normAutofit/>
            </a:bodyPr>
            <a:lstStyle/>
            <a:p>
              <a:pPr>
                <a:buClr>
                  <a:srgbClr val="252D30"/>
                </a:buClr>
                <a:buSzPts val="800"/>
              </a:pPr>
              <a:endParaRPr sz="800">
                <a:solidFill>
                  <a:srgbClr val="252D30"/>
                </a:solidFill>
              </a:endParaRPr>
            </a:p>
          </p:txBody>
        </p:sp>
        <p:sp>
          <p:nvSpPr>
            <p:cNvPr id="16" name="îṩḷïḋê">
              <a:extLst>
                <a:ext uri="{FF2B5EF4-FFF2-40B4-BE49-F238E27FC236}">
                  <a16:creationId xmlns:a16="http://schemas.microsoft.com/office/drawing/2014/main" id="{92F8CA09-1696-4717-9597-1E7509347EF1}"/>
                </a:ext>
              </a:extLst>
            </p:cNvPr>
            <p:cNvSpPr/>
            <p:nvPr/>
          </p:nvSpPr>
          <p:spPr>
            <a:xfrm>
              <a:off x="6656735" y="4817097"/>
              <a:ext cx="589298" cy="589298"/>
            </a:xfrm>
            <a:prstGeom prst="ellipse">
              <a:avLst/>
            </a:prstGeom>
            <a:solidFill>
              <a:schemeClr val="accent1"/>
            </a:solidFill>
            <a:ln>
              <a:noFill/>
            </a:ln>
          </p:spPr>
          <p:txBody>
            <a:bodyPr spcFirstLastPara="1" wrap="square" lIns="91440" tIns="45720" rIns="91440" bIns="45720" anchor="ctr" anchorCtr="0">
              <a:normAutofit/>
            </a:bodyPr>
            <a:lstStyle/>
            <a:p>
              <a:pPr>
                <a:buClr>
                  <a:srgbClr val="252D30"/>
                </a:buClr>
                <a:buSzPts val="800"/>
              </a:pPr>
              <a:endParaRPr sz="800">
                <a:solidFill>
                  <a:srgbClr val="252D30"/>
                </a:solidFill>
              </a:endParaRPr>
            </a:p>
          </p:txBody>
        </p:sp>
        <p:sp>
          <p:nvSpPr>
            <p:cNvPr id="17" name="îṧḷîḋé">
              <a:extLst>
                <a:ext uri="{FF2B5EF4-FFF2-40B4-BE49-F238E27FC236}">
                  <a16:creationId xmlns:a16="http://schemas.microsoft.com/office/drawing/2014/main" id="{65E5F0A2-22D2-4307-9626-41AB8F49FBAE}"/>
                </a:ext>
              </a:extLst>
            </p:cNvPr>
            <p:cNvSpPr/>
            <p:nvPr/>
          </p:nvSpPr>
          <p:spPr>
            <a:xfrm>
              <a:off x="7504873" y="3344718"/>
              <a:ext cx="589300" cy="589298"/>
            </a:xfrm>
            <a:prstGeom prst="ellipse">
              <a:avLst/>
            </a:prstGeom>
            <a:solidFill>
              <a:schemeClr val="accent1"/>
            </a:solidFill>
            <a:ln>
              <a:noFill/>
            </a:ln>
          </p:spPr>
          <p:txBody>
            <a:bodyPr spcFirstLastPara="1" wrap="square" lIns="91440" tIns="45720" rIns="91440" bIns="45720" anchor="ctr" anchorCtr="0">
              <a:normAutofit/>
            </a:bodyPr>
            <a:lstStyle/>
            <a:p>
              <a:pPr>
                <a:buClr>
                  <a:srgbClr val="252D30"/>
                </a:buClr>
                <a:buSzPts val="800"/>
              </a:pPr>
              <a:endParaRPr sz="800">
                <a:solidFill>
                  <a:srgbClr val="252D30"/>
                </a:solidFill>
              </a:endParaRPr>
            </a:p>
          </p:txBody>
        </p:sp>
        <p:sp>
          <p:nvSpPr>
            <p:cNvPr id="18" name="iṣḻiḋe">
              <a:extLst>
                <a:ext uri="{FF2B5EF4-FFF2-40B4-BE49-F238E27FC236}">
                  <a16:creationId xmlns:a16="http://schemas.microsoft.com/office/drawing/2014/main" id="{926DAC4C-042D-4269-8425-E5DD57832382}"/>
                </a:ext>
              </a:extLst>
            </p:cNvPr>
            <p:cNvSpPr/>
            <p:nvPr/>
          </p:nvSpPr>
          <p:spPr>
            <a:xfrm>
              <a:off x="4097863" y="3344718"/>
              <a:ext cx="589298" cy="589298"/>
            </a:xfrm>
            <a:prstGeom prst="ellipse">
              <a:avLst/>
            </a:prstGeom>
            <a:solidFill>
              <a:schemeClr val="accent1"/>
            </a:solidFill>
            <a:ln>
              <a:noFill/>
            </a:ln>
          </p:spPr>
          <p:txBody>
            <a:bodyPr spcFirstLastPara="1" wrap="square" lIns="91440" tIns="45720" rIns="91440" bIns="45720" anchor="ctr" anchorCtr="0">
              <a:normAutofit/>
            </a:bodyPr>
            <a:lstStyle/>
            <a:p>
              <a:pPr>
                <a:buClr>
                  <a:srgbClr val="252D30"/>
                </a:buClr>
                <a:buSzPts val="800"/>
              </a:pPr>
              <a:endParaRPr sz="800">
                <a:solidFill>
                  <a:srgbClr val="252D30"/>
                </a:solidFill>
              </a:endParaRPr>
            </a:p>
          </p:txBody>
        </p:sp>
        <p:sp>
          <p:nvSpPr>
            <p:cNvPr id="19" name="ï$ḻiḑé">
              <a:extLst>
                <a:ext uri="{FF2B5EF4-FFF2-40B4-BE49-F238E27FC236}">
                  <a16:creationId xmlns:a16="http://schemas.microsoft.com/office/drawing/2014/main" id="{78F56B22-993B-4BC6-AD18-B93591989067}"/>
                </a:ext>
              </a:extLst>
            </p:cNvPr>
            <p:cNvSpPr txBox="1"/>
            <p:nvPr/>
          </p:nvSpPr>
          <p:spPr bwMode="auto">
            <a:xfrm>
              <a:off x="5446103" y="3291841"/>
              <a:ext cx="1274737" cy="66821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en-US" altLang="zh-CN" sz="1600" b="1" i="1"/>
                <a:t>T</a:t>
              </a:r>
              <a:r>
                <a:rPr lang="en-US" altLang="zh-CN" sz="100" b="1" i="1"/>
                <a:t> </a:t>
              </a:r>
              <a:r>
                <a:rPr lang="en-US" altLang="zh-CN" sz="1600" b="1" i="1"/>
                <a:t>ext</a:t>
              </a:r>
              <a:endParaRPr lang="en-US" altLang="zh-CN" sz="1600" b="1" i="1" dirty="0"/>
            </a:p>
          </p:txBody>
        </p:sp>
        <p:sp>
          <p:nvSpPr>
            <p:cNvPr id="20" name="ïśľiďé">
              <a:extLst>
                <a:ext uri="{FF2B5EF4-FFF2-40B4-BE49-F238E27FC236}">
                  <a16:creationId xmlns:a16="http://schemas.microsoft.com/office/drawing/2014/main" id="{BA395ECD-B65C-404E-B37E-198CFD881EB4}"/>
                </a:ext>
              </a:extLst>
            </p:cNvPr>
            <p:cNvSpPr/>
            <p:nvPr/>
          </p:nvSpPr>
          <p:spPr bwMode="auto">
            <a:xfrm>
              <a:off x="5067616" y="1998270"/>
              <a:ext cx="371794" cy="326152"/>
            </a:xfrm>
            <a:custGeom>
              <a:avLst/>
              <a:gdLst>
                <a:gd name="connsiteX0" fmla="*/ 352921 w 607646"/>
                <a:gd name="connsiteY0" fmla="*/ 457945 h 533051"/>
                <a:gd name="connsiteX1" fmla="*/ 342979 w 607646"/>
                <a:gd name="connsiteY1" fmla="*/ 462170 h 533051"/>
                <a:gd name="connsiteX2" fmla="*/ 338854 w 607646"/>
                <a:gd name="connsiteY2" fmla="*/ 472100 h 533051"/>
                <a:gd name="connsiteX3" fmla="*/ 342979 w 607646"/>
                <a:gd name="connsiteY3" fmla="*/ 482029 h 533051"/>
                <a:gd name="connsiteX4" fmla="*/ 352921 w 607646"/>
                <a:gd name="connsiteY4" fmla="*/ 486149 h 533051"/>
                <a:gd name="connsiteX5" fmla="*/ 362863 w 607646"/>
                <a:gd name="connsiteY5" fmla="*/ 482029 h 533051"/>
                <a:gd name="connsiteX6" fmla="*/ 366987 w 607646"/>
                <a:gd name="connsiteY6" fmla="*/ 472100 h 533051"/>
                <a:gd name="connsiteX7" fmla="*/ 362863 w 607646"/>
                <a:gd name="connsiteY7" fmla="*/ 462170 h 533051"/>
                <a:gd name="connsiteX8" fmla="*/ 352921 w 607646"/>
                <a:gd name="connsiteY8" fmla="*/ 457945 h 533051"/>
                <a:gd name="connsiteX9" fmla="*/ 438485 w 607646"/>
                <a:gd name="connsiteY9" fmla="*/ 375972 h 533051"/>
                <a:gd name="connsiteX10" fmla="*/ 431081 w 607646"/>
                <a:gd name="connsiteY10" fmla="*/ 379141 h 533051"/>
                <a:gd name="connsiteX11" fmla="*/ 372699 w 607646"/>
                <a:gd name="connsiteY11" fmla="*/ 437346 h 533051"/>
                <a:gd name="connsiteX12" fmla="*/ 369632 w 607646"/>
                <a:gd name="connsiteY12" fmla="*/ 444846 h 533051"/>
                <a:gd name="connsiteX13" fmla="*/ 372699 w 607646"/>
                <a:gd name="connsiteY13" fmla="*/ 452346 h 533051"/>
                <a:gd name="connsiteX14" fmla="*/ 380208 w 607646"/>
                <a:gd name="connsiteY14" fmla="*/ 455409 h 533051"/>
                <a:gd name="connsiteX15" fmla="*/ 387612 w 607646"/>
                <a:gd name="connsiteY15" fmla="*/ 452346 h 533051"/>
                <a:gd name="connsiteX16" fmla="*/ 445994 w 607646"/>
                <a:gd name="connsiteY16" fmla="*/ 394035 h 533051"/>
                <a:gd name="connsiteX17" fmla="*/ 449062 w 607646"/>
                <a:gd name="connsiteY17" fmla="*/ 386535 h 533051"/>
                <a:gd name="connsiteX18" fmla="*/ 445994 w 607646"/>
                <a:gd name="connsiteY18" fmla="*/ 379141 h 533051"/>
                <a:gd name="connsiteX19" fmla="*/ 438485 w 607646"/>
                <a:gd name="connsiteY19" fmla="*/ 375972 h 533051"/>
                <a:gd name="connsiteX20" fmla="*/ 534943 w 607646"/>
                <a:gd name="connsiteY20" fmla="*/ 217624 h 533051"/>
                <a:gd name="connsiteX21" fmla="*/ 553981 w 607646"/>
                <a:gd name="connsiteY21" fmla="*/ 225547 h 533051"/>
                <a:gd name="connsiteX22" fmla="*/ 554404 w 607646"/>
                <a:gd name="connsiteY22" fmla="*/ 225969 h 533051"/>
                <a:gd name="connsiteX23" fmla="*/ 556520 w 607646"/>
                <a:gd name="connsiteY23" fmla="*/ 230934 h 533051"/>
                <a:gd name="connsiteX24" fmla="*/ 554510 w 607646"/>
                <a:gd name="connsiteY24" fmla="*/ 235899 h 533051"/>
                <a:gd name="connsiteX25" fmla="*/ 524050 w 607646"/>
                <a:gd name="connsiteY25" fmla="*/ 266322 h 533051"/>
                <a:gd name="connsiteX26" fmla="*/ 516752 w 607646"/>
                <a:gd name="connsiteY26" fmla="*/ 283752 h 533051"/>
                <a:gd name="connsiteX27" fmla="*/ 524050 w 607646"/>
                <a:gd name="connsiteY27" fmla="*/ 301182 h 533051"/>
                <a:gd name="connsiteX28" fmla="*/ 541501 w 607646"/>
                <a:gd name="connsiteY28" fmla="*/ 308365 h 533051"/>
                <a:gd name="connsiteX29" fmla="*/ 558952 w 607646"/>
                <a:gd name="connsiteY29" fmla="*/ 301182 h 533051"/>
                <a:gd name="connsiteX30" fmla="*/ 589413 w 607646"/>
                <a:gd name="connsiteY30" fmla="*/ 270759 h 533051"/>
                <a:gd name="connsiteX31" fmla="*/ 594384 w 607646"/>
                <a:gd name="connsiteY31" fmla="*/ 268752 h 533051"/>
                <a:gd name="connsiteX32" fmla="*/ 599355 w 607646"/>
                <a:gd name="connsiteY32" fmla="*/ 270759 h 533051"/>
                <a:gd name="connsiteX33" fmla="*/ 599778 w 607646"/>
                <a:gd name="connsiteY33" fmla="*/ 271181 h 533051"/>
                <a:gd name="connsiteX34" fmla="*/ 606758 w 607646"/>
                <a:gd name="connsiteY34" fmla="*/ 297168 h 533051"/>
                <a:gd name="connsiteX35" fmla="*/ 590047 w 607646"/>
                <a:gd name="connsiteY35" fmla="*/ 359704 h 533051"/>
                <a:gd name="connsiteX36" fmla="*/ 571010 w 607646"/>
                <a:gd name="connsiteY36" fmla="*/ 378612 h 533051"/>
                <a:gd name="connsiteX37" fmla="*/ 570798 w 607646"/>
                <a:gd name="connsiteY37" fmla="*/ 378718 h 533051"/>
                <a:gd name="connsiteX38" fmla="*/ 501627 w 607646"/>
                <a:gd name="connsiteY38" fmla="*/ 395303 h 533051"/>
                <a:gd name="connsiteX39" fmla="*/ 377987 w 607646"/>
                <a:gd name="connsiteY39" fmla="*/ 518790 h 533051"/>
                <a:gd name="connsiteX40" fmla="*/ 343507 w 607646"/>
                <a:gd name="connsiteY40" fmla="*/ 533051 h 533051"/>
                <a:gd name="connsiteX41" fmla="*/ 309028 w 607646"/>
                <a:gd name="connsiteY41" fmla="*/ 518790 h 533051"/>
                <a:gd name="connsiteX42" fmla="*/ 306066 w 607646"/>
                <a:gd name="connsiteY42" fmla="*/ 515833 h 533051"/>
                <a:gd name="connsiteX43" fmla="*/ 291788 w 607646"/>
                <a:gd name="connsiteY43" fmla="*/ 481501 h 533051"/>
                <a:gd name="connsiteX44" fmla="*/ 306066 w 607646"/>
                <a:gd name="connsiteY44" fmla="*/ 447064 h 533051"/>
                <a:gd name="connsiteX45" fmla="*/ 429707 w 607646"/>
                <a:gd name="connsiteY45" fmla="*/ 323576 h 533051"/>
                <a:gd name="connsiteX46" fmla="*/ 446418 w 607646"/>
                <a:gd name="connsiteY46" fmla="*/ 254491 h 533051"/>
                <a:gd name="connsiteX47" fmla="*/ 446418 w 607646"/>
                <a:gd name="connsiteY47" fmla="*/ 254280 h 533051"/>
                <a:gd name="connsiteX48" fmla="*/ 465455 w 607646"/>
                <a:gd name="connsiteY48" fmla="*/ 235265 h 533051"/>
                <a:gd name="connsiteX49" fmla="*/ 527963 w 607646"/>
                <a:gd name="connsiteY49" fmla="*/ 218575 h 533051"/>
                <a:gd name="connsiteX50" fmla="*/ 534943 w 607646"/>
                <a:gd name="connsiteY50" fmla="*/ 217624 h 533051"/>
                <a:gd name="connsiteX51" fmla="*/ 253873 w 607646"/>
                <a:gd name="connsiteY51" fmla="*/ 140927 h 533051"/>
                <a:gd name="connsiteX52" fmla="*/ 141005 w 607646"/>
                <a:gd name="connsiteY52" fmla="*/ 253542 h 533051"/>
                <a:gd name="connsiteX53" fmla="*/ 253873 w 607646"/>
                <a:gd name="connsiteY53" fmla="*/ 366262 h 533051"/>
                <a:gd name="connsiteX54" fmla="*/ 366741 w 607646"/>
                <a:gd name="connsiteY54" fmla="*/ 253542 h 533051"/>
                <a:gd name="connsiteX55" fmla="*/ 253873 w 607646"/>
                <a:gd name="connsiteY55" fmla="*/ 140927 h 533051"/>
                <a:gd name="connsiteX56" fmla="*/ 232929 w 607646"/>
                <a:gd name="connsiteY56" fmla="*/ 0 h 533051"/>
                <a:gd name="connsiteX57" fmla="*/ 274818 w 607646"/>
                <a:gd name="connsiteY57" fmla="*/ 0 h 533051"/>
                <a:gd name="connsiteX58" fmla="*/ 316918 w 607646"/>
                <a:gd name="connsiteY58" fmla="*/ 42045 h 533051"/>
                <a:gd name="connsiteX59" fmla="*/ 316918 w 607646"/>
                <a:gd name="connsiteY59" fmla="*/ 55885 h 533051"/>
                <a:gd name="connsiteX60" fmla="*/ 349287 w 607646"/>
                <a:gd name="connsiteY60" fmla="*/ 69301 h 533051"/>
                <a:gd name="connsiteX61" fmla="*/ 359125 w 607646"/>
                <a:gd name="connsiteY61" fmla="*/ 59476 h 533051"/>
                <a:gd name="connsiteX62" fmla="*/ 388849 w 607646"/>
                <a:gd name="connsiteY62" fmla="*/ 47222 h 533051"/>
                <a:gd name="connsiteX63" fmla="*/ 418574 w 607646"/>
                <a:gd name="connsiteY63" fmla="*/ 59476 h 533051"/>
                <a:gd name="connsiteX64" fmla="*/ 448192 w 607646"/>
                <a:gd name="connsiteY64" fmla="*/ 89162 h 533051"/>
                <a:gd name="connsiteX65" fmla="*/ 448192 w 607646"/>
                <a:gd name="connsiteY65" fmla="*/ 148533 h 533051"/>
                <a:gd name="connsiteX66" fmla="*/ 438460 w 607646"/>
                <a:gd name="connsiteY66" fmla="*/ 158252 h 533051"/>
                <a:gd name="connsiteX67" fmla="*/ 451789 w 607646"/>
                <a:gd name="connsiteY67" fmla="*/ 190684 h 533051"/>
                <a:gd name="connsiteX68" fmla="*/ 465752 w 607646"/>
                <a:gd name="connsiteY68" fmla="*/ 190684 h 533051"/>
                <a:gd name="connsiteX69" fmla="*/ 497909 w 607646"/>
                <a:gd name="connsiteY69" fmla="*/ 205685 h 533051"/>
                <a:gd name="connsiteX70" fmla="*/ 450837 w 607646"/>
                <a:gd name="connsiteY70" fmla="*/ 218257 h 533051"/>
                <a:gd name="connsiteX71" fmla="*/ 419420 w 607646"/>
                <a:gd name="connsiteY71" fmla="*/ 249739 h 533051"/>
                <a:gd name="connsiteX72" fmla="*/ 419208 w 607646"/>
                <a:gd name="connsiteY72" fmla="*/ 250372 h 533051"/>
                <a:gd name="connsiteX73" fmla="*/ 403764 w 607646"/>
                <a:gd name="connsiteY73" fmla="*/ 314603 h 533051"/>
                <a:gd name="connsiteX74" fmla="*/ 283598 w 607646"/>
                <a:gd name="connsiteY74" fmla="*/ 434613 h 533051"/>
                <a:gd name="connsiteX75" fmla="*/ 264134 w 607646"/>
                <a:gd name="connsiteY75" fmla="*/ 481518 h 533051"/>
                <a:gd name="connsiteX76" fmla="*/ 269317 w 607646"/>
                <a:gd name="connsiteY76" fmla="*/ 507083 h 533051"/>
                <a:gd name="connsiteX77" fmla="*/ 232929 w 607646"/>
                <a:gd name="connsiteY77" fmla="*/ 507083 h 533051"/>
                <a:gd name="connsiteX78" fmla="*/ 190828 w 607646"/>
                <a:gd name="connsiteY78" fmla="*/ 465143 h 533051"/>
                <a:gd name="connsiteX79" fmla="*/ 190828 w 607646"/>
                <a:gd name="connsiteY79" fmla="*/ 451304 h 533051"/>
                <a:gd name="connsiteX80" fmla="*/ 158459 w 607646"/>
                <a:gd name="connsiteY80" fmla="*/ 437888 h 533051"/>
                <a:gd name="connsiteX81" fmla="*/ 148622 w 607646"/>
                <a:gd name="connsiteY81" fmla="*/ 447712 h 533051"/>
                <a:gd name="connsiteX82" fmla="*/ 118897 w 607646"/>
                <a:gd name="connsiteY82" fmla="*/ 459967 h 533051"/>
                <a:gd name="connsiteX83" fmla="*/ 89173 w 607646"/>
                <a:gd name="connsiteY83" fmla="*/ 447712 h 533051"/>
                <a:gd name="connsiteX84" fmla="*/ 59554 w 607646"/>
                <a:gd name="connsiteY84" fmla="*/ 418027 h 533051"/>
                <a:gd name="connsiteX85" fmla="*/ 59554 w 607646"/>
                <a:gd name="connsiteY85" fmla="*/ 358656 h 533051"/>
                <a:gd name="connsiteX86" fmla="*/ 69286 w 607646"/>
                <a:gd name="connsiteY86" fmla="*/ 348831 h 533051"/>
                <a:gd name="connsiteX87" fmla="*/ 55958 w 607646"/>
                <a:gd name="connsiteY87" fmla="*/ 316505 h 533051"/>
                <a:gd name="connsiteX88" fmla="*/ 41995 w 607646"/>
                <a:gd name="connsiteY88" fmla="*/ 316505 h 533051"/>
                <a:gd name="connsiteX89" fmla="*/ 0 w 607646"/>
                <a:gd name="connsiteY89" fmla="*/ 274565 h 533051"/>
                <a:gd name="connsiteX90" fmla="*/ 0 w 607646"/>
                <a:gd name="connsiteY90" fmla="*/ 232625 h 533051"/>
                <a:gd name="connsiteX91" fmla="*/ 41995 w 607646"/>
                <a:gd name="connsiteY91" fmla="*/ 190684 h 533051"/>
                <a:gd name="connsiteX92" fmla="*/ 55958 w 607646"/>
                <a:gd name="connsiteY92" fmla="*/ 190684 h 533051"/>
                <a:gd name="connsiteX93" fmla="*/ 69286 w 607646"/>
                <a:gd name="connsiteY93" fmla="*/ 158252 h 533051"/>
                <a:gd name="connsiteX94" fmla="*/ 59554 w 607646"/>
                <a:gd name="connsiteY94" fmla="*/ 148533 h 533051"/>
                <a:gd name="connsiteX95" fmla="*/ 59554 w 607646"/>
                <a:gd name="connsiteY95" fmla="*/ 89162 h 533051"/>
                <a:gd name="connsiteX96" fmla="*/ 89173 w 607646"/>
                <a:gd name="connsiteY96" fmla="*/ 59476 h 533051"/>
                <a:gd name="connsiteX97" fmla="*/ 118897 w 607646"/>
                <a:gd name="connsiteY97" fmla="*/ 47222 h 533051"/>
                <a:gd name="connsiteX98" fmla="*/ 148622 w 607646"/>
                <a:gd name="connsiteY98" fmla="*/ 59476 h 533051"/>
                <a:gd name="connsiteX99" fmla="*/ 158459 w 607646"/>
                <a:gd name="connsiteY99" fmla="*/ 69301 h 533051"/>
                <a:gd name="connsiteX100" fmla="*/ 190828 w 607646"/>
                <a:gd name="connsiteY100" fmla="*/ 55885 h 533051"/>
                <a:gd name="connsiteX101" fmla="*/ 190828 w 607646"/>
                <a:gd name="connsiteY101" fmla="*/ 42045 h 533051"/>
                <a:gd name="connsiteX102" fmla="*/ 232929 w 607646"/>
                <a:gd name="connsiteY102" fmla="*/ 0 h 533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607646" h="533051">
                  <a:moveTo>
                    <a:pt x="352921" y="457945"/>
                  </a:moveTo>
                  <a:cubicBezTo>
                    <a:pt x="349113" y="457945"/>
                    <a:pt x="345623" y="459423"/>
                    <a:pt x="342979" y="462170"/>
                  </a:cubicBezTo>
                  <a:cubicBezTo>
                    <a:pt x="340229" y="464811"/>
                    <a:pt x="338854" y="468297"/>
                    <a:pt x="338854" y="472100"/>
                  </a:cubicBezTo>
                  <a:cubicBezTo>
                    <a:pt x="338854" y="475797"/>
                    <a:pt x="340229" y="479389"/>
                    <a:pt x="342979" y="482029"/>
                  </a:cubicBezTo>
                  <a:cubicBezTo>
                    <a:pt x="345623" y="484670"/>
                    <a:pt x="349113" y="486149"/>
                    <a:pt x="352921" y="486149"/>
                  </a:cubicBezTo>
                  <a:cubicBezTo>
                    <a:pt x="356622" y="486149"/>
                    <a:pt x="360218" y="484670"/>
                    <a:pt x="362863" y="482029"/>
                  </a:cubicBezTo>
                  <a:cubicBezTo>
                    <a:pt x="365507" y="479389"/>
                    <a:pt x="366987" y="475797"/>
                    <a:pt x="366987" y="472100"/>
                  </a:cubicBezTo>
                  <a:cubicBezTo>
                    <a:pt x="366987" y="468297"/>
                    <a:pt x="365507" y="464811"/>
                    <a:pt x="362863" y="462170"/>
                  </a:cubicBezTo>
                  <a:cubicBezTo>
                    <a:pt x="360218" y="459423"/>
                    <a:pt x="356622" y="457945"/>
                    <a:pt x="352921" y="457945"/>
                  </a:cubicBezTo>
                  <a:close/>
                  <a:moveTo>
                    <a:pt x="438485" y="375972"/>
                  </a:moveTo>
                  <a:cubicBezTo>
                    <a:pt x="435735" y="375972"/>
                    <a:pt x="432985" y="377134"/>
                    <a:pt x="431081" y="379141"/>
                  </a:cubicBezTo>
                  <a:lnTo>
                    <a:pt x="372699" y="437346"/>
                  </a:lnTo>
                  <a:cubicBezTo>
                    <a:pt x="370689" y="439353"/>
                    <a:pt x="369632" y="441994"/>
                    <a:pt x="369632" y="444846"/>
                  </a:cubicBezTo>
                  <a:cubicBezTo>
                    <a:pt x="369632" y="447698"/>
                    <a:pt x="370689" y="450339"/>
                    <a:pt x="372699" y="452346"/>
                  </a:cubicBezTo>
                  <a:cubicBezTo>
                    <a:pt x="374708" y="454353"/>
                    <a:pt x="377352" y="455409"/>
                    <a:pt x="380208" y="455409"/>
                  </a:cubicBezTo>
                  <a:cubicBezTo>
                    <a:pt x="382958" y="455409"/>
                    <a:pt x="385602" y="454353"/>
                    <a:pt x="387612" y="452346"/>
                  </a:cubicBezTo>
                  <a:lnTo>
                    <a:pt x="445994" y="394035"/>
                  </a:lnTo>
                  <a:cubicBezTo>
                    <a:pt x="448004" y="392028"/>
                    <a:pt x="449062" y="389387"/>
                    <a:pt x="449062" y="386535"/>
                  </a:cubicBezTo>
                  <a:cubicBezTo>
                    <a:pt x="449062" y="383789"/>
                    <a:pt x="448004" y="381148"/>
                    <a:pt x="445994" y="379141"/>
                  </a:cubicBezTo>
                  <a:cubicBezTo>
                    <a:pt x="443985" y="377134"/>
                    <a:pt x="441341" y="375972"/>
                    <a:pt x="438485" y="375972"/>
                  </a:cubicBezTo>
                  <a:close/>
                  <a:moveTo>
                    <a:pt x="534943" y="217624"/>
                  </a:moveTo>
                  <a:cubicBezTo>
                    <a:pt x="542136" y="217624"/>
                    <a:pt x="548905" y="220371"/>
                    <a:pt x="553981" y="225547"/>
                  </a:cubicBezTo>
                  <a:lnTo>
                    <a:pt x="554404" y="225969"/>
                  </a:lnTo>
                  <a:cubicBezTo>
                    <a:pt x="555779" y="227237"/>
                    <a:pt x="556520" y="229033"/>
                    <a:pt x="556520" y="230934"/>
                  </a:cubicBezTo>
                  <a:cubicBezTo>
                    <a:pt x="556520" y="232836"/>
                    <a:pt x="555779" y="234632"/>
                    <a:pt x="554510" y="235899"/>
                  </a:cubicBezTo>
                  <a:lnTo>
                    <a:pt x="524050" y="266322"/>
                  </a:lnTo>
                  <a:cubicBezTo>
                    <a:pt x="519396" y="270970"/>
                    <a:pt x="516752" y="277203"/>
                    <a:pt x="516752" y="283752"/>
                  </a:cubicBezTo>
                  <a:cubicBezTo>
                    <a:pt x="516752" y="290301"/>
                    <a:pt x="519396" y="296534"/>
                    <a:pt x="524050" y="301182"/>
                  </a:cubicBezTo>
                  <a:cubicBezTo>
                    <a:pt x="528703" y="305830"/>
                    <a:pt x="534838" y="308365"/>
                    <a:pt x="541501" y="308365"/>
                  </a:cubicBezTo>
                  <a:cubicBezTo>
                    <a:pt x="548058" y="308365"/>
                    <a:pt x="554299" y="305830"/>
                    <a:pt x="558952" y="301182"/>
                  </a:cubicBezTo>
                  <a:lnTo>
                    <a:pt x="589413" y="270759"/>
                  </a:lnTo>
                  <a:cubicBezTo>
                    <a:pt x="590682" y="269491"/>
                    <a:pt x="592480" y="268752"/>
                    <a:pt x="594384" y="268752"/>
                  </a:cubicBezTo>
                  <a:cubicBezTo>
                    <a:pt x="596288" y="268752"/>
                    <a:pt x="597980" y="269491"/>
                    <a:pt x="599355" y="270759"/>
                  </a:cubicBezTo>
                  <a:lnTo>
                    <a:pt x="599778" y="271181"/>
                  </a:lnTo>
                  <a:cubicBezTo>
                    <a:pt x="606547" y="277942"/>
                    <a:pt x="609191" y="287977"/>
                    <a:pt x="606758" y="297168"/>
                  </a:cubicBezTo>
                  <a:lnTo>
                    <a:pt x="590047" y="359704"/>
                  </a:lnTo>
                  <a:cubicBezTo>
                    <a:pt x="587509" y="368894"/>
                    <a:pt x="580211" y="376183"/>
                    <a:pt x="571010" y="378612"/>
                  </a:cubicBezTo>
                  <a:cubicBezTo>
                    <a:pt x="570904" y="378718"/>
                    <a:pt x="570904" y="378718"/>
                    <a:pt x="570798" y="378718"/>
                  </a:cubicBezTo>
                  <a:lnTo>
                    <a:pt x="501627" y="395303"/>
                  </a:lnTo>
                  <a:lnTo>
                    <a:pt x="377987" y="518790"/>
                  </a:lnTo>
                  <a:cubicBezTo>
                    <a:pt x="368785" y="527981"/>
                    <a:pt x="356517" y="533051"/>
                    <a:pt x="343507" y="533051"/>
                  </a:cubicBezTo>
                  <a:cubicBezTo>
                    <a:pt x="330498" y="533051"/>
                    <a:pt x="318229" y="527981"/>
                    <a:pt x="309028" y="518790"/>
                  </a:cubicBezTo>
                  <a:lnTo>
                    <a:pt x="306066" y="515833"/>
                  </a:lnTo>
                  <a:cubicBezTo>
                    <a:pt x="296865" y="506642"/>
                    <a:pt x="291788" y="494494"/>
                    <a:pt x="291788" y="481501"/>
                  </a:cubicBezTo>
                  <a:cubicBezTo>
                    <a:pt x="291788" y="468402"/>
                    <a:pt x="296865" y="456254"/>
                    <a:pt x="306066" y="447064"/>
                  </a:cubicBezTo>
                  <a:lnTo>
                    <a:pt x="429707" y="323576"/>
                  </a:lnTo>
                  <a:lnTo>
                    <a:pt x="446418" y="254491"/>
                  </a:lnTo>
                  <a:cubicBezTo>
                    <a:pt x="446418" y="254385"/>
                    <a:pt x="446418" y="254385"/>
                    <a:pt x="446418" y="254280"/>
                  </a:cubicBezTo>
                  <a:cubicBezTo>
                    <a:pt x="448956" y="245089"/>
                    <a:pt x="456254" y="237801"/>
                    <a:pt x="465455" y="235265"/>
                  </a:cubicBezTo>
                  <a:lnTo>
                    <a:pt x="527963" y="218575"/>
                  </a:lnTo>
                  <a:cubicBezTo>
                    <a:pt x="530290" y="217941"/>
                    <a:pt x="532617" y="217624"/>
                    <a:pt x="534943" y="217624"/>
                  </a:cubicBezTo>
                  <a:close/>
                  <a:moveTo>
                    <a:pt x="253873" y="140927"/>
                  </a:moveTo>
                  <a:cubicBezTo>
                    <a:pt x="191674" y="140927"/>
                    <a:pt x="141005" y="191424"/>
                    <a:pt x="141005" y="253542"/>
                  </a:cubicBezTo>
                  <a:cubicBezTo>
                    <a:pt x="141005" y="315765"/>
                    <a:pt x="191674" y="366262"/>
                    <a:pt x="253873" y="366262"/>
                  </a:cubicBezTo>
                  <a:cubicBezTo>
                    <a:pt x="316072" y="366262"/>
                    <a:pt x="366741" y="315765"/>
                    <a:pt x="366741" y="253542"/>
                  </a:cubicBezTo>
                  <a:cubicBezTo>
                    <a:pt x="366741" y="191424"/>
                    <a:pt x="316072" y="140927"/>
                    <a:pt x="253873" y="140927"/>
                  </a:cubicBezTo>
                  <a:close/>
                  <a:moveTo>
                    <a:pt x="232929" y="0"/>
                  </a:moveTo>
                  <a:lnTo>
                    <a:pt x="274818" y="0"/>
                  </a:lnTo>
                  <a:cubicBezTo>
                    <a:pt x="298090" y="0"/>
                    <a:pt x="316918" y="18910"/>
                    <a:pt x="316918" y="42045"/>
                  </a:cubicBezTo>
                  <a:lnTo>
                    <a:pt x="316918" y="55885"/>
                  </a:lnTo>
                  <a:cubicBezTo>
                    <a:pt x="328025" y="59371"/>
                    <a:pt x="338921" y="63913"/>
                    <a:pt x="349287" y="69301"/>
                  </a:cubicBezTo>
                  <a:lnTo>
                    <a:pt x="359125" y="59476"/>
                  </a:lnTo>
                  <a:cubicBezTo>
                    <a:pt x="367058" y="51553"/>
                    <a:pt x="377637" y="47222"/>
                    <a:pt x="388849" y="47222"/>
                  </a:cubicBezTo>
                  <a:cubicBezTo>
                    <a:pt x="400062" y="47222"/>
                    <a:pt x="410640" y="51553"/>
                    <a:pt x="418574" y="59476"/>
                  </a:cubicBezTo>
                  <a:lnTo>
                    <a:pt x="448192" y="89162"/>
                  </a:lnTo>
                  <a:cubicBezTo>
                    <a:pt x="464588" y="105536"/>
                    <a:pt x="464588" y="132158"/>
                    <a:pt x="448192" y="148533"/>
                  </a:cubicBezTo>
                  <a:lnTo>
                    <a:pt x="438460" y="158252"/>
                  </a:lnTo>
                  <a:cubicBezTo>
                    <a:pt x="443749" y="168710"/>
                    <a:pt x="448298" y="179486"/>
                    <a:pt x="451789" y="190684"/>
                  </a:cubicBezTo>
                  <a:lnTo>
                    <a:pt x="465752" y="190684"/>
                  </a:lnTo>
                  <a:cubicBezTo>
                    <a:pt x="478657" y="190684"/>
                    <a:pt x="490187" y="196494"/>
                    <a:pt x="497909" y="205685"/>
                  </a:cubicBezTo>
                  <a:lnTo>
                    <a:pt x="450837" y="218257"/>
                  </a:lnTo>
                  <a:cubicBezTo>
                    <a:pt x="435604" y="222377"/>
                    <a:pt x="423440" y="234420"/>
                    <a:pt x="419420" y="249739"/>
                  </a:cubicBezTo>
                  <a:cubicBezTo>
                    <a:pt x="419314" y="249950"/>
                    <a:pt x="419314" y="250161"/>
                    <a:pt x="419208" y="250372"/>
                  </a:cubicBezTo>
                  <a:lnTo>
                    <a:pt x="403764" y="314603"/>
                  </a:lnTo>
                  <a:lnTo>
                    <a:pt x="283598" y="434613"/>
                  </a:lnTo>
                  <a:cubicBezTo>
                    <a:pt x="271010" y="447078"/>
                    <a:pt x="264134" y="463770"/>
                    <a:pt x="264134" y="481518"/>
                  </a:cubicBezTo>
                  <a:cubicBezTo>
                    <a:pt x="264134" y="490392"/>
                    <a:pt x="265932" y="499160"/>
                    <a:pt x="269317" y="507083"/>
                  </a:cubicBezTo>
                  <a:lnTo>
                    <a:pt x="232929" y="507083"/>
                  </a:lnTo>
                  <a:cubicBezTo>
                    <a:pt x="209657" y="507083"/>
                    <a:pt x="190828" y="488279"/>
                    <a:pt x="190828" y="465143"/>
                  </a:cubicBezTo>
                  <a:lnTo>
                    <a:pt x="190828" y="451304"/>
                  </a:lnTo>
                  <a:cubicBezTo>
                    <a:pt x="179721" y="447712"/>
                    <a:pt x="168826" y="443275"/>
                    <a:pt x="158459" y="437888"/>
                  </a:cubicBezTo>
                  <a:lnTo>
                    <a:pt x="148622" y="447712"/>
                  </a:lnTo>
                  <a:cubicBezTo>
                    <a:pt x="140688" y="455635"/>
                    <a:pt x="130110" y="459967"/>
                    <a:pt x="118897" y="459967"/>
                  </a:cubicBezTo>
                  <a:cubicBezTo>
                    <a:pt x="107685" y="459967"/>
                    <a:pt x="97107" y="455635"/>
                    <a:pt x="89173" y="447712"/>
                  </a:cubicBezTo>
                  <a:lnTo>
                    <a:pt x="59554" y="418027"/>
                  </a:lnTo>
                  <a:cubicBezTo>
                    <a:pt x="43158" y="401652"/>
                    <a:pt x="43158" y="375030"/>
                    <a:pt x="59554" y="358656"/>
                  </a:cubicBezTo>
                  <a:lnTo>
                    <a:pt x="69286" y="348831"/>
                  </a:lnTo>
                  <a:cubicBezTo>
                    <a:pt x="63997" y="338478"/>
                    <a:pt x="59449" y="327597"/>
                    <a:pt x="55958" y="316505"/>
                  </a:cubicBezTo>
                  <a:lnTo>
                    <a:pt x="41995" y="316505"/>
                  </a:lnTo>
                  <a:cubicBezTo>
                    <a:pt x="18829" y="316505"/>
                    <a:pt x="0" y="297700"/>
                    <a:pt x="0" y="274565"/>
                  </a:cubicBezTo>
                  <a:lnTo>
                    <a:pt x="0" y="232625"/>
                  </a:lnTo>
                  <a:cubicBezTo>
                    <a:pt x="0" y="209488"/>
                    <a:pt x="18829" y="190684"/>
                    <a:pt x="41995" y="190684"/>
                  </a:cubicBezTo>
                  <a:lnTo>
                    <a:pt x="55958" y="190684"/>
                  </a:lnTo>
                  <a:cubicBezTo>
                    <a:pt x="59449" y="179486"/>
                    <a:pt x="63997" y="168710"/>
                    <a:pt x="69286" y="158252"/>
                  </a:cubicBezTo>
                  <a:lnTo>
                    <a:pt x="59554" y="148533"/>
                  </a:lnTo>
                  <a:cubicBezTo>
                    <a:pt x="43158" y="132158"/>
                    <a:pt x="43158" y="105536"/>
                    <a:pt x="59554" y="89162"/>
                  </a:cubicBezTo>
                  <a:lnTo>
                    <a:pt x="89173" y="59476"/>
                  </a:lnTo>
                  <a:cubicBezTo>
                    <a:pt x="97107" y="51553"/>
                    <a:pt x="107685" y="47222"/>
                    <a:pt x="118897" y="47222"/>
                  </a:cubicBezTo>
                  <a:cubicBezTo>
                    <a:pt x="130110" y="47222"/>
                    <a:pt x="140688" y="51553"/>
                    <a:pt x="148622" y="59476"/>
                  </a:cubicBezTo>
                  <a:lnTo>
                    <a:pt x="158459" y="69301"/>
                  </a:lnTo>
                  <a:cubicBezTo>
                    <a:pt x="168826" y="63913"/>
                    <a:pt x="179721" y="59371"/>
                    <a:pt x="190828" y="55885"/>
                  </a:cubicBezTo>
                  <a:lnTo>
                    <a:pt x="190828" y="42045"/>
                  </a:lnTo>
                  <a:cubicBezTo>
                    <a:pt x="190828" y="18910"/>
                    <a:pt x="209657" y="0"/>
                    <a:pt x="232929" y="0"/>
                  </a:cubicBezTo>
                  <a:close/>
                </a:path>
              </a:pathLst>
            </a:custGeom>
            <a:solidFill>
              <a:schemeClr val="bg1"/>
            </a:solidFill>
            <a:ln>
              <a:noFill/>
            </a:ln>
          </p:spPr>
          <p:txBody>
            <a:bodyPr/>
            <a:lstStyle/>
            <a:p>
              <a:endParaRPr lang="zh-CN" altLang="en-US"/>
            </a:p>
          </p:txBody>
        </p:sp>
        <p:sp>
          <p:nvSpPr>
            <p:cNvPr id="21" name="iṧḻîdê">
              <a:extLst>
                <a:ext uri="{FF2B5EF4-FFF2-40B4-BE49-F238E27FC236}">
                  <a16:creationId xmlns:a16="http://schemas.microsoft.com/office/drawing/2014/main" id="{309E38F4-6179-44E7-9F25-6290AFC11BA0}"/>
                </a:ext>
              </a:extLst>
            </p:cNvPr>
            <p:cNvSpPr/>
            <p:nvPr/>
          </p:nvSpPr>
          <p:spPr bwMode="auto">
            <a:xfrm>
              <a:off x="6765955" y="1998270"/>
              <a:ext cx="371794" cy="326152"/>
            </a:xfrm>
            <a:custGeom>
              <a:avLst/>
              <a:gdLst>
                <a:gd name="connsiteX0" fmla="*/ 352921 w 607646"/>
                <a:gd name="connsiteY0" fmla="*/ 457945 h 533051"/>
                <a:gd name="connsiteX1" fmla="*/ 342979 w 607646"/>
                <a:gd name="connsiteY1" fmla="*/ 462170 h 533051"/>
                <a:gd name="connsiteX2" fmla="*/ 338854 w 607646"/>
                <a:gd name="connsiteY2" fmla="*/ 472100 h 533051"/>
                <a:gd name="connsiteX3" fmla="*/ 342979 w 607646"/>
                <a:gd name="connsiteY3" fmla="*/ 482029 h 533051"/>
                <a:gd name="connsiteX4" fmla="*/ 352921 w 607646"/>
                <a:gd name="connsiteY4" fmla="*/ 486149 h 533051"/>
                <a:gd name="connsiteX5" fmla="*/ 362863 w 607646"/>
                <a:gd name="connsiteY5" fmla="*/ 482029 h 533051"/>
                <a:gd name="connsiteX6" fmla="*/ 366987 w 607646"/>
                <a:gd name="connsiteY6" fmla="*/ 472100 h 533051"/>
                <a:gd name="connsiteX7" fmla="*/ 362863 w 607646"/>
                <a:gd name="connsiteY7" fmla="*/ 462170 h 533051"/>
                <a:gd name="connsiteX8" fmla="*/ 352921 w 607646"/>
                <a:gd name="connsiteY8" fmla="*/ 457945 h 533051"/>
                <a:gd name="connsiteX9" fmla="*/ 438485 w 607646"/>
                <a:gd name="connsiteY9" fmla="*/ 375972 h 533051"/>
                <a:gd name="connsiteX10" fmla="*/ 431081 w 607646"/>
                <a:gd name="connsiteY10" fmla="*/ 379141 h 533051"/>
                <a:gd name="connsiteX11" fmla="*/ 372699 w 607646"/>
                <a:gd name="connsiteY11" fmla="*/ 437346 h 533051"/>
                <a:gd name="connsiteX12" fmla="*/ 369632 w 607646"/>
                <a:gd name="connsiteY12" fmla="*/ 444846 h 533051"/>
                <a:gd name="connsiteX13" fmla="*/ 372699 w 607646"/>
                <a:gd name="connsiteY13" fmla="*/ 452346 h 533051"/>
                <a:gd name="connsiteX14" fmla="*/ 380208 w 607646"/>
                <a:gd name="connsiteY14" fmla="*/ 455409 h 533051"/>
                <a:gd name="connsiteX15" fmla="*/ 387612 w 607646"/>
                <a:gd name="connsiteY15" fmla="*/ 452346 h 533051"/>
                <a:gd name="connsiteX16" fmla="*/ 445994 w 607646"/>
                <a:gd name="connsiteY16" fmla="*/ 394035 h 533051"/>
                <a:gd name="connsiteX17" fmla="*/ 449062 w 607646"/>
                <a:gd name="connsiteY17" fmla="*/ 386535 h 533051"/>
                <a:gd name="connsiteX18" fmla="*/ 445994 w 607646"/>
                <a:gd name="connsiteY18" fmla="*/ 379141 h 533051"/>
                <a:gd name="connsiteX19" fmla="*/ 438485 w 607646"/>
                <a:gd name="connsiteY19" fmla="*/ 375972 h 533051"/>
                <a:gd name="connsiteX20" fmla="*/ 534943 w 607646"/>
                <a:gd name="connsiteY20" fmla="*/ 217624 h 533051"/>
                <a:gd name="connsiteX21" fmla="*/ 553981 w 607646"/>
                <a:gd name="connsiteY21" fmla="*/ 225547 h 533051"/>
                <a:gd name="connsiteX22" fmla="*/ 554404 w 607646"/>
                <a:gd name="connsiteY22" fmla="*/ 225969 h 533051"/>
                <a:gd name="connsiteX23" fmla="*/ 556520 w 607646"/>
                <a:gd name="connsiteY23" fmla="*/ 230934 h 533051"/>
                <a:gd name="connsiteX24" fmla="*/ 554510 w 607646"/>
                <a:gd name="connsiteY24" fmla="*/ 235899 h 533051"/>
                <a:gd name="connsiteX25" fmla="*/ 524050 w 607646"/>
                <a:gd name="connsiteY25" fmla="*/ 266322 h 533051"/>
                <a:gd name="connsiteX26" fmla="*/ 516752 w 607646"/>
                <a:gd name="connsiteY26" fmla="*/ 283752 h 533051"/>
                <a:gd name="connsiteX27" fmla="*/ 524050 w 607646"/>
                <a:gd name="connsiteY27" fmla="*/ 301182 h 533051"/>
                <a:gd name="connsiteX28" fmla="*/ 541501 w 607646"/>
                <a:gd name="connsiteY28" fmla="*/ 308365 h 533051"/>
                <a:gd name="connsiteX29" fmla="*/ 558952 w 607646"/>
                <a:gd name="connsiteY29" fmla="*/ 301182 h 533051"/>
                <a:gd name="connsiteX30" fmla="*/ 589413 w 607646"/>
                <a:gd name="connsiteY30" fmla="*/ 270759 h 533051"/>
                <a:gd name="connsiteX31" fmla="*/ 594384 w 607646"/>
                <a:gd name="connsiteY31" fmla="*/ 268752 h 533051"/>
                <a:gd name="connsiteX32" fmla="*/ 599355 w 607646"/>
                <a:gd name="connsiteY32" fmla="*/ 270759 h 533051"/>
                <a:gd name="connsiteX33" fmla="*/ 599778 w 607646"/>
                <a:gd name="connsiteY33" fmla="*/ 271181 h 533051"/>
                <a:gd name="connsiteX34" fmla="*/ 606758 w 607646"/>
                <a:gd name="connsiteY34" fmla="*/ 297168 h 533051"/>
                <a:gd name="connsiteX35" fmla="*/ 590047 w 607646"/>
                <a:gd name="connsiteY35" fmla="*/ 359704 h 533051"/>
                <a:gd name="connsiteX36" fmla="*/ 571010 w 607646"/>
                <a:gd name="connsiteY36" fmla="*/ 378612 h 533051"/>
                <a:gd name="connsiteX37" fmla="*/ 570798 w 607646"/>
                <a:gd name="connsiteY37" fmla="*/ 378718 h 533051"/>
                <a:gd name="connsiteX38" fmla="*/ 501627 w 607646"/>
                <a:gd name="connsiteY38" fmla="*/ 395303 h 533051"/>
                <a:gd name="connsiteX39" fmla="*/ 377987 w 607646"/>
                <a:gd name="connsiteY39" fmla="*/ 518790 h 533051"/>
                <a:gd name="connsiteX40" fmla="*/ 343507 w 607646"/>
                <a:gd name="connsiteY40" fmla="*/ 533051 h 533051"/>
                <a:gd name="connsiteX41" fmla="*/ 309028 w 607646"/>
                <a:gd name="connsiteY41" fmla="*/ 518790 h 533051"/>
                <a:gd name="connsiteX42" fmla="*/ 306066 w 607646"/>
                <a:gd name="connsiteY42" fmla="*/ 515833 h 533051"/>
                <a:gd name="connsiteX43" fmla="*/ 291788 w 607646"/>
                <a:gd name="connsiteY43" fmla="*/ 481501 h 533051"/>
                <a:gd name="connsiteX44" fmla="*/ 306066 w 607646"/>
                <a:gd name="connsiteY44" fmla="*/ 447064 h 533051"/>
                <a:gd name="connsiteX45" fmla="*/ 429707 w 607646"/>
                <a:gd name="connsiteY45" fmla="*/ 323576 h 533051"/>
                <a:gd name="connsiteX46" fmla="*/ 446418 w 607646"/>
                <a:gd name="connsiteY46" fmla="*/ 254491 h 533051"/>
                <a:gd name="connsiteX47" fmla="*/ 446418 w 607646"/>
                <a:gd name="connsiteY47" fmla="*/ 254280 h 533051"/>
                <a:gd name="connsiteX48" fmla="*/ 465455 w 607646"/>
                <a:gd name="connsiteY48" fmla="*/ 235265 h 533051"/>
                <a:gd name="connsiteX49" fmla="*/ 527963 w 607646"/>
                <a:gd name="connsiteY49" fmla="*/ 218575 h 533051"/>
                <a:gd name="connsiteX50" fmla="*/ 534943 w 607646"/>
                <a:gd name="connsiteY50" fmla="*/ 217624 h 533051"/>
                <a:gd name="connsiteX51" fmla="*/ 253873 w 607646"/>
                <a:gd name="connsiteY51" fmla="*/ 140927 h 533051"/>
                <a:gd name="connsiteX52" fmla="*/ 141005 w 607646"/>
                <a:gd name="connsiteY52" fmla="*/ 253542 h 533051"/>
                <a:gd name="connsiteX53" fmla="*/ 253873 w 607646"/>
                <a:gd name="connsiteY53" fmla="*/ 366262 h 533051"/>
                <a:gd name="connsiteX54" fmla="*/ 366741 w 607646"/>
                <a:gd name="connsiteY54" fmla="*/ 253542 h 533051"/>
                <a:gd name="connsiteX55" fmla="*/ 253873 w 607646"/>
                <a:gd name="connsiteY55" fmla="*/ 140927 h 533051"/>
                <a:gd name="connsiteX56" fmla="*/ 232929 w 607646"/>
                <a:gd name="connsiteY56" fmla="*/ 0 h 533051"/>
                <a:gd name="connsiteX57" fmla="*/ 274818 w 607646"/>
                <a:gd name="connsiteY57" fmla="*/ 0 h 533051"/>
                <a:gd name="connsiteX58" fmla="*/ 316918 w 607646"/>
                <a:gd name="connsiteY58" fmla="*/ 42045 h 533051"/>
                <a:gd name="connsiteX59" fmla="*/ 316918 w 607646"/>
                <a:gd name="connsiteY59" fmla="*/ 55885 h 533051"/>
                <a:gd name="connsiteX60" fmla="*/ 349287 w 607646"/>
                <a:gd name="connsiteY60" fmla="*/ 69301 h 533051"/>
                <a:gd name="connsiteX61" fmla="*/ 359125 w 607646"/>
                <a:gd name="connsiteY61" fmla="*/ 59476 h 533051"/>
                <a:gd name="connsiteX62" fmla="*/ 388849 w 607646"/>
                <a:gd name="connsiteY62" fmla="*/ 47222 h 533051"/>
                <a:gd name="connsiteX63" fmla="*/ 418574 w 607646"/>
                <a:gd name="connsiteY63" fmla="*/ 59476 h 533051"/>
                <a:gd name="connsiteX64" fmla="*/ 448192 w 607646"/>
                <a:gd name="connsiteY64" fmla="*/ 89162 h 533051"/>
                <a:gd name="connsiteX65" fmla="*/ 448192 w 607646"/>
                <a:gd name="connsiteY65" fmla="*/ 148533 h 533051"/>
                <a:gd name="connsiteX66" fmla="*/ 438460 w 607646"/>
                <a:gd name="connsiteY66" fmla="*/ 158252 h 533051"/>
                <a:gd name="connsiteX67" fmla="*/ 451789 w 607646"/>
                <a:gd name="connsiteY67" fmla="*/ 190684 h 533051"/>
                <a:gd name="connsiteX68" fmla="*/ 465752 w 607646"/>
                <a:gd name="connsiteY68" fmla="*/ 190684 h 533051"/>
                <a:gd name="connsiteX69" fmla="*/ 497909 w 607646"/>
                <a:gd name="connsiteY69" fmla="*/ 205685 h 533051"/>
                <a:gd name="connsiteX70" fmla="*/ 450837 w 607646"/>
                <a:gd name="connsiteY70" fmla="*/ 218257 h 533051"/>
                <a:gd name="connsiteX71" fmla="*/ 419420 w 607646"/>
                <a:gd name="connsiteY71" fmla="*/ 249739 h 533051"/>
                <a:gd name="connsiteX72" fmla="*/ 419208 w 607646"/>
                <a:gd name="connsiteY72" fmla="*/ 250372 h 533051"/>
                <a:gd name="connsiteX73" fmla="*/ 403764 w 607646"/>
                <a:gd name="connsiteY73" fmla="*/ 314603 h 533051"/>
                <a:gd name="connsiteX74" fmla="*/ 283598 w 607646"/>
                <a:gd name="connsiteY74" fmla="*/ 434613 h 533051"/>
                <a:gd name="connsiteX75" fmla="*/ 264134 w 607646"/>
                <a:gd name="connsiteY75" fmla="*/ 481518 h 533051"/>
                <a:gd name="connsiteX76" fmla="*/ 269317 w 607646"/>
                <a:gd name="connsiteY76" fmla="*/ 507083 h 533051"/>
                <a:gd name="connsiteX77" fmla="*/ 232929 w 607646"/>
                <a:gd name="connsiteY77" fmla="*/ 507083 h 533051"/>
                <a:gd name="connsiteX78" fmla="*/ 190828 w 607646"/>
                <a:gd name="connsiteY78" fmla="*/ 465143 h 533051"/>
                <a:gd name="connsiteX79" fmla="*/ 190828 w 607646"/>
                <a:gd name="connsiteY79" fmla="*/ 451304 h 533051"/>
                <a:gd name="connsiteX80" fmla="*/ 158459 w 607646"/>
                <a:gd name="connsiteY80" fmla="*/ 437888 h 533051"/>
                <a:gd name="connsiteX81" fmla="*/ 148622 w 607646"/>
                <a:gd name="connsiteY81" fmla="*/ 447712 h 533051"/>
                <a:gd name="connsiteX82" fmla="*/ 118897 w 607646"/>
                <a:gd name="connsiteY82" fmla="*/ 459967 h 533051"/>
                <a:gd name="connsiteX83" fmla="*/ 89173 w 607646"/>
                <a:gd name="connsiteY83" fmla="*/ 447712 h 533051"/>
                <a:gd name="connsiteX84" fmla="*/ 59554 w 607646"/>
                <a:gd name="connsiteY84" fmla="*/ 418027 h 533051"/>
                <a:gd name="connsiteX85" fmla="*/ 59554 w 607646"/>
                <a:gd name="connsiteY85" fmla="*/ 358656 h 533051"/>
                <a:gd name="connsiteX86" fmla="*/ 69286 w 607646"/>
                <a:gd name="connsiteY86" fmla="*/ 348831 h 533051"/>
                <a:gd name="connsiteX87" fmla="*/ 55958 w 607646"/>
                <a:gd name="connsiteY87" fmla="*/ 316505 h 533051"/>
                <a:gd name="connsiteX88" fmla="*/ 41995 w 607646"/>
                <a:gd name="connsiteY88" fmla="*/ 316505 h 533051"/>
                <a:gd name="connsiteX89" fmla="*/ 0 w 607646"/>
                <a:gd name="connsiteY89" fmla="*/ 274565 h 533051"/>
                <a:gd name="connsiteX90" fmla="*/ 0 w 607646"/>
                <a:gd name="connsiteY90" fmla="*/ 232625 h 533051"/>
                <a:gd name="connsiteX91" fmla="*/ 41995 w 607646"/>
                <a:gd name="connsiteY91" fmla="*/ 190684 h 533051"/>
                <a:gd name="connsiteX92" fmla="*/ 55958 w 607646"/>
                <a:gd name="connsiteY92" fmla="*/ 190684 h 533051"/>
                <a:gd name="connsiteX93" fmla="*/ 69286 w 607646"/>
                <a:gd name="connsiteY93" fmla="*/ 158252 h 533051"/>
                <a:gd name="connsiteX94" fmla="*/ 59554 w 607646"/>
                <a:gd name="connsiteY94" fmla="*/ 148533 h 533051"/>
                <a:gd name="connsiteX95" fmla="*/ 59554 w 607646"/>
                <a:gd name="connsiteY95" fmla="*/ 89162 h 533051"/>
                <a:gd name="connsiteX96" fmla="*/ 89173 w 607646"/>
                <a:gd name="connsiteY96" fmla="*/ 59476 h 533051"/>
                <a:gd name="connsiteX97" fmla="*/ 118897 w 607646"/>
                <a:gd name="connsiteY97" fmla="*/ 47222 h 533051"/>
                <a:gd name="connsiteX98" fmla="*/ 148622 w 607646"/>
                <a:gd name="connsiteY98" fmla="*/ 59476 h 533051"/>
                <a:gd name="connsiteX99" fmla="*/ 158459 w 607646"/>
                <a:gd name="connsiteY99" fmla="*/ 69301 h 533051"/>
                <a:gd name="connsiteX100" fmla="*/ 190828 w 607646"/>
                <a:gd name="connsiteY100" fmla="*/ 55885 h 533051"/>
                <a:gd name="connsiteX101" fmla="*/ 190828 w 607646"/>
                <a:gd name="connsiteY101" fmla="*/ 42045 h 533051"/>
                <a:gd name="connsiteX102" fmla="*/ 232929 w 607646"/>
                <a:gd name="connsiteY102" fmla="*/ 0 h 533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607646" h="533051">
                  <a:moveTo>
                    <a:pt x="352921" y="457945"/>
                  </a:moveTo>
                  <a:cubicBezTo>
                    <a:pt x="349113" y="457945"/>
                    <a:pt x="345623" y="459423"/>
                    <a:pt x="342979" y="462170"/>
                  </a:cubicBezTo>
                  <a:cubicBezTo>
                    <a:pt x="340229" y="464811"/>
                    <a:pt x="338854" y="468297"/>
                    <a:pt x="338854" y="472100"/>
                  </a:cubicBezTo>
                  <a:cubicBezTo>
                    <a:pt x="338854" y="475797"/>
                    <a:pt x="340229" y="479389"/>
                    <a:pt x="342979" y="482029"/>
                  </a:cubicBezTo>
                  <a:cubicBezTo>
                    <a:pt x="345623" y="484670"/>
                    <a:pt x="349113" y="486149"/>
                    <a:pt x="352921" y="486149"/>
                  </a:cubicBezTo>
                  <a:cubicBezTo>
                    <a:pt x="356622" y="486149"/>
                    <a:pt x="360218" y="484670"/>
                    <a:pt x="362863" y="482029"/>
                  </a:cubicBezTo>
                  <a:cubicBezTo>
                    <a:pt x="365507" y="479389"/>
                    <a:pt x="366987" y="475797"/>
                    <a:pt x="366987" y="472100"/>
                  </a:cubicBezTo>
                  <a:cubicBezTo>
                    <a:pt x="366987" y="468297"/>
                    <a:pt x="365507" y="464811"/>
                    <a:pt x="362863" y="462170"/>
                  </a:cubicBezTo>
                  <a:cubicBezTo>
                    <a:pt x="360218" y="459423"/>
                    <a:pt x="356622" y="457945"/>
                    <a:pt x="352921" y="457945"/>
                  </a:cubicBezTo>
                  <a:close/>
                  <a:moveTo>
                    <a:pt x="438485" y="375972"/>
                  </a:moveTo>
                  <a:cubicBezTo>
                    <a:pt x="435735" y="375972"/>
                    <a:pt x="432985" y="377134"/>
                    <a:pt x="431081" y="379141"/>
                  </a:cubicBezTo>
                  <a:lnTo>
                    <a:pt x="372699" y="437346"/>
                  </a:lnTo>
                  <a:cubicBezTo>
                    <a:pt x="370689" y="439353"/>
                    <a:pt x="369632" y="441994"/>
                    <a:pt x="369632" y="444846"/>
                  </a:cubicBezTo>
                  <a:cubicBezTo>
                    <a:pt x="369632" y="447698"/>
                    <a:pt x="370689" y="450339"/>
                    <a:pt x="372699" y="452346"/>
                  </a:cubicBezTo>
                  <a:cubicBezTo>
                    <a:pt x="374708" y="454353"/>
                    <a:pt x="377352" y="455409"/>
                    <a:pt x="380208" y="455409"/>
                  </a:cubicBezTo>
                  <a:cubicBezTo>
                    <a:pt x="382958" y="455409"/>
                    <a:pt x="385602" y="454353"/>
                    <a:pt x="387612" y="452346"/>
                  </a:cubicBezTo>
                  <a:lnTo>
                    <a:pt x="445994" y="394035"/>
                  </a:lnTo>
                  <a:cubicBezTo>
                    <a:pt x="448004" y="392028"/>
                    <a:pt x="449062" y="389387"/>
                    <a:pt x="449062" y="386535"/>
                  </a:cubicBezTo>
                  <a:cubicBezTo>
                    <a:pt x="449062" y="383789"/>
                    <a:pt x="448004" y="381148"/>
                    <a:pt x="445994" y="379141"/>
                  </a:cubicBezTo>
                  <a:cubicBezTo>
                    <a:pt x="443985" y="377134"/>
                    <a:pt x="441341" y="375972"/>
                    <a:pt x="438485" y="375972"/>
                  </a:cubicBezTo>
                  <a:close/>
                  <a:moveTo>
                    <a:pt x="534943" y="217624"/>
                  </a:moveTo>
                  <a:cubicBezTo>
                    <a:pt x="542136" y="217624"/>
                    <a:pt x="548905" y="220371"/>
                    <a:pt x="553981" y="225547"/>
                  </a:cubicBezTo>
                  <a:lnTo>
                    <a:pt x="554404" y="225969"/>
                  </a:lnTo>
                  <a:cubicBezTo>
                    <a:pt x="555779" y="227237"/>
                    <a:pt x="556520" y="229033"/>
                    <a:pt x="556520" y="230934"/>
                  </a:cubicBezTo>
                  <a:cubicBezTo>
                    <a:pt x="556520" y="232836"/>
                    <a:pt x="555779" y="234632"/>
                    <a:pt x="554510" y="235899"/>
                  </a:cubicBezTo>
                  <a:lnTo>
                    <a:pt x="524050" y="266322"/>
                  </a:lnTo>
                  <a:cubicBezTo>
                    <a:pt x="519396" y="270970"/>
                    <a:pt x="516752" y="277203"/>
                    <a:pt x="516752" y="283752"/>
                  </a:cubicBezTo>
                  <a:cubicBezTo>
                    <a:pt x="516752" y="290301"/>
                    <a:pt x="519396" y="296534"/>
                    <a:pt x="524050" y="301182"/>
                  </a:cubicBezTo>
                  <a:cubicBezTo>
                    <a:pt x="528703" y="305830"/>
                    <a:pt x="534838" y="308365"/>
                    <a:pt x="541501" y="308365"/>
                  </a:cubicBezTo>
                  <a:cubicBezTo>
                    <a:pt x="548058" y="308365"/>
                    <a:pt x="554299" y="305830"/>
                    <a:pt x="558952" y="301182"/>
                  </a:cubicBezTo>
                  <a:lnTo>
                    <a:pt x="589413" y="270759"/>
                  </a:lnTo>
                  <a:cubicBezTo>
                    <a:pt x="590682" y="269491"/>
                    <a:pt x="592480" y="268752"/>
                    <a:pt x="594384" y="268752"/>
                  </a:cubicBezTo>
                  <a:cubicBezTo>
                    <a:pt x="596288" y="268752"/>
                    <a:pt x="597980" y="269491"/>
                    <a:pt x="599355" y="270759"/>
                  </a:cubicBezTo>
                  <a:lnTo>
                    <a:pt x="599778" y="271181"/>
                  </a:lnTo>
                  <a:cubicBezTo>
                    <a:pt x="606547" y="277942"/>
                    <a:pt x="609191" y="287977"/>
                    <a:pt x="606758" y="297168"/>
                  </a:cubicBezTo>
                  <a:lnTo>
                    <a:pt x="590047" y="359704"/>
                  </a:lnTo>
                  <a:cubicBezTo>
                    <a:pt x="587509" y="368894"/>
                    <a:pt x="580211" y="376183"/>
                    <a:pt x="571010" y="378612"/>
                  </a:cubicBezTo>
                  <a:cubicBezTo>
                    <a:pt x="570904" y="378718"/>
                    <a:pt x="570904" y="378718"/>
                    <a:pt x="570798" y="378718"/>
                  </a:cubicBezTo>
                  <a:lnTo>
                    <a:pt x="501627" y="395303"/>
                  </a:lnTo>
                  <a:lnTo>
                    <a:pt x="377987" y="518790"/>
                  </a:lnTo>
                  <a:cubicBezTo>
                    <a:pt x="368785" y="527981"/>
                    <a:pt x="356517" y="533051"/>
                    <a:pt x="343507" y="533051"/>
                  </a:cubicBezTo>
                  <a:cubicBezTo>
                    <a:pt x="330498" y="533051"/>
                    <a:pt x="318229" y="527981"/>
                    <a:pt x="309028" y="518790"/>
                  </a:cubicBezTo>
                  <a:lnTo>
                    <a:pt x="306066" y="515833"/>
                  </a:lnTo>
                  <a:cubicBezTo>
                    <a:pt x="296865" y="506642"/>
                    <a:pt x="291788" y="494494"/>
                    <a:pt x="291788" y="481501"/>
                  </a:cubicBezTo>
                  <a:cubicBezTo>
                    <a:pt x="291788" y="468402"/>
                    <a:pt x="296865" y="456254"/>
                    <a:pt x="306066" y="447064"/>
                  </a:cubicBezTo>
                  <a:lnTo>
                    <a:pt x="429707" y="323576"/>
                  </a:lnTo>
                  <a:lnTo>
                    <a:pt x="446418" y="254491"/>
                  </a:lnTo>
                  <a:cubicBezTo>
                    <a:pt x="446418" y="254385"/>
                    <a:pt x="446418" y="254385"/>
                    <a:pt x="446418" y="254280"/>
                  </a:cubicBezTo>
                  <a:cubicBezTo>
                    <a:pt x="448956" y="245089"/>
                    <a:pt x="456254" y="237801"/>
                    <a:pt x="465455" y="235265"/>
                  </a:cubicBezTo>
                  <a:lnTo>
                    <a:pt x="527963" y="218575"/>
                  </a:lnTo>
                  <a:cubicBezTo>
                    <a:pt x="530290" y="217941"/>
                    <a:pt x="532617" y="217624"/>
                    <a:pt x="534943" y="217624"/>
                  </a:cubicBezTo>
                  <a:close/>
                  <a:moveTo>
                    <a:pt x="253873" y="140927"/>
                  </a:moveTo>
                  <a:cubicBezTo>
                    <a:pt x="191674" y="140927"/>
                    <a:pt x="141005" y="191424"/>
                    <a:pt x="141005" y="253542"/>
                  </a:cubicBezTo>
                  <a:cubicBezTo>
                    <a:pt x="141005" y="315765"/>
                    <a:pt x="191674" y="366262"/>
                    <a:pt x="253873" y="366262"/>
                  </a:cubicBezTo>
                  <a:cubicBezTo>
                    <a:pt x="316072" y="366262"/>
                    <a:pt x="366741" y="315765"/>
                    <a:pt x="366741" y="253542"/>
                  </a:cubicBezTo>
                  <a:cubicBezTo>
                    <a:pt x="366741" y="191424"/>
                    <a:pt x="316072" y="140927"/>
                    <a:pt x="253873" y="140927"/>
                  </a:cubicBezTo>
                  <a:close/>
                  <a:moveTo>
                    <a:pt x="232929" y="0"/>
                  </a:moveTo>
                  <a:lnTo>
                    <a:pt x="274818" y="0"/>
                  </a:lnTo>
                  <a:cubicBezTo>
                    <a:pt x="298090" y="0"/>
                    <a:pt x="316918" y="18910"/>
                    <a:pt x="316918" y="42045"/>
                  </a:cubicBezTo>
                  <a:lnTo>
                    <a:pt x="316918" y="55885"/>
                  </a:lnTo>
                  <a:cubicBezTo>
                    <a:pt x="328025" y="59371"/>
                    <a:pt x="338921" y="63913"/>
                    <a:pt x="349287" y="69301"/>
                  </a:cubicBezTo>
                  <a:lnTo>
                    <a:pt x="359125" y="59476"/>
                  </a:lnTo>
                  <a:cubicBezTo>
                    <a:pt x="367058" y="51553"/>
                    <a:pt x="377637" y="47222"/>
                    <a:pt x="388849" y="47222"/>
                  </a:cubicBezTo>
                  <a:cubicBezTo>
                    <a:pt x="400062" y="47222"/>
                    <a:pt x="410640" y="51553"/>
                    <a:pt x="418574" y="59476"/>
                  </a:cubicBezTo>
                  <a:lnTo>
                    <a:pt x="448192" y="89162"/>
                  </a:lnTo>
                  <a:cubicBezTo>
                    <a:pt x="464588" y="105536"/>
                    <a:pt x="464588" y="132158"/>
                    <a:pt x="448192" y="148533"/>
                  </a:cubicBezTo>
                  <a:lnTo>
                    <a:pt x="438460" y="158252"/>
                  </a:lnTo>
                  <a:cubicBezTo>
                    <a:pt x="443749" y="168710"/>
                    <a:pt x="448298" y="179486"/>
                    <a:pt x="451789" y="190684"/>
                  </a:cubicBezTo>
                  <a:lnTo>
                    <a:pt x="465752" y="190684"/>
                  </a:lnTo>
                  <a:cubicBezTo>
                    <a:pt x="478657" y="190684"/>
                    <a:pt x="490187" y="196494"/>
                    <a:pt x="497909" y="205685"/>
                  </a:cubicBezTo>
                  <a:lnTo>
                    <a:pt x="450837" y="218257"/>
                  </a:lnTo>
                  <a:cubicBezTo>
                    <a:pt x="435604" y="222377"/>
                    <a:pt x="423440" y="234420"/>
                    <a:pt x="419420" y="249739"/>
                  </a:cubicBezTo>
                  <a:cubicBezTo>
                    <a:pt x="419314" y="249950"/>
                    <a:pt x="419314" y="250161"/>
                    <a:pt x="419208" y="250372"/>
                  </a:cubicBezTo>
                  <a:lnTo>
                    <a:pt x="403764" y="314603"/>
                  </a:lnTo>
                  <a:lnTo>
                    <a:pt x="283598" y="434613"/>
                  </a:lnTo>
                  <a:cubicBezTo>
                    <a:pt x="271010" y="447078"/>
                    <a:pt x="264134" y="463770"/>
                    <a:pt x="264134" y="481518"/>
                  </a:cubicBezTo>
                  <a:cubicBezTo>
                    <a:pt x="264134" y="490392"/>
                    <a:pt x="265932" y="499160"/>
                    <a:pt x="269317" y="507083"/>
                  </a:cubicBezTo>
                  <a:lnTo>
                    <a:pt x="232929" y="507083"/>
                  </a:lnTo>
                  <a:cubicBezTo>
                    <a:pt x="209657" y="507083"/>
                    <a:pt x="190828" y="488279"/>
                    <a:pt x="190828" y="465143"/>
                  </a:cubicBezTo>
                  <a:lnTo>
                    <a:pt x="190828" y="451304"/>
                  </a:lnTo>
                  <a:cubicBezTo>
                    <a:pt x="179721" y="447712"/>
                    <a:pt x="168826" y="443275"/>
                    <a:pt x="158459" y="437888"/>
                  </a:cubicBezTo>
                  <a:lnTo>
                    <a:pt x="148622" y="447712"/>
                  </a:lnTo>
                  <a:cubicBezTo>
                    <a:pt x="140688" y="455635"/>
                    <a:pt x="130110" y="459967"/>
                    <a:pt x="118897" y="459967"/>
                  </a:cubicBezTo>
                  <a:cubicBezTo>
                    <a:pt x="107685" y="459967"/>
                    <a:pt x="97107" y="455635"/>
                    <a:pt x="89173" y="447712"/>
                  </a:cubicBezTo>
                  <a:lnTo>
                    <a:pt x="59554" y="418027"/>
                  </a:lnTo>
                  <a:cubicBezTo>
                    <a:pt x="43158" y="401652"/>
                    <a:pt x="43158" y="375030"/>
                    <a:pt x="59554" y="358656"/>
                  </a:cubicBezTo>
                  <a:lnTo>
                    <a:pt x="69286" y="348831"/>
                  </a:lnTo>
                  <a:cubicBezTo>
                    <a:pt x="63997" y="338478"/>
                    <a:pt x="59449" y="327597"/>
                    <a:pt x="55958" y="316505"/>
                  </a:cubicBezTo>
                  <a:lnTo>
                    <a:pt x="41995" y="316505"/>
                  </a:lnTo>
                  <a:cubicBezTo>
                    <a:pt x="18829" y="316505"/>
                    <a:pt x="0" y="297700"/>
                    <a:pt x="0" y="274565"/>
                  </a:cubicBezTo>
                  <a:lnTo>
                    <a:pt x="0" y="232625"/>
                  </a:lnTo>
                  <a:cubicBezTo>
                    <a:pt x="0" y="209488"/>
                    <a:pt x="18829" y="190684"/>
                    <a:pt x="41995" y="190684"/>
                  </a:cubicBezTo>
                  <a:lnTo>
                    <a:pt x="55958" y="190684"/>
                  </a:lnTo>
                  <a:cubicBezTo>
                    <a:pt x="59449" y="179486"/>
                    <a:pt x="63997" y="168710"/>
                    <a:pt x="69286" y="158252"/>
                  </a:cubicBezTo>
                  <a:lnTo>
                    <a:pt x="59554" y="148533"/>
                  </a:lnTo>
                  <a:cubicBezTo>
                    <a:pt x="43158" y="132158"/>
                    <a:pt x="43158" y="105536"/>
                    <a:pt x="59554" y="89162"/>
                  </a:cubicBezTo>
                  <a:lnTo>
                    <a:pt x="89173" y="59476"/>
                  </a:lnTo>
                  <a:cubicBezTo>
                    <a:pt x="97107" y="51553"/>
                    <a:pt x="107685" y="47222"/>
                    <a:pt x="118897" y="47222"/>
                  </a:cubicBezTo>
                  <a:cubicBezTo>
                    <a:pt x="130110" y="47222"/>
                    <a:pt x="140688" y="51553"/>
                    <a:pt x="148622" y="59476"/>
                  </a:cubicBezTo>
                  <a:lnTo>
                    <a:pt x="158459" y="69301"/>
                  </a:lnTo>
                  <a:cubicBezTo>
                    <a:pt x="168826" y="63913"/>
                    <a:pt x="179721" y="59371"/>
                    <a:pt x="190828" y="55885"/>
                  </a:cubicBezTo>
                  <a:lnTo>
                    <a:pt x="190828" y="42045"/>
                  </a:lnTo>
                  <a:cubicBezTo>
                    <a:pt x="190828" y="18910"/>
                    <a:pt x="209657" y="0"/>
                    <a:pt x="232929" y="0"/>
                  </a:cubicBezTo>
                  <a:close/>
                </a:path>
              </a:pathLst>
            </a:custGeom>
            <a:solidFill>
              <a:schemeClr val="bg1"/>
            </a:solidFill>
            <a:ln>
              <a:noFill/>
            </a:ln>
          </p:spPr>
          <p:txBody>
            <a:bodyPr/>
            <a:lstStyle/>
            <a:p>
              <a:endParaRPr lang="zh-CN" altLang="en-US"/>
            </a:p>
          </p:txBody>
        </p:sp>
        <p:sp>
          <p:nvSpPr>
            <p:cNvPr id="22" name="išļïḓê">
              <a:extLst>
                <a:ext uri="{FF2B5EF4-FFF2-40B4-BE49-F238E27FC236}">
                  <a16:creationId xmlns:a16="http://schemas.microsoft.com/office/drawing/2014/main" id="{2F210867-301D-4B05-A9EF-2B68E1837437}"/>
                </a:ext>
              </a:extLst>
            </p:cNvPr>
            <p:cNvSpPr/>
            <p:nvPr/>
          </p:nvSpPr>
          <p:spPr bwMode="auto">
            <a:xfrm>
              <a:off x="4206615" y="3462872"/>
              <a:ext cx="371794" cy="326152"/>
            </a:xfrm>
            <a:custGeom>
              <a:avLst/>
              <a:gdLst>
                <a:gd name="connsiteX0" fmla="*/ 352921 w 607646"/>
                <a:gd name="connsiteY0" fmla="*/ 457945 h 533051"/>
                <a:gd name="connsiteX1" fmla="*/ 342979 w 607646"/>
                <a:gd name="connsiteY1" fmla="*/ 462170 h 533051"/>
                <a:gd name="connsiteX2" fmla="*/ 338854 w 607646"/>
                <a:gd name="connsiteY2" fmla="*/ 472100 h 533051"/>
                <a:gd name="connsiteX3" fmla="*/ 342979 w 607646"/>
                <a:gd name="connsiteY3" fmla="*/ 482029 h 533051"/>
                <a:gd name="connsiteX4" fmla="*/ 352921 w 607646"/>
                <a:gd name="connsiteY4" fmla="*/ 486149 h 533051"/>
                <a:gd name="connsiteX5" fmla="*/ 362863 w 607646"/>
                <a:gd name="connsiteY5" fmla="*/ 482029 h 533051"/>
                <a:gd name="connsiteX6" fmla="*/ 366987 w 607646"/>
                <a:gd name="connsiteY6" fmla="*/ 472100 h 533051"/>
                <a:gd name="connsiteX7" fmla="*/ 362863 w 607646"/>
                <a:gd name="connsiteY7" fmla="*/ 462170 h 533051"/>
                <a:gd name="connsiteX8" fmla="*/ 352921 w 607646"/>
                <a:gd name="connsiteY8" fmla="*/ 457945 h 533051"/>
                <a:gd name="connsiteX9" fmla="*/ 438485 w 607646"/>
                <a:gd name="connsiteY9" fmla="*/ 375972 h 533051"/>
                <a:gd name="connsiteX10" fmla="*/ 431081 w 607646"/>
                <a:gd name="connsiteY10" fmla="*/ 379141 h 533051"/>
                <a:gd name="connsiteX11" fmla="*/ 372699 w 607646"/>
                <a:gd name="connsiteY11" fmla="*/ 437346 h 533051"/>
                <a:gd name="connsiteX12" fmla="*/ 369632 w 607646"/>
                <a:gd name="connsiteY12" fmla="*/ 444846 h 533051"/>
                <a:gd name="connsiteX13" fmla="*/ 372699 w 607646"/>
                <a:gd name="connsiteY13" fmla="*/ 452346 h 533051"/>
                <a:gd name="connsiteX14" fmla="*/ 380208 w 607646"/>
                <a:gd name="connsiteY14" fmla="*/ 455409 h 533051"/>
                <a:gd name="connsiteX15" fmla="*/ 387612 w 607646"/>
                <a:gd name="connsiteY15" fmla="*/ 452346 h 533051"/>
                <a:gd name="connsiteX16" fmla="*/ 445994 w 607646"/>
                <a:gd name="connsiteY16" fmla="*/ 394035 h 533051"/>
                <a:gd name="connsiteX17" fmla="*/ 449062 w 607646"/>
                <a:gd name="connsiteY17" fmla="*/ 386535 h 533051"/>
                <a:gd name="connsiteX18" fmla="*/ 445994 w 607646"/>
                <a:gd name="connsiteY18" fmla="*/ 379141 h 533051"/>
                <a:gd name="connsiteX19" fmla="*/ 438485 w 607646"/>
                <a:gd name="connsiteY19" fmla="*/ 375972 h 533051"/>
                <a:gd name="connsiteX20" fmla="*/ 534943 w 607646"/>
                <a:gd name="connsiteY20" fmla="*/ 217624 h 533051"/>
                <a:gd name="connsiteX21" fmla="*/ 553981 w 607646"/>
                <a:gd name="connsiteY21" fmla="*/ 225547 h 533051"/>
                <a:gd name="connsiteX22" fmla="*/ 554404 w 607646"/>
                <a:gd name="connsiteY22" fmla="*/ 225969 h 533051"/>
                <a:gd name="connsiteX23" fmla="*/ 556520 w 607646"/>
                <a:gd name="connsiteY23" fmla="*/ 230934 h 533051"/>
                <a:gd name="connsiteX24" fmla="*/ 554510 w 607646"/>
                <a:gd name="connsiteY24" fmla="*/ 235899 h 533051"/>
                <a:gd name="connsiteX25" fmla="*/ 524050 w 607646"/>
                <a:gd name="connsiteY25" fmla="*/ 266322 h 533051"/>
                <a:gd name="connsiteX26" fmla="*/ 516752 w 607646"/>
                <a:gd name="connsiteY26" fmla="*/ 283752 h 533051"/>
                <a:gd name="connsiteX27" fmla="*/ 524050 w 607646"/>
                <a:gd name="connsiteY27" fmla="*/ 301182 h 533051"/>
                <a:gd name="connsiteX28" fmla="*/ 541501 w 607646"/>
                <a:gd name="connsiteY28" fmla="*/ 308365 h 533051"/>
                <a:gd name="connsiteX29" fmla="*/ 558952 w 607646"/>
                <a:gd name="connsiteY29" fmla="*/ 301182 h 533051"/>
                <a:gd name="connsiteX30" fmla="*/ 589413 w 607646"/>
                <a:gd name="connsiteY30" fmla="*/ 270759 h 533051"/>
                <a:gd name="connsiteX31" fmla="*/ 594384 w 607646"/>
                <a:gd name="connsiteY31" fmla="*/ 268752 h 533051"/>
                <a:gd name="connsiteX32" fmla="*/ 599355 w 607646"/>
                <a:gd name="connsiteY32" fmla="*/ 270759 h 533051"/>
                <a:gd name="connsiteX33" fmla="*/ 599778 w 607646"/>
                <a:gd name="connsiteY33" fmla="*/ 271181 h 533051"/>
                <a:gd name="connsiteX34" fmla="*/ 606758 w 607646"/>
                <a:gd name="connsiteY34" fmla="*/ 297168 h 533051"/>
                <a:gd name="connsiteX35" fmla="*/ 590047 w 607646"/>
                <a:gd name="connsiteY35" fmla="*/ 359704 h 533051"/>
                <a:gd name="connsiteX36" fmla="*/ 571010 w 607646"/>
                <a:gd name="connsiteY36" fmla="*/ 378612 h 533051"/>
                <a:gd name="connsiteX37" fmla="*/ 570798 w 607646"/>
                <a:gd name="connsiteY37" fmla="*/ 378718 h 533051"/>
                <a:gd name="connsiteX38" fmla="*/ 501627 w 607646"/>
                <a:gd name="connsiteY38" fmla="*/ 395303 h 533051"/>
                <a:gd name="connsiteX39" fmla="*/ 377987 w 607646"/>
                <a:gd name="connsiteY39" fmla="*/ 518790 h 533051"/>
                <a:gd name="connsiteX40" fmla="*/ 343507 w 607646"/>
                <a:gd name="connsiteY40" fmla="*/ 533051 h 533051"/>
                <a:gd name="connsiteX41" fmla="*/ 309028 w 607646"/>
                <a:gd name="connsiteY41" fmla="*/ 518790 h 533051"/>
                <a:gd name="connsiteX42" fmla="*/ 306066 w 607646"/>
                <a:gd name="connsiteY42" fmla="*/ 515833 h 533051"/>
                <a:gd name="connsiteX43" fmla="*/ 291788 w 607646"/>
                <a:gd name="connsiteY43" fmla="*/ 481501 h 533051"/>
                <a:gd name="connsiteX44" fmla="*/ 306066 w 607646"/>
                <a:gd name="connsiteY44" fmla="*/ 447064 h 533051"/>
                <a:gd name="connsiteX45" fmla="*/ 429707 w 607646"/>
                <a:gd name="connsiteY45" fmla="*/ 323576 h 533051"/>
                <a:gd name="connsiteX46" fmla="*/ 446418 w 607646"/>
                <a:gd name="connsiteY46" fmla="*/ 254491 h 533051"/>
                <a:gd name="connsiteX47" fmla="*/ 446418 w 607646"/>
                <a:gd name="connsiteY47" fmla="*/ 254280 h 533051"/>
                <a:gd name="connsiteX48" fmla="*/ 465455 w 607646"/>
                <a:gd name="connsiteY48" fmla="*/ 235265 h 533051"/>
                <a:gd name="connsiteX49" fmla="*/ 527963 w 607646"/>
                <a:gd name="connsiteY49" fmla="*/ 218575 h 533051"/>
                <a:gd name="connsiteX50" fmla="*/ 534943 w 607646"/>
                <a:gd name="connsiteY50" fmla="*/ 217624 h 533051"/>
                <a:gd name="connsiteX51" fmla="*/ 253873 w 607646"/>
                <a:gd name="connsiteY51" fmla="*/ 140927 h 533051"/>
                <a:gd name="connsiteX52" fmla="*/ 141005 w 607646"/>
                <a:gd name="connsiteY52" fmla="*/ 253542 h 533051"/>
                <a:gd name="connsiteX53" fmla="*/ 253873 w 607646"/>
                <a:gd name="connsiteY53" fmla="*/ 366262 h 533051"/>
                <a:gd name="connsiteX54" fmla="*/ 366741 w 607646"/>
                <a:gd name="connsiteY54" fmla="*/ 253542 h 533051"/>
                <a:gd name="connsiteX55" fmla="*/ 253873 w 607646"/>
                <a:gd name="connsiteY55" fmla="*/ 140927 h 533051"/>
                <a:gd name="connsiteX56" fmla="*/ 232929 w 607646"/>
                <a:gd name="connsiteY56" fmla="*/ 0 h 533051"/>
                <a:gd name="connsiteX57" fmla="*/ 274818 w 607646"/>
                <a:gd name="connsiteY57" fmla="*/ 0 h 533051"/>
                <a:gd name="connsiteX58" fmla="*/ 316918 w 607646"/>
                <a:gd name="connsiteY58" fmla="*/ 42045 h 533051"/>
                <a:gd name="connsiteX59" fmla="*/ 316918 w 607646"/>
                <a:gd name="connsiteY59" fmla="*/ 55885 h 533051"/>
                <a:gd name="connsiteX60" fmla="*/ 349287 w 607646"/>
                <a:gd name="connsiteY60" fmla="*/ 69301 h 533051"/>
                <a:gd name="connsiteX61" fmla="*/ 359125 w 607646"/>
                <a:gd name="connsiteY61" fmla="*/ 59476 h 533051"/>
                <a:gd name="connsiteX62" fmla="*/ 388849 w 607646"/>
                <a:gd name="connsiteY62" fmla="*/ 47222 h 533051"/>
                <a:gd name="connsiteX63" fmla="*/ 418574 w 607646"/>
                <a:gd name="connsiteY63" fmla="*/ 59476 h 533051"/>
                <a:gd name="connsiteX64" fmla="*/ 448192 w 607646"/>
                <a:gd name="connsiteY64" fmla="*/ 89162 h 533051"/>
                <a:gd name="connsiteX65" fmla="*/ 448192 w 607646"/>
                <a:gd name="connsiteY65" fmla="*/ 148533 h 533051"/>
                <a:gd name="connsiteX66" fmla="*/ 438460 w 607646"/>
                <a:gd name="connsiteY66" fmla="*/ 158252 h 533051"/>
                <a:gd name="connsiteX67" fmla="*/ 451789 w 607646"/>
                <a:gd name="connsiteY67" fmla="*/ 190684 h 533051"/>
                <a:gd name="connsiteX68" fmla="*/ 465752 w 607646"/>
                <a:gd name="connsiteY68" fmla="*/ 190684 h 533051"/>
                <a:gd name="connsiteX69" fmla="*/ 497909 w 607646"/>
                <a:gd name="connsiteY69" fmla="*/ 205685 h 533051"/>
                <a:gd name="connsiteX70" fmla="*/ 450837 w 607646"/>
                <a:gd name="connsiteY70" fmla="*/ 218257 h 533051"/>
                <a:gd name="connsiteX71" fmla="*/ 419420 w 607646"/>
                <a:gd name="connsiteY71" fmla="*/ 249739 h 533051"/>
                <a:gd name="connsiteX72" fmla="*/ 419208 w 607646"/>
                <a:gd name="connsiteY72" fmla="*/ 250372 h 533051"/>
                <a:gd name="connsiteX73" fmla="*/ 403764 w 607646"/>
                <a:gd name="connsiteY73" fmla="*/ 314603 h 533051"/>
                <a:gd name="connsiteX74" fmla="*/ 283598 w 607646"/>
                <a:gd name="connsiteY74" fmla="*/ 434613 h 533051"/>
                <a:gd name="connsiteX75" fmla="*/ 264134 w 607646"/>
                <a:gd name="connsiteY75" fmla="*/ 481518 h 533051"/>
                <a:gd name="connsiteX76" fmla="*/ 269317 w 607646"/>
                <a:gd name="connsiteY76" fmla="*/ 507083 h 533051"/>
                <a:gd name="connsiteX77" fmla="*/ 232929 w 607646"/>
                <a:gd name="connsiteY77" fmla="*/ 507083 h 533051"/>
                <a:gd name="connsiteX78" fmla="*/ 190828 w 607646"/>
                <a:gd name="connsiteY78" fmla="*/ 465143 h 533051"/>
                <a:gd name="connsiteX79" fmla="*/ 190828 w 607646"/>
                <a:gd name="connsiteY79" fmla="*/ 451304 h 533051"/>
                <a:gd name="connsiteX80" fmla="*/ 158459 w 607646"/>
                <a:gd name="connsiteY80" fmla="*/ 437888 h 533051"/>
                <a:gd name="connsiteX81" fmla="*/ 148622 w 607646"/>
                <a:gd name="connsiteY81" fmla="*/ 447712 h 533051"/>
                <a:gd name="connsiteX82" fmla="*/ 118897 w 607646"/>
                <a:gd name="connsiteY82" fmla="*/ 459967 h 533051"/>
                <a:gd name="connsiteX83" fmla="*/ 89173 w 607646"/>
                <a:gd name="connsiteY83" fmla="*/ 447712 h 533051"/>
                <a:gd name="connsiteX84" fmla="*/ 59554 w 607646"/>
                <a:gd name="connsiteY84" fmla="*/ 418027 h 533051"/>
                <a:gd name="connsiteX85" fmla="*/ 59554 w 607646"/>
                <a:gd name="connsiteY85" fmla="*/ 358656 h 533051"/>
                <a:gd name="connsiteX86" fmla="*/ 69286 w 607646"/>
                <a:gd name="connsiteY86" fmla="*/ 348831 h 533051"/>
                <a:gd name="connsiteX87" fmla="*/ 55958 w 607646"/>
                <a:gd name="connsiteY87" fmla="*/ 316505 h 533051"/>
                <a:gd name="connsiteX88" fmla="*/ 41995 w 607646"/>
                <a:gd name="connsiteY88" fmla="*/ 316505 h 533051"/>
                <a:gd name="connsiteX89" fmla="*/ 0 w 607646"/>
                <a:gd name="connsiteY89" fmla="*/ 274565 h 533051"/>
                <a:gd name="connsiteX90" fmla="*/ 0 w 607646"/>
                <a:gd name="connsiteY90" fmla="*/ 232625 h 533051"/>
                <a:gd name="connsiteX91" fmla="*/ 41995 w 607646"/>
                <a:gd name="connsiteY91" fmla="*/ 190684 h 533051"/>
                <a:gd name="connsiteX92" fmla="*/ 55958 w 607646"/>
                <a:gd name="connsiteY92" fmla="*/ 190684 h 533051"/>
                <a:gd name="connsiteX93" fmla="*/ 69286 w 607646"/>
                <a:gd name="connsiteY93" fmla="*/ 158252 h 533051"/>
                <a:gd name="connsiteX94" fmla="*/ 59554 w 607646"/>
                <a:gd name="connsiteY94" fmla="*/ 148533 h 533051"/>
                <a:gd name="connsiteX95" fmla="*/ 59554 w 607646"/>
                <a:gd name="connsiteY95" fmla="*/ 89162 h 533051"/>
                <a:gd name="connsiteX96" fmla="*/ 89173 w 607646"/>
                <a:gd name="connsiteY96" fmla="*/ 59476 h 533051"/>
                <a:gd name="connsiteX97" fmla="*/ 118897 w 607646"/>
                <a:gd name="connsiteY97" fmla="*/ 47222 h 533051"/>
                <a:gd name="connsiteX98" fmla="*/ 148622 w 607646"/>
                <a:gd name="connsiteY98" fmla="*/ 59476 h 533051"/>
                <a:gd name="connsiteX99" fmla="*/ 158459 w 607646"/>
                <a:gd name="connsiteY99" fmla="*/ 69301 h 533051"/>
                <a:gd name="connsiteX100" fmla="*/ 190828 w 607646"/>
                <a:gd name="connsiteY100" fmla="*/ 55885 h 533051"/>
                <a:gd name="connsiteX101" fmla="*/ 190828 w 607646"/>
                <a:gd name="connsiteY101" fmla="*/ 42045 h 533051"/>
                <a:gd name="connsiteX102" fmla="*/ 232929 w 607646"/>
                <a:gd name="connsiteY102" fmla="*/ 0 h 533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607646" h="533051">
                  <a:moveTo>
                    <a:pt x="352921" y="457945"/>
                  </a:moveTo>
                  <a:cubicBezTo>
                    <a:pt x="349113" y="457945"/>
                    <a:pt x="345623" y="459423"/>
                    <a:pt x="342979" y="462170"/>
                  </a:cubicBezTo>
                  <a:cubicBezTo>
                    <a:pt x="340229" y="464811"/>
                    <a:pt x="338854" y="468297"/>
                    <a:pt x="338854" y="472100"/>
                  </a:cubicBezTo>
                  <a:cubicBezTo>
                    <a:pt x="338854" y="475797"/>
                    <a:pt x="340229" y="479389"/>
                    <a:pt x="342979" y="482029"/>
                  </a:cubicBezTo>
                  <a:cubicBezTo>
                    <a:pt x="345623" y="484670"/>
                    <a:pt x="349113" y="486149"/>
                    <a:pt x="352921" y="486149"/>
                  </a:cubicBezTo>
                  <a:cubicBezTo>
                    <a:pt x="356622" y="486149"/>
                    <a:pt x="360218" y="484670"/>
                    <a:pt x="362863" y="482029"/>
                  </a:cubicBezTo>
                  <a:cubicBezTo>
                    <a:pt x="365507" y="479389"/>
                    <a:pt x="366987" y="475797"/>
                    <a:pt x="366987" y="472100"/>
                  </a:cubicBezTo>
                  <a:cubicBezTo>
                    <a:pt x="366987" y="468297"/>
                    <a:pt x="365507" y="464811"/>
                    <a:pt x="362863" y="462170"/>
                  </a:cubicBezTo>
                  <a:cubicBezTo>
                    <a:pt x="360218" y="459423"/>
                    <a:pt x="356622" y="457945"/>
                    <a:pt x="352921" y="457945"/>
                  </a:cubicBezTo>
                  <a:close/>
                  <a:moveTo>
                    <a:pt x="438485" y="375972"/>
                  </a:moveTo>
                  <a:cubicBezTo>
                    <a:pt x="435735" y="375972"/>
                    <a:pt x="432985" y="377134"/>
                    <a:pt x="431081" y="379141"/>
                  </a:cubicBezTo>
                  <a:lnTo>
                    <a:pt x="372699" y="437346"/>
                  </a:lnTo>
                  <a:cubicBezTo>
                    <a:pt x="370689" y="439353"/>
                    <a:pt x="369632" y="441994"/>
                    <a:pt x="369632" y="444846"/>
                  </a:cubicBezTo>
                  <a:cubicBezTo>
                    <a:pt x="369632" y="447698"/>
                    <a:pt x="370689" y="450339"/>
                    <a:pt x="372699" y="452346"/>
                  </a:cubicBezTo>
                  <a:cubicBezTo>
                    <a:pt x="374708" y="454353"/>
                    <a:pt x="377352" y="455409"/>
                    <a:pt x="380208" y="455409"/>
                  </a:cubicBezTo>
                  <a:cubicBezTo>
                    <a:pt x="382958" y="455409"/>
                    <a:pt x="385602" y="454353"/>
                    <a:pt x="387612" y="452346"/>
                  </a:cubicBezTo>
                  <a:lnTo>
                    <a:pt x="445994" y="394035"/>
                  </a:lnTo>
                  <a:cubicBezTo>
                    <a:pt x="448004" y="392028"/>
                    <a:pt x="449062" y="389387"/>
                    <a:pt x="449062" y="386535"/>
                  </a:cubicBezTo>
                  <a:cubicBezTo>
                    <a:pt x="449062" y="383789"/>
                    <a:pt x="448004" y="381148"/>
                    <a:pt x="445994" y="379141"/>
                  </a:cubicBezTo>
                  <a:cubicBezTo>
                    <a:pt x="443985" y="377134"/>
                    <a:pt x="441341" y="375972"/>
                    <a:pt x="438485" y="375972"/>
                  </a:cubicBezTo>
                  <a:close/>
                  <a:moveTo>
                    <a:pt x="534943" y="217624"/>
                  </a:moveTo>
                  <a:cubicBezTo>
                    <a:pt x="542136" y="217624"/>
                    <a:pt x="548905" y="220371"/>
                    <a:pt x="553981" y="225547"/>
                  </a:cubicBezTo>
                  <a:lnTo>
                    <a:pt x="554404" y="225969"/>
                  </a:lnTo>
                  <a:cubicBezTo>
                    <a:pt x="555779" y="227237"/>
                    <a:pt x="556520" y="229033"/>
                    <a:pt x="556520" y="230934"/>
                  </a:cubicBezTo>
                  <a:cubicBezTo>
                    <a:pt x="556520" y="232836"/>
                    <a:pt x="555779" y="234632"/>
                    <a:pt x="554510" y="235899"/>
                  </a:cubicBezTo>
                  <a:lnTo>
                    <a:pt x="524050" y="266322"/>
                  </a:lnTo>
                  <a:cubicBezTo>
                    <a:pt x="519396" y="270970"/>
                    <a:pt x="516752" y="277203"/>
                    <a:pt x="516752" y="283752"/>
                  </a:cubicBezTo>
                  <a:cubicBezTo>
                    <a:pt x="516752" y="290301"/>
                    <a:pt x="519396" y="296534"/>
                    <a:pt x="524050" y="301182"/>
                  </a:cubicBezTo>
                  <a:cubicBezTo>
                    <a:pt x="528703" y="305830"/>
                    <a:pt x="534838" y="308365"/>
                    <a:pt x="541501" y="308365"/>
                  </a:cubicBezTo>
                  <a:cubicBezTo>
                    <a:pt x="548058" y="308365"/>
                    <a:pt x="554299" y="305830"/>
                    <a:pt x="558952" y="301182"/>
                  </a:cubicBezTo>
                  <a:lnTo>
                    <a:pt x="589413" y="270759"/>
                  </a:lnTo>
                  <a:cubicBezTo>
                    <a:pt x="590682" y="269491"/>
                    <a:pt x="592480" y="268752"/>
                    <a:pt x="594384" y="268752"/>
                  </a:cubicBezTo>
                  <a:cubicBezTo>
                    <a:pt x="596288" y="268752"/>
                    <a:pt x="597980" y="269491"/>
                    <a:pt x="599355" y="270759"/>
                  </a:cubicBezTo>
                  <a:lnTo>
                    <a:pt x="599778" y="271181"/>
                  </a:lnTo>
                  <a:cubicBezTo>
                    <a:pt x="606547" y="277942"/>
                    <a:pt x="609191" y="287977"/>
                    <a:pt x="606758" y="297168"/>
                  </a:cubicBezTo>
                  <a:lnTo>
                    <a:pt x="590047" y="359704"/>
                  </a:lnTo>
                  <a:cubicBezTo>
                    <a:pt x="587509" y="368894"/>
                    <a:pt x="580211" y="376183"/>
                    <a:pt x="571010" y="378612"/>
                  </a:cubicBezTo>
                  <a:cubicBezTo>
                    <a:pt x="570904" y="378718"/>
                    <a:pt x="570904" y="378718"/>
                    <a:pt x="570798" y="378718"/>
                  </a:cubicBezTo>
                  <a:lnTo>
                    <a:pt x="501627" y="395303"/>
                  </a:lnTo>
                  <a:lnTo>
                    <a:pt x="377987" y="518790"/>
                  </a:lnTo>
                  <a:cubicBezTo>
                    <a:pt x="368785" y="527981"/>
                    <a:pt x="356517" y="533051"/>
                    <a:pt x="343507" y="533051"/>
                  </a:cubicBezTo>
                  <a:cubicBezTo>
                    <a:pt x="330498" y="533051"/>
                    <a:pt x="318229" y="527981"/>
                    <a:pt x="309028" y="518790"/>
                  </a:cubicBezTo>
                  <a:lnTo>
                    <a:pt x="306066" y="515833"/>
                  </a:lnTo>
                  <a:cubicBezTo>
                    <a:pt x="296865" y="506642"/>
                    <a:pt x="291788" y="494494"/>
                    <a:pt x="291788" y="481501"/>
                  </a:cubicBezTo>
                  <a:cubicBezTo>
                    <a:pt x="291788" y="468402"/>
                    <a:pt x="296865" y="456254"/>
                    <a:pt x="306066" y="447064"/>
                  </a:cubicBezTo>
                  <a:lnTo>
                    <a:pt x="429707" y="323576"/>
                  </a:lnTo>
                  <a:lnTo>
                    <a:pt x="446418" y="254491"/>
                  </a:lnTo>
                  <a:cubicBezTo>
                    <a:pt x="446418" y="254385"/>
                    <a:pt x="446418" y="254385"/>
                    <a:pt x="446418" y="254280"/>
                  </a:cubicBezTo>
                  <a:cubicBezTo>
                    <a:pt x="448956" y="245089"/>
                    <a:pt x="456254" y="237801"/>
                    <a:pt x="465455" y="235265"/>
                  </a:cubicBezTo>
                  <a:lnTo>
                    <a:pt x="527963" y="218575"/>
                  </a:lnTo>
                  <a:cubicBezTo>
                    <a:pt x="530290" y="217941"/>
                    <a:pt x="532617" y="217624"/>
                    <a:pt x="534943" y="217624"/>
                  </a:cubicBezTo>
                  <a:close/>
                  <a:moveTo>
                    <a:pt x="253873" y="140927"/>
                  </a:moveTo>
                  <a:cubicBezTo>
                    <a:pt x="191674" y="140927"/>
                    <a:pt x="141005" y="191424"/>
                    <a:pt x="141005" y="253542"/>
                  </a:cubicBezTo>
                  <a:cubicBezTo>
                    <a:pt x="141005" y="315765"/>
                    <a:pt x="191674" y="366262"/>
                    <a:pt x="253873" y="366262"/>
                  </a:cubicBezTo>
                  <a:cubicBezTo>
                    <a:pt x="316072" y="366262"/>
                    <a:pt x="366741" y="315765"/>
                    <a:pt x="366741" y="253542"/>
                  </a:cubicBezTo>
                  <a:cubicBezTo>
                    <a:pt x="366741" y="191424"/>
                    <a:pt x="316072" y="140927"/>
                    <a:pt x="253873" y="140927"/>
                  </a:cubicBezTo>
                  <a:close/>
                  <a:moveTo>
                    <a:pt x="232929" y="0"/>
                  </a:moveTo>
                  <a:lnTo>
                    <a:pt x="274818" y="0"/>
                  </a:lnTo>
                  <a:cubicBezTo>
                    <a:pt x="298090" y="0"/>
                    <a:pt x="316918" y="18910"/>
                    <a:pt x="316918" y="42045"/>
                  </a:cubicBezTo>
                  <a:lnTo>
                    <a:pt x="316918" y="55885"/>
                  </a:lnTo>
                  <a:cubicBezTo>
                    <a:pt x="328025" y="59371"/>
                    <a:pt x="338921" y="63913"/>
                    <a:pt x="349287" y="69301"/>
                  </a:cubicBezTo>
                  <a:lnTo>
                    <a:pt x="359125" y="59476"/>
                  </a:lnTo>
                  <a:cubicBezTo>
                    <a:pt x="367058" y="51553"/>
                    <a:pt x="377637" y="47222"/>
                    <a:pt x="388849" y="47222"/>
                  </a:cubicBezTo>
                  <a:cubicBezTo>
                    <a:pt x="400062" y="47222"/>
                    <a:pt x="410640" y="51553"/>
                    <a:pt x="418574" y="59476"/>
                  </a:cubicBezTo>
                  <a:lnTo>
                    <a:pt x="448192" y="89162"/>
                  </a:lnTo>
                  <a:cubicBezTo>
                    <a:pt x="464588" y="105536"/>
                    <a:pt x="464588" y="132158"/>
                    <a:pt x="448192" y="148533"/>
                  </a:cubicBezTo>
                  <a:lnTo>
                    <a:pt x="438460" y="158252"/>
                  </a:lnTo>
                  <a:cubicBezTo>
                    <a:pt x="443749" y="168710"/>
                    <a:pt x="448298" y="179486"/>
                    <a:pt x="451789" y="190684"/>
                  </a:cubicBezTo>
                  <a:lnTo>
                    <a:pt x="465752" y="190684"/>
                  </a:lnTo>
                  <a:cubicBezTo>
                    <a:pt x="478657" y="190684"/>
                    <a:pt x="490187" y="196494"/>
                    <a:pt x="497909" y="205685"/>
                  </a:cubicBezTo>
                  <a:lnTo>
                    <a:pt x="450837" y="218257"/>
                  </a:lnTo>
                  <a:cubicBezTo>
                    <a:pt x="435604" y="222377"/>
                    <a:pt x="423440" y="234420"/>
                    <a:pt x="419420" y="249739"/>
                  </a:cubicBezTo>
                  <a:cubicBezTo>
                    <a:pt x="419314" y="249950"/>
                    <a:pt x="419314" y="250161"/>
                    <a:pt x="419208" y="250372"/>
                  </a:cubicBezTo>
                  <a:lnTo>
                    <a:pt x="403764" y="314603"/>
                  </a:lnTo>
                  <a:lnTo>
                    <a:pt x="283598" y="434613"/>
                  </a:lnTo>
                  <a:cubicBezTo>
                    <a:pt x="271010" y="447078"/>
                    <a:pt x="264134" y="463770"/>
                    <a:pt x="264134" y="481518"/>
                  </a:cubicBezTo>
                  <a:cubicBezTo>
                    <a:pt x="264134" y="490392"/>
                    <a:pt x="265932" y="499160"/>
                    <a:pt x="269317" y="507083"/>
                  </a:cubicBezTo>
                  <a:lnTo>
                    <a:pt x="232929" y="507083"/>
                  </a:lnTo>
                  <a:cubicBezTo>
                    <a:pt x="209657" y="507083"/>
                    <a:pt x="190828" y="488279"/>
                    <a:pt x="190828" y="465143"/>
                  </a:cubicBezTo>
                  <a:lnTo>
                    <a:pt x="190828" y="451304"/>
                  </a:lnTo>
                  <a:cubicBezTo>
                    <a:pt x="179721" y="447712"/>
                    <a:pt x="168826" y="443275"/>
                    <a:pt x="158459" y="437888"/>
                  </a:cubicBezTo>
                  <a:lnTo>
                    <a:pt x="148622" y="447712"/>
                  </a:lnTo>
                  <a:cubicBezTo>
                    <a:pt x="140688" y="455635"/>
                    <a:pt x="130110" y="459967"/>
                    <a:pt x="118897" y="459967"/>
                  </a:cubicBezTo>
                  <a:cubicBezTo>
                    <a:pt x="107685" y="459967"/>
                    <a:pt x="97107" y="455635"/>
                    <a:pt x="89173" y="447712"/>
                  </a:cubicBezTo>
                  <a:lnTo>
                    <a:pt x="59554" y="418027"/>
                  </a:lnTo>
                  <a:cubicBezTo>
                    <a:pt x="43158" y="401652"/>
                    <a:pt x="43158" y="375030"/>
                    <a:pt x="59554" y="358656"/>
                  </a:cubicBezTo>
                  <a:lnTo>
                    <a:pt x="69286" y="348831"/>
                  </a:lnTo>
                  <a:cubicBezTo>
                    <a:pt x="63997" y="338478"/>
                    <a:pt x="59449" y="327597"/>
                    <a:pt x="55958" y="316505"/>
                  </a:cubicBezTo>
                  <a:lnTo>
                    <a:pt x="41995" y="316505"/>
                  </a:lnTo>
                  <a:cubicBezTo>
                    <a:pt x="18829" y="316505"/>
                    <a:pt x="0" y="297700"/>
                    <a:pt x="0" y="274565"/>
                  </a:cubicBezTo>
                  <a:lnTo>
                    <a:pt x="0" y="232625"/>
                  </a:lnTo>
                  <a:cubicBezTo>
                    <a:pt x="0" y="209488"/>
                    <a:pt x="18829" y="190684"/>
                    <a:pt x="41995" y="190684"/>
                  </a:cubicBezTo>
                  <a:lnTo>
                    <a:pt x="55958" y="190684"/>
                  </a:lnTo>
                  <a:cubicBezTo>
                    <a:pt x="59449" y="179486"/>
                    <a:pt x="63997" y="168710"/>
                    <a:pt x="69286" y="158252"/>
                  </a:cubicBezTo>
                  <a:lnTo>
                    <a:pt x="59554" y="148533"/>
                  </a:lnTo>
                  <a:cubicBezTo>
                    <a:pt x="43158" y="132158"/>
                    <a:pt x="43158" y="105536"/>
                    <a:pt x="59554" y="89162"/>
                  </a:cubicBezTo>
                  <a:lnTo>
                    <a:pt x="89173" y="59476"/>
                  </a:lnTo>
                  <a:cubicBezTo>
                    <a:pt x="97107" y="51553"/>
                    <a:pt x="107685" y="47222"/>
                    <a:pt x="118897" y="47222"/>
                  </a:cubicBezTo>
                  <a:cubicBezTo>
                    <a:pt x="130110" y="47222"/>
                    <a:pt x="140688" y="51553"/>
                    <a:pt x="148622" y="59476"/>
                  </a:cubicBezTo>
                  <a:lnTo>
                    <a:pt x="158459" y="69301"/>
                  </a:lnTo>
                  <a:cubicBezTo>
                    <a:pt x="168826" y="63913"/>
                    <a:pt x="179721" y="59371"/>
                    <a:pt x="190828" y="55885"/>
                  </a:cubicBezTo>
                  <a:lnTo>
                    <a:pt x="190828" y="42045"/>
                  </a:lnTo>
                  <a:cubicBezTo>
                    <a:pt x="190828" y="18910"/>
                    <a:pt x="209657" y="0"/>
                    <a:pt x="232929" y="0"/>
                  </a:cubicBezTo>
                  <a:close/>
                </a:path>
              </a:pathLst>
            </a:custGeom>
            <a:solidFill>
              <a:schemeClr val="bg1"/>
            </a:solidFill>
            <a:ln>
              <a:noFill/>
            </a:ln>
          </p:spPr>
          <p:txBody>
            <a:bodyPr/>
            <a:lstStyle/>
            <a:p>
              <a:endParaRPr lang="zh-CN" altLang="en-US"/>
            </a:p>
          </p:txBody>
        </p:sp>
        <p:sp>
          <p:nvSpPr>
            <p:cNvPr id="23" name="îşľiḍè">
              <a:extLst>
                <a:ext uri="{FF2B5EF4-FFF2-40B4-BE49-F238E27FC236}">
                  <a16:creationId xmlns:a16="http://schemas.microsoft.com/office/drawing/2014/main" id="{CA7DE007-2683-48D4-BDC9-CE82B8445111}"/>
                </a:ext>
              </a:extLst>
            </p:cNvPr>
            <p:cNvSpPr/>
            <p:nvPr/>
          </p:nvSpPr>
          <p:spPr bwMode="auto">
            <a:xfrm>
              <a:off x="7613625" y="3462872"/>
              <a:ext cx="371794" cy="326152"/>
            </a:xfrm>
            <a:custGeom>
              <a:avLst/>
              <a:gdLst>
                <a:gd name="connsiteX0" fmla="*/ 352921 w 607646"/>
                <a:gd name="connsiteY0" fmla="*/ 457945 h 533051"/>
                <a:gd name="connsiteX1" fmla="*/ 342979 w 607646"/>
                <a:gd name="connsiteY1" fmla="*/ 462170 h 533051"/>
                <a:gd name="connsiteX2" fmla="*/ 338854 w 607646"/>
                <a:gd name="connsiteY2" fmla="*/ 472100 h 533051"/>
                <a:gd name="connsiteX3" fmla="*/ 342979 w 607646"/>
                <a:gd name="connsiteY3" fmla="*/ 482029 h 533051"/>
                <a:gd name="connsiteX4" fmla="*/ 352921 w 607646"/>
                <a:gd name="connsiteY4" fmla="*/ 486149 h 533051"/>
                <a:gd name="connsiteX5" fmla="*/ 362863 w 607646"/>
                <a:gd name="connsiteY5" fmla="*/ 482029 h 533051"/>
                <a:gd name="connsiteX6" fmla="*/ 366987 w 607646"/>
                <a:gd name="connsiteY6" fmla="*/ 472100 h 533051"/>
                <a:gd name="connsiteX7" fmla="*/ 362863 w 607646"/>
                <a:gd name="connsiteY7" fmla="*/ 462170 h 533051"/>
                <a:gd name="connsiteX8" fmla="*/ 352921 w 607646"/>
                <a:gd name="connsiteY8" fmla="*/ 457945 h 533051"/>
                <a:gd name="connsiteX9" fmla="*/ 438485 w 607646"/>
                <a:gd name="connsiteY9" fmla="*/ 375972 h 533051"/>
                <a:gd name="connsiteX10" fmla="*/ 431081 w 607646"/>
                <a:gd name="connsiteY10" fmla="*/ 379141 h 533051"/>
                <a:gd name="connsiteX11" fmla="*/ 372699 w 607646"/>
                <a:gd name="connsiteY11" fmla="*/ 437346 h 533051"/>
                <a:gd name="connsiteX12" fmla="*/ 369632 w 607646"/>
                <a:gd name="connsiteY12" fmla="*/ 444846 h 533051"/>
                <a:gd name="connsiteX13" fmla="*/ 372699 w 607646"/>
                <a:gd name="connsiteY13" fmla="*/ 452346 h 533051"/>
                <a:gd name="connsiteX14" fmla="*/ 380208 w 607646"/>
                <a:gd name="connsiteY14" fmla="*/ 455409 h 533051"/>
                <a:gd name="connsiteX15" fmla="*/ 387612 w 607646"/>
                <a:gd name="connsiteY15" fmla="*/ 452346 h 533051"/>
                <a:gd name="connsiteX16" fmla="*/ 445994 w 607646"/>
                <a:gd name="connsiteY16" fmla="*/ 394035 h 533051"/>
                <a:gd name="connsiteX17" fmla="*/ 449062 w 607646"/>
                <a:gd name="connsiteY17" fmla="*/ 386535 h 533051"/>
                <a:gd name="connsiteX18" fmla="*/ 445994 w 607646"/>
                <a:gd name="connsiteY18" fmla="*/ 379141 h 533051"/>
                <a:gd name="connsiteX19" fmla="*/ 438485 w 607646"/>
                <a:gd name="connsiteY19" fmla="*/ 375972 h 533051"/>
                <a:gd name="connsiteX20" fmla="*/ 534943 w 607646"/>
                <a:gd name="connsiteY20" fmla="*/ 217624 h 533051"/>
                <a:gd name="connsiteX21" fmla="*/ 553981 w 607646"/>
                <a:gd name="connsiteY21" fmla="*/ 225547 h 533051"/>
                <a:gd name="connsiteX22" fmla="*/ 554404 w 607646"/>
                <a:gd name="connsiteY22" fmla="*/ 225969 h 533051"/>
                <a:gd name="connsiteX23" fmla="*/ 556520 w 607646"/>
                <a:gd name="connsiteY23" fmla="*/ 230934 h 533051"/>
                <a:gd name="connsiteX24" fmla="*/ 554510 w 607646"/>
                <a:gd name="connsiteY24" fmla="*/ 235899 h 533051"/>
                <a:gd name="connsiteX25" fmla="*/ 524050 w 607646"/>
                <a:gd name="connsiteY25" fmla="*/ 266322 h 533051"/>
                <a:gd name="connsiteX26" fmla="*/ 516752 w 607646"/>
                <a:gd name="connsiteY26" fmla="*/ 283752 h 533051"/>
                <a:gd name="connsiteX27" fmla="*/ 524050 w 607646"/>
                <a:gd name="connsiteY27" fmla="*/ 301182 h 533051"/>
                <a:gd name="connsiteX28" fmla="*/ 541501 w 607646"/>
                <a:gd name="connsiteY28" fmla="*/ 308365 h 533051"/>
                <a:gd name="connsiteX29" fmla="*/ 558952 w 607646"/>
                <a:gd name="connsiteY29" fmla="*/ 301182 h 533051"/>
                <a:gd name="connsiteX30" fmla="*/ 589413 w 607646"/>
                <a:gd name="connsiteY30" fmla="*/ 270759 h 533051"/>
                <a:gd name="connsiteX31" fmla="*/ 594384 w 607646"/>
                <a:gd name="connsiteY31" fmla="*/ 268752 h 533051"/>
                <a:gd name="connsiteX32" fmla="*/ 599355 w 607646"/>
                <a:gd name="connsiteY32" fmla="*/ 270759 h 533051"/>
                <a:gd name="connsiteX33" fmla="*/ 599778 w 607646"/>
                <a:gd name="connsiteY33" fmla="*/ 271181 h 533051"/>
                <a:gd name="connsiteX34" fmla="*/ 606758 w 607646"/>
                <a:gd name="connsiteY34" fmla="*/ 297168 h 533051"/>
                <a:gd name="connsiteX35" fmla="*/ 590047 w 607646"/>
                <a:gd name="connsiteY35" fmla="*/ 359704 h 533051"/>
                <a:gd name="connsiteX36" fmla="*/ 571010 w 607646"/>
                <a:gd name="connsiteY36" fmla="*/ 378612 h 533051"/>
                <a:gd name="connsiteX37" fmla="*/ 570798 w 607646"/>
                <a:gd name="connsiteY37" fmla="*/ 378718 h 533051"/>
                <a:gd name="connsiteX38" fmla="*/ 501627 w 607646"/>
                <a:gd name="connsiteY38" fmla="*/ 395303 h 533051"/>
                <a:gd name="connsiteX39" fmla="*/ 377987 w 607646"/>
                <a:gd name="connsiteY39" fmla="*/ 518790 h 533051"/>
                <a:gd name="connsiteX40" fmla="*/ 343507 w 607646"/>
                <a:gd name="connsiteY40" fmla="*/ 533051 h 533051"/>
                <a:gd name="connsiteX41" fmla="*/ 309028 w 607646"/>
                <a:gd name="connsiteY41" fmla="*/ 518790 h 533051"/>
                <a:gd name="connsiteX42" fmla="*/ 306066 w 607646"/>
                <a:gd name="connsiteY42" fmla="*/ 515833 h 533051"/>
                <a:gd name="connsiteX43" fmla="*/ 291788 w 607646"/>
                <a:gd name="connsiteY43" fmla="*/ 481501 h 533051"/>
                <a:gd name="connsiteX44" fmla="*/ 306066 w 607646"/>
                <a:gd name="connsiteY44" fmla="*/ 447064 h 533051"/>
                <a:gd name="connsiteX45" fmla="*/ 429707 w 607646"/>
                <a:gd name="connsiteY45" fmla="*/ 323576 h 533051"/>
                <a:gd name="connsiteX46" fmla="*/ 446418 w 607646"/>
                <a:gd name="connsiteY46" fmla="*/ 254491 h 533051"/>
                <a:gd name="connsiteX47" fmla="*/ 446418 w 607646"/>
                <a:gd name="connsiteY47" fmla="*/ 254280 h 533051"/>
                <a:gd name="connsiteX48" fmla="*/ 465455 w 607646"/>
                <a:gd name="connsiteY48" fmla="*/ 235265 h 533051"/>
                <a:gd name="connsiteX49" fmla="*/ 527963 w 607646"/>
                <a:gd name="connsiteY49" fmla="*/ 218575 h 533051"/>
                <a:gd name="connsiteX50" fmla="*/ 534943 w 607646"/>
                <a:gd name="connsiteY50" fmla="*/ 217624 h 533051"/>
                <a:gd name="connsiteX51" fmla="*/ 253873 w 607646"/>
                <a:gd name="connsiteY51" fmla="*/ 140927 h 533051"/>
                <a:gd name="connsiteX52" fmla="*/ 141005 w 607646"/>
                <a:gd name="connsiteY52" fmla="*/ 253542 h 533051"/>
                <a:gd name="connsiteX53" fmla="*/ 253873 w 607646"/>
                <a:gd name="connsiteY53" fmla="*/ 366262 h 533051"/>
                <a:gd name="connsiteX54" fmla="*/ 366741 w 607646"/>
                <a:gd name="connsiteY54" fmla="*/ 253542 h 533051"/>
                <a:gd name="connsiteX55" fmla="*/ 253873 w 607646"/>
                <a:gd name="connsiteY55" fmla="*/ 140927 h 533051"/>
                <a:gd name="connsiteX56" fmla="*/ 232929 w 607646"/>
                <a:gd name="connsiteY56" fmla="*/ 0 h 533051"/>
                <a:gd name="connsiteX57" fmla="*/ 274818 w 607646"/>
                <a:gd name="connsiteY57" fmla="*/ 0 h 533051"/>
                <a:gd name="connsiteX58" fmla="*/ 316918 w 607646"/>
                <a:gd name="connsiteY58" fmla="*/ 42045 h 533051"/>
                <a:gd name="connsiteX59" fmla="*/ 316918 w 607646"/>
                <a:gd name="connsiteY59" fmla="*/ 55885 h 533051"/>
                <a:gd name="connsiteX60" fmla="*/ 349287 w 607646"/>
                <a:gd name="connsiteY60" fmla="*/ 69301 h 533051"/>
                <a:gd name="connsiteX61" fmla="*/ 359125 w 607646"/>
                <a:gd name="connsiteY61" fmla="*/ 59476 h 533051"/>
                <a:gd name="connsiteX62" fmla="*/ 388849 w 607646"/>
                <a:gd name="connsiteY62" fmla="*/ 47222 h 533051"/>
                <a:gd name="connsiteX63" fmla="*/ 418574 w 607646"/>
                <a:gd name="connsiteY63" fmla="*/ 59476 h 533051"/>
                <a:gd name="connsiteX64" fmla="*/ 448192 w 607646"/>
                <a:gd name="connsiteY64" fmla="*/ 89162 h 533051"/>
                <a:gd name="connsiteX65" fmla="*/ 448192 w 607646"/>
                <a:gd name="connsiteY65" fmla="*/ 148533 h 533051"/>
                <a:gd name="connsiteX66" fmla="*/ 438460 w 607646"/>
                <a:gd name="connsiteY66" fmla="*/ 158252 h 533051"/>
                <a:gd name="connsiteX67" fmla="*/ 451789 w 607646"/>
                <a:gd name="connsiteY67" fmla="*/ 190684 h 533051"/>
                <a:gd name="connsiteX68" fmla="*/ 465752 w 607646"/>
                <a:gd name="connsiteY68" fmla="*/ 190684 h 533051"/>
                <a:gd name="connsiteX69" fmla="*/ 497909 w 607646"/>
                <a:gd name="connsiteY69" fmla="*/ 205685 h 533051"/>
                <a:gd name="connsiteX70" fmla="*/ 450837 w 607646"/>
                <a:gd name="connsiteY70" fmla="*/ 218257 h 533051"/>
                <a:gd name="connsiteX71" fmla="*/ 419420 w 607646"/>
                <a:gd name="connsiteY71" fmla="*/ 249739 h 533051"/>
                <a:gd name="connsiteX72" fmla="*/ 419208 w 607646"/>
                <a:gd name="connsiteY72" fmla="*/ 250372 h 533051"/>
                <a:gd name="connsiteX73" fmla="*/ 403764 w 607646"/>
                <a:gd name="connsiteY73" fmla="*/ 314603 h 533051"/>
                <a:gd name="connsiteX74" fmla="*/ 283598 w 607646"/>
                <a:gd name="connsiteY74" fmla="*/ 434613 h 533051"/>
                <a:gd name="connsiteX75" fmla="*/ 264134 w 607646"/>
                <a:gd name="connsiteY75" fmla="*/ 481518 h 533051"/>
                <a:gd name="connsiteX76" fmla="*/ 269317 w 607646"/>
                <a:gd name="connsiteY76" fmla="*/ 507083 h 533051"/>
                <a:gd name="connsiteX77" fmla="*/ 232929 w 607646"/>
                <a:gd name="connsiteY77" fmla="*/ 507083 h 533051"/>
                <a:gd name="connsiteX78" fmla="*/ 190828 w 607646"/>
                <a:gd name="connsiteY78" fmla="*/ 465143 h 533051"/>
                <a:gd name="connsiteX79" fmla="*/ 190828 w 607646"/>
                <a:gd name="connsiteY79" fmla="*/ 451304 h 533051"/>
                <a:gd name="connsiteX80" fmla="*/ 158459 w 607646"/>
                <a:gd name="connsiteY80" fmla="*/ 437888 h 533051"/>
                <a:gd name="connsiteX81" fmla="*/ 148622 w 607646"/>
                <a:gd name="connsiteY81" fmla="*/ 447712 h 533051"/>
                <a:gd name="connsiteX82" fmla="*/ 118897 w 607646"/>
                <a:gd name="connsiteY82" fmla="*/ 459967 h 533051"/>
                <a:gd name="connsiteX83" fmla="*/ 89173 w 607646"/>
                <a:gd name="connsiteY83" fmla="*/ 447712 h 533051"/>
                <a:gd name="connsiteX84" fmla="*/ 59554 w 607646"/>
                <a:gd name="connsiteY84" fmla="*/ 418027 h 533051"/>
                <a:gd name="connsiteX85" fmla="*/ 59554 w 607646"/>
                <a:gd name="connsiteY85" fmla="*/ 358656 h 533051"/>
                <a:gd name="connsiteX86" fmla="*/ 69286 w 607646"/>
                <a:gd name="connsiteY86" fmla="*/ 348831 h 533051"/>
                <a:gd name="connsiteX87" fmla="*/ 55958 w 607646"/>
                <a:gd name="connsiteY87" fmla="*/ 316505 h 533051"/>
                <a:gd name="connsiteX88" fmla="*/ 41995 w 607646"/>
                <a:gd name="connsiteY88" fmla="*/ 316505 h 533051"/>
                <a:gd name="connsiteX89" fmla="*/ 0 w 607646"/>
                <a:gd name="connsiteY89" fmla="*/ 274565 h 533051"/>
                <a:gd name="connsiteX90" fmla="*/ 0 w 607646"/>
                <a:gd name="connsiteY90" fmla="*/ 232625 h 533051"/>
                <a:gd name="connsiteX91" fmla="*/ 41995 w 607646"/>
                <a:gd name="connsiteY91" fmla="*/ 190684 h 533051"/>
                <a:gd name="connsiteX92" fmla="*/ 55958 w 607646"/>
                <a:gd name="connsiteY92" fmla="*/ 190684 h 533051"/>
                <a:gd name="connsiteX93" fmla="*/ 69286 w 607646"/>
                <a:gd name="connsiteY93" fmla="*/ 158252 h 533051"/>
                <a:gd name="connsiteX94" fmla="*/ 59554 w 607646"/>
                <a:gd name="connsiteY94" fmla="*/ 148533 h 533051"/>
                <a:gd name="connsiteX95" fmla="*/ 59554 w 607646"/>
                <a:gd name="connsiteY95" fmla="*/ 89162 h 533051"/>
                <a:gd name="connsiteX96" fmla="*/ 89173 w 607646"/>
                <a:gd name="connsiteY96" fmla="*/ 59476 h 533051"/>
                <a:gd name="connsiteX97" fmla="*/ 118897 w 607646"/>
                <a:gd name="connsiteY97" fmla="*/ 47222 h 533051"/>
                <a:gd name="connsiteX98" fmla="*/ 148622 w 607646"/>
                <a:gd name="connsiteY98" fmla="*/ 59476 h 533051"/>
                <a:gd name="connsiteX99" fmla="*/ 158459 w 607646"/>
                <a:gd name="connsiteY99" fmla="*/ 69301 h 533051"/>
                <a:gd name="connsiteX100" fmla="*/ 190828 w 607646"/>
                <a:gd name="connsiteY100" fmla="*/ 55885 h 533051"/>
                <a:gd name="connsiteX101" fmla="*/ 190828 w 607646"/>
                <a:gd name="connsiteY101" fmla="*/ 42045 h 533051"/>
                <a:gd name="connsiteX102" fmla="*/ 232929 w 607646"/>
                <a:gd name="connsiteY102" fmla="*/ 0 h 533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607646" h="533051">
                  <a:moveTo>
                    <a:pt x="352921" y="457945"/>
                  </a:moveTo>
                  <a:cubicBezTo>
                    <a:pt x="349113" y="457945"/>
                    <a:pt x="345623" y="459423"/>
                    <a:pt x="342979" y="462170"/>
                  </a:cubicBezTo>
                  <a:cubicBezTo>
                    <a:pt x="340229" y="464811"/>
                    <a:pt x="338854" y="468297"/>
                    <a:pt x="338854" y="472100"/>
                  </a:cubicBezTo>
                  <a:cubicBezTo>
                    <a:pt x="338854" y="475797"/>
                    <a:pt x="340229" y="479389"/>
                    <a:pt x="342979" y="482029"/>
                  </a:cubicBezTo>
                  <a:cubicBezTo>
                    <a:pt x="345623" y="484670"/>
                    <a:pt x="349113" y="486149"/>
                    <a:pt x="352921" y="486149"/>
                  </a:cubicBezTo>
                  <a:cubicBezTo>
                    <a:pt x="356622" y="486149"/>
                    <a:pt x="360218" y="484670"/>
                    <a:pt x="362863" y="482029"/>
                  </a:cubicBezTo>
                  <a:cubicBezTo>
                    <a:pt x="365507" y="479389"/>
                    <a:pt x="366987" y="475797"/>
                    <a:pt x="366987" y="472100"/>
                  </a:cubicBezTo>
                  <a:cubicBezTo>
                    <a:pt x="366987" y="468297"/>
                    <a:pt x="365507" y="464811"/>
                    <a:pt x="362863" y="462170"/>
                  </a:cubicBezTo>
                  <a:cubicBezTo>
                    <a:pt x="360218" y="459423"/>
                    <a:pt x="356622" y="457945"/>
                    <a:pt x="352921" y="457945"/>
                  </a:cubicBezTo>
                  <a:close/>
                  <a:moveTo>
                    <a:pt x="438485" y="375972"/>
                  </a:moveTo>
                  <a:cubicBezTo>
                    <a:pt x="435735" y="375972"/>
                    <a:pt x="432985" y="377134"/>
                    <a:pt x="431081" y="379141"/>
                  </a:cubicBezTo>
                  <a:lnTo>
                    <a:pt x="372699" y="437346"/>
                  </a:lnTo>
                  <a:cubicBezTo>
                    <a:pt x="370689" y="439353"/>
                    <a:pt x="369632" y="441994"/>
                    <a:pt x="369632" y="444846"/>
                  </a:cubicBezTo>
                  <a:cubicBezTo>
                    <a:pt x="369632" y="447698"/>
                    <a:pt x="370689" y="450339"/>
                    <a:pt x="372699" y="452346"/>
                  </a:cubicBezTo>
                  <a:cubicBezTo>
                    <a:pt x="374708" y="454353"/>
                    <a:pt x="377352" y="455409"/>
                    <a:pt x="380208" y="455409"/>
                  </a:cubicBezTo>
                  <a:cubicBezTo>
                    <a:pt x="382958" y="455409"/>
                    <a:pt x="385602" y="454353"/>
                    <a:pt x="387612" y="452346"/>
                  </a:cubicBezTo>
                  <a:lnTo>
                    <a:pt x="445994" y="394035"/>
                  </a:lnTo>
                  <a:cubicBezTo>
                    <a:pt x="448004" y="392028"/>
                    <a:pt x="449062" y="389387"/>
                    <a:pt x="449062" y="386535"/>
                  </a:cubicBezTo>
                  <a:cubicBezTo>
                    <a:pt x="449062" y="383789"/>
                    <a:pt x="448004" y="381148"/>
                    <a:pt x="445994" y="379141"/>
                  </a:cubicBezTo>
                  <a:cubicBezTo>
                    <a:pt x="443985" y="377134"/>
                    <a:pt x="441341" y="375972"/>
                    <a:pt x="438485" y="375972"/>
                  </a:cubicBezTo>
                  <a:close/>
                  <a:moveTo>
                    <a:pt x="534943" y="217624"/>
                  </a:moveTo>
                  <a:cubicBezTo>
                    <a:pt x="542136" y="217624"/>
                    <a:pt x="548905" y="220371"/>
                    <a:pt x="553981" y="225547"/>
                  </a:cubicBezTo>
                  <a:lnTo>
                    <a:pt x="554404" y="225969"/>
                  </a:lnTo>
                  <a:cubicBezTo>
                    <a:pt x="555779" y="227237"/>
                    <a:pt x="556520" y="229033"/>
                    <a:pt x="556520" y="230934"/>
                  </a:cubicBezTo>
                  <a:cubicBezTo>
                    <a:pt x="556520" y="232836"/>
                    <a:pt x="555779" y="234632"/>
                    <a:pt x="554510" y="235899"/>
                  </a:cubicBezTo>
                  <a:lnTo>
                    <a:pt x="524050" y="266322"/>
                  </a:lnTo>
                  <a:cubicBezTo>
                    <a:pt x="519396" y="270970"/>
                    <a:pt x="516752" y="277203"/>
                    <a:pt x="516752" y="283752"/>
                  </a:cubicBezTo>
                  <a:cubicBezTo>
                    <a:pt x="516752" y="290301"/>
                    <a:pt x="519396" y="296534"/>
                    <a:pt x="524050" y="301182"/>
                  </a:cubicBezTo>
                  <a:cubicBezTo>
                    <a:pt x="528703" y="305830"/>
                    <a:pt x="534838" y="308365"/>
                    <a:pt x="541501" y="308365"/>
                  </a:cubicBezTo>
                  <a:cubicBezTo>
                    <a:pt x="548058" y="308365"/>
                    <a:pt x="554299" y="305830"/>
                    <a:pt x="558952" y="301182"/>
                  </a:cubicBezTo>
                  <a:lnTo>
                    <a:pt x="589413" y="270759"/>
                  </a:lnTo>
                  <a:cubicBezTo>
                    <a:pt x="590682" y="269491"/>
                    <a:pt x="592480" y="268752"/>
                    <a:pt x="594384" y="268752"/>
                  </a:cubicBezTo>
                  <a:cubicBezTo>
                    <a:pt x="596288" y="268752"/>
                    <a:pt x="597980" y="269491"/>
                    <a:pt x="599355" y="270759"/>
                  </a:cubicBezTo>
                  <a:lnTo>
                    <a:pt x="599778" y="271181"/>
                  </a:lnTo>
                  <a:cubicBezTo>
                    <a:pt x="606547" y="277942"/>
                    <a:pt x="609191" y="287977"/>
                    <a:pt x="606758" y="297168"/>
                  </a:cubicBezTo>
                  <a:lnTo>
                    <a:pt x="590047" y="359704"/>
                  </a:lnTo>
                  <a:cubicBezTo>
                    <a:pt x="587509" y="368894"/>
                    <a:pt x="580211" y="376183"/>
                    <a:pt x="571010" y="378612"/>
                  </a:cubicBezTo>
                  <a:cubicBezTo>
                    <a:pt x="570904" y="378718"/>
                    <a:pt x="570904" y="378718"/>
                    <a:pt x="570798" y="378718"/>
                  </a:cubicBezTo>
                  <a:lnTo>
                    <a:pt x="501627" y="395303"/>
                  </a:lnTo>
                  <a:lnTo>
                    <a:pt x="377987" y="518790"/>
                  </a:lnTo>
                  <a:cubicBezTo>
                    <a:pt x="368785" y="527981"/>
                    <a:pt x="356517" y="533051"/>
                    <a:pt x="343507" y="533051"/>
                  </a:cubicBezTo>
                  <a:cubicBezTo>
                    <a:pt x="330498" y="533051"/>
                    <a:pt x="318229" y="527981"/>
                    <a:pt x="309028" y="518790"/>
                  </a:cubicBezTo>
                  <a:lnTo>
                    <a:pt x="306066" y="515833"/>
                  </a:lnTo>
                  <a:cubicBezTo>
                    <a:pt x="296865" y="506642"/>
                    <a:pt x="291788" y="494494"/>
                    <a:pt x="291788" y="481501"/>
                  </a:cubicBezTo>
                  <a:cubicBezTo>
                    <a:pt x="291788" y="468402"/>
                    <a:pt x="296865" y="456254"/>
                    <a:pt x="306066" y="447064"/>
                  </a:cubicBezTo>
                  <a:lnTo>
                    <a:pt x="429707" y="323576"/>
                  </a:lnTo>
                  <a:lnTo>
                    <a:pt x="446418" y="254491"/>
                  </a:lnTo>
                  <a:cubicBezTo>
                    <a:pt x="446418" y="254385"/>
                    <a:pt x="446418" y="254385"/>
                    <a:pt x="446418" y="254280"/>
                  </a:cubicBezTo>
                  <a:cubicBezTo>
                    <a:pt x="448956" y="245089"/>
                    <a:pt x="456254" y="237801"/>
                    <a:pt x="465455" y="235265"/>
                  </a:cubicBezTo>
                  <a:lnTo>
                    <a:pt x="527963" y="218575"/>
                  </a:lnTo>
                  <a:cubicBezTo>
                    <a:pt x="530290" y="217941"/>
                    <a:pt x="532617" y="217624"/>
                    <a:pt x="534943" y="217624"/>
                  </a:cubicBezTo>
                  <a:close/>
                  <a:moveTo>
                    <a:pt x="253873" y="140927"/>
                  </a:moveTo>
                  <a:cubicBezTo>
                    <a:pt x="191674" y="140927"/>
                    <a:pt x="141005" y="191424"/>
                    <a:pt x="141005" y="253542"/>
                  </a:cubicBezTo>
                  <a:cubicBezTo>
                    <a:pt x="141005" y="315765"/>
                    <a:pt x="191674" y="366262"/>
                    <a:pt x="253873" y="366262"/>
                  </a:cubicBezTo>
                  <a:cubicBezTo>
                    <a:pt x="316072" y="366262"/>
                    <a:pt x="366741" y="315765"/>
                    <a:pt x="366741" y="253542"/>
                  </a:cubicBezTo>
                  <a:cubicBezTo>
                    <a:pt x="366741" y="191424"/>
                    <a:pt x="316072" y="140927"/>
                    <a:pt x="253873" y="140927"/>
                  </a:cubicBezTo>
                  <a:close/>
                  <a:moveTo>
                    <a:pt x="232929" y="0"/>
                  </a:moveTo>
                  <a:lnTo>
                    <a:pt x="274818" y="0"/>
                  </a:lnTo>
                  <a:cubicBezTo>
                    <a:pt x="298090" y="0"/>
                    <a:pt x="316918" y="18910"/>
                    <a:pt x="316918" y="42045"/>
                  </a:cubicBezTo>
                  <a:lnTo>
                    <a:pt x="316918" y="55885"/>
                  </a:lnTo>
                  <a:cubicBezTo>
                    <a:pt x="328025" y="59371"/>
                    <a:pt x="338921" y="63913"/>
                    <a:pt x="349287" y="69301"/>
                  </a:cubicBezTo>
                  <a:lnTo>
                    <a:pt x="359125" y="59476"/>
                  </a:lnTo>
                  <a:cubicBezTo>
                    <a:pt x="367058" y="51553"/>
                    <a:pt x="377637" y="47222"/>
                    <a:pt x="388849" y="47222"/>
                  </a:cubicBezTo>
                  <a:cubicBezTo>
                    <a:pt x="400062" y="47222"/>
                    <a:pt x="410640" y="51553"/>
                    <a:pt x="418574" y="59476"/>
                  </a:cubicBezTo>
                  <a:lnTo>
                    <a:pt x="448192" y="89162"/>
                  </a:lnTo>
                  <a:cubicBezTo>
                    <a:pt x="464588" y="105536"/>
                    <a:pt x="464588" y="132158"/>
                    <a:pt x="448192" y="148533"/>
                  </a:cubicBezTo>
                  <a:lnTo>
                    <a:pt x="438460" y="158252"/>
                  </a:lnTo>
                  <a:cubicBezTo>
                    <a:pt x="443749" y="168710"/>
                    <a:pt x="448298" y="179486"/>
                    <a:pt x="451789" y="190684"/>
                  </a:cubicBezTo>
                  <a:lnTo>
                    <a:pt x="465752" y="190684"/>
                  </a:lnTo>
                  <a:cubicBezTo>
                    <a:pt x="478657" y="190684"/>
                    <a:pt x="490187" y="196494"/>
                    <a:pt x="497909" y="205685"/>
                  </a:cubicBezTo>
                  <a:lnTo>
                    <a:pt x="450837" y="218257"/>
                  </a:lnTo>
                  <a:cubicBezTo>
                    <a:pt x="435604" y="222377"/>
                    <a:pt x="423440" y="234420"/>
                    <a:pt x="419420" y="249739"/>
                  </a:cubicBezTo>
                  <a:cubicBezTo>
                    <a:pt x="419314" y="249950"/>
                    <a:pt x="419314" y="250161"/>
                    <a:pt x="419208" y="250372"/>
                  </a:cubicBezTo>
                  <a:lnTo>
                    <a:pt x="403764" y="314603"/>
                  </a:lnTo>
                  <a:lnTo>
                    <a:pt x="283598" y="434613"/>
                  </a:lnTo>
                  <a:cubicBezTo>
                    <a:pt x="271010" y="447078"/>
                    <a:pt x="264134" y="463770"/>
                    <a:pt x="264134" y="481518"/>
                  </a:cubicBezTo>
                  <a:cubicBezTo>
                    <a:pt x="264134" y="490392"/>
                    <a:pt x="265932" y="499160"/>
                    <a:pt x="269317" y="507083"/>
                  </a:cubicBezTo>
                  <a:lnTo>
                    <a:pt x="232929" y="507083"/>
                  </a:lnTo>
                  <a:cubicBezTo>
                    <a:pt x="209657" y="507083"/>
                    <a:pt x="190828" y="488279"/>
                    <a:pt x="190828" y="465143"/>
                  </a:cubicBezTo>
                  <a:lnTo>
                    <a:pt x="190828" y="451304"/>
                  </a:lnTo>
                  <a:cubicBezTo>
                    <a:pt x="179721" y="447712"/>
                    <a:pt x="168826" y="443275"/>
                    <a:pt x="158459" y="437888"/>
                  </a:cubicBezTo>
                  <a:lnTo>
                    <a:pt x="148622" y="447712"/>
                  </a:lnTo>
                  <a:cubicBezTo>
                    <a:pt x="140688" y="455635"/>
                    <a:pt x="130110" y="459967"/>
                    <a:pt x="118897" y="459967"/>
                  </a:cubicBezTo>
                  <a:cubicBezTo>
                    <a:pt x="107685" y="459967"/>
                    <a:pt x="97107" y="455635"/>
                    <a:pt x="89173" y="447712"/>
                  </a:cubicBezTo>
                  <a:lnTo>
                    <a:pt x="59554" y="418027"/>
                  </a:lnTo>
                  <a:cubicBezTo>
                    <a:pt x="43158" y="401652"/>
                    <a:pt x="43158" y="375030"/>
                    <a:pt x="59554" y="358656"/>
                  </a:cubicBezTo>
                  <a:lnTo>
                    <a:pt x="69286" y="348831"/>
                  </a:lnTo>
                  <a:cubicBezTo>
                    <a:pt x="63997" y="338478"/>
                    <a:pt x="59449" y="327597"/>
                    <a:pt x="55958" y="316505"/>
                  </a:cubicBezTo>
                  <a:lnTo>
                    <a:pt x="41995" y="316505"/>
                  </a:lnTo>
                  <a:cubicBezTo>
                    <a:pt x="18829" y="316505"/>
                    <a:pt x="0" y="297700"/>
                    <a:pt x="0" y="274565"/>
                  </a:cubicBezTo>
                  <a:lnTo>
                    <a:pt x="0" y="232625"/>
                  </a:lnTo>
                  <a:cubicBezTo>
                    <a:pt x="0" y="209488"/>
                    <a:pt x="18829" y="190684"/>
                    <a:pt x="41995" y="190684"/>
                  </a:cubicBezTo>
                  <a:lnTo>
                    <a:pt x="55958" y="190684"/>
                  </a:lnTo>
                  <a:cubicBezTo>
                    <a:pt x="59449" y="179486"/>
                    <a:pt x="63997" y="168710"/>
                    <a:pt x="69286" y="158252"/>
                  </a:cubicBezTo>
                  <a:lnTo>
                    <a:pt x="59554" y="148533"/>
                  </a:lnTo>
                  <a:cubicBezTo>
                    <a:pt x="43158" y="132158"/>
                    <a:pt x="43158" y="105536"/>
                    <a:pt x="59554" y="89162"/>
                  </a:cubicBezTo>
                  <a:lnTo>
                    <a:pt x="89173" y="59476"/>
                  </a:lnTo>
                  <a:cubicBezTo>
                    <a:pt x="97107" y="51553"/>
                    <a:pt x="107685" y="47222"/>
                    <a:pt x="118897" y="47222"/>
                  </a:cubicBezTo>
                  <a:cubicBezTo>
                    <a:pt x="130110" y="47222"/>
                    <a:pt x="140688" y="51553"/>
                    <a:pt x="148622" y="59476"/>
                  </a:cubicBezTo>
                  <a:lnTo>
                    <a:pt x="158459" y="69301"/>
                  </a:lnTo>
                  <a:cubicBezTo>
                    <a:pt x="168826" y="63913"/>
                    <a:pt x="179721" y="59371"/>
                    <a:pt x="190828" y="55885"/>
                  </a:cubicBezTo>
                  <a:lnTo>
                    <a:pt x="190828" y="42045"/>
                  </a:lnTo>
                  <a:cubicBezTo>
                    <a:pt x="190828" y="18910"/>
                    <a:pt x="209657" y="0"/>
                    <a:pt x="232929" y="0"/>
                  </a:cubicBezTo>
                  <a:close/>
                </a:path>
              </a:pathLst>
            </a:custGeom>
            <a:solidFill>
              <a:schemeClr val="bg1"/>
            </a:solidFill>
            <a:ln>
              <a:noFill/>
            </a:ln>
          </p:spPr>
          <p:txBody>
            <a:bodyPr/>
            <a:lstStyle/>
            <a:p>
              <a:endParaRPr lang="zh-CN" altLang="en-US"/>
            </a:p>
          </p:txBody>
        </p:sp>
        <p:sp>
          <p:nvSpPr>
            <p:cNvPr id="24" name="îṩḷîḓê">
              <a:extLst>
                <a:ext uri="{FF2B5EF4-FFF2-40B4-BE49-F238E27FC236}">
                  <a16:creationId xmlns:a16="http://schemas.microsoft.com/office/drawing/2014/main" id="{7C2D24CA-C7FD-4777-B5EC-B28BA4D51565}"/>
                </a:ext>
              </a:extLst>
            </p:cNvPr>
            <p:cNvSpPr/>
            <p:nvPr/>
          </p:nvSpPr>
          <p:spPr bwMode="auto">
            <a:xfrm>
              <a:off x="5067148" y="4948670"/>
              <a:ext cx="371794" cy="326152"/>
            </a:xfrm>
            <a:custGeom>
              <a:avLst/>
              <a:gdLst>
                <a:gd name="connsiteX0" fmla="*/ 352921 w 607646"/>
                <a:gd name="connsiteY0" fmla="*/ 457945 h 533051"/>
                <a:gd name="connsiteX1" fmla="*/ 342979 w 607646"/>
                <a:gd name="connsiteY1" fmla="*/ 462170 h 533051"/>
                <a:gd name="connsiteX2" fmla="*/ 338854 w 607646"/>
                <a:gd name="connsiteY2" fmla="*/ 472100 h 533051"/>
                <a:gd name="connsiteX3" fmla="*/ 342979 w 607646"/>
                <a:gd name="connsiteY3" fmla="*/ 482029 h 533051"/>
                <a:gd name="connsiteX4" fmla="*/ 352921 w 607646"/>
                <a:gd name="connsiteY4" fmla="*/ 486149 h 533051"/>
                <a:gd name="connsiteX5" fmla="*/ 362863 w 607646"/>
                <a:gd name="connsiteY5" fmla="*/ 482029 h 533051"/>
                <a:gd name="connsiteX6" fmla="*/ 366987 w 607646"/>
                <a:gd name="connsiteY6" fmla="*/ 472100 h 533051"/>
                <a:gd name="connsiteX7" fmla="*/ 362863 w 607646"/>
                <a:gd name="connsiteY7" fmla="*/ 462170 h 533051"/>
                <a:gd name="connsiteX8" fmla="*/ 352921 w 607646"/>
                <a:gd name="connsiteY8" fmla="*/ 457945 h 533051"/>
                <a:gd name="connsiteX9" fmla="*/ 438485 w 607646"/>
                <a:gd name="connsiteY9" fmla="*/ 375972 h 533051"/>
                <a:gd name="connsiteX10" fmla="*/ 431081 w 607646"/>
                <a:gd name="connsiteY10" fmla="*/ 379141 h 533051"/>
                <a:gd name="connsiteX11" fmla="*/ 372699 w 607646"/>
                <a:gd name="connsiteY11" fmla="*/ 437346 h 533051"/>
                <a:gd name="connsiteX12" fmla="*/ 369632 w 607646"/>
                <a:gd name="connsiteY12" fmla="*/ 444846 h 533051"/>
                <a:gd name="connsiteX13" fmla="*/ 372699 w 607646"/>
                <a:gd name="connsiteY13" fmla="*/ 452346 h 533051"/>
                <a:gd name="connsiteX14" fmla="*/ 380208 w 607646"/>
                <a:gd name="connsiteY14" fmla="*/ 455409 h 533051"/>
                <a:gd name="connsiteX15" fmla="*/ 387612 w 607646"/>
                <a:gd name="connsiteY15" fmla="*/ 452346 h 533051"/>
                <a:gd name="connsiteX16" fmla="*/ 445994 w 607646"/>
                <a:gd name="connsiteY16" fmla="*/ 394035 h 533051"/>
                <a:gd name="connsiteX17" fmla="*/ 449062 w 607646"/>
                <a:gd name="connsiteY17" fmla="*/ 386535 h 533051"/>
                <a:gd name="connsiteX18" fmla="*/ 445994 w 607646"/>
                <a:gd name="connsiteY18" fmla="*/ 379141 h 533051"/>
                <a:gd name="connsiteX19" fmla="*/ 438485 w 607646"/>
                <a:gd name="connsiteY19" fmla="*/ 375972 h 533051"/>
                <a:gd name="connsiteX20" fmla="*/ 534943 w 607646"/>
                <a:gd name="connsiteY20" fmla="*/ 217624 h 533051"/>
                <a:gd name="connsiteX21" fmla="*/ 553981 w 607646"/>
                <a:gd name="connsiteY21" fmla="*/ 225547 h 533051"/>
                <a:gd name="connsiteX22" fmla="*/ 554404 w 607646"/>
                <a:gd name="connsiteY22" fmla="*/ 225969 h 533051"/>
                <a:gd name="connsiteX23" fmla="*/ 556520 w 607646"/>
                <a:gd name="connsiteY23" fmla="*/ 230934 h 533051"/>
                <a:gd name="connsiteX24" fmla="*/ 554510 w 607646"/>
                <a:gd name="connsiteY24" fmla="*/ 235899 h 533051"/>
                <a:gd name="connsiteX25" fmla="*/ 524050 w 607646"/>
                <a:gd name="connsiteY25" fmla="*/ 266322 h 533051"/>
                <a:gd name="connsiteX26" fmla="*/ 516752 w 607646"/>
                <a:gd name="connsiteY26" fmla="*/ 283752 h 533051"/>
                <a:gd name="connsiteX27" fmla="*/ 524050 w 607646"/>
                <a:gd name="connsiteY27" fmla="*/ 301182 h 533051"/>
                <a:gd name="connsiteX28" fmla="*/ 541501 w 607646"/>
                <a:gd name="connsiteY28" fmla="*/ 308365 h 533051"/>
                <a:gd name="connsiteX29" fmla="*/ 558952 w 607646"/>
                <a:gd name="connsiteY29" fmla="*/ 301182 h 533051"/>
                <a:gd name="connsiteX30" fmla="*/ 589413 w 607646"/>
                <a:gd name="connsiteY30" fmla="*/ 270759 h 533051"/>
                <a:gd name="connsiteX31" fmla="*/ 594384 w 607646"/>
                <a:gd name="connsiteY31" fmla="*/ 268752 h 533051"/>
                <a:gd name="connsiteX32" fmla="*/ 599355 w 607646"/>
                <a:gd name="connsiteY32" fmla="*/ 270759 h 533051"/>
                <a:gd name="connsiteX33" fmla="*/ 599778 w 607646"/>
                <a:gd name="connsiteY33" fmla="*/ 271181 h 533051"/>
                <a:gd name="connsiteX34" fmla="*/ 606758 w 607646"/>
                <a:gd name="connsiteY34" fmla="*/ 297168 h 533051"/>
                <a:gd name="connsiteX35" fmla="*/ 590047 w 607646"/>
                <a:gd name="connsiteY35" fmla="*/ 359704 h 533051"/>
                <a:gd name="connsiteX36" fmla="*/ 571010 w 607646"/>
                <a:gd name="connsiteY36" fmla="*/ 378612 h 533051"/>
                <a:gd name="connsiteX37" fmla="*/ 570798 w 607646"/>
                <a:gd name="connsiteY37" fmla="*/ 378718 h 533051"/>
                <a:gd name="connsiteX38" fmla="*/ 501627 w 607646"/>
                <a:gd name="connsiteY38" fmla="*/ 395303 h 533051"/>
                <a:gd name="connsiteX39" fmla="*/ 377987 w 607646"/>
                <a:gd name="connsiteY39" fmla="*/ 518790 h 533051"/>
                <a:gd name="connsiteX40" fmla="*/ 343507 w 607646"/>
                <a:gd name="connsiteY40" fmla="*/ 533051 h 533051"/>
                <a:gd name="connsiteX41" fmla="*/ 309028 w 607646"/>
                <a:gd name="connsiteY41" fmla="*/ 518790 h 533051"/>
                <a:gd name="connsiteX42" fmla="*/ 306066 w 607646"/>
                <a:gd name="connsiteY42" fmla="*/ 515833 h 533051"/>
                <a:gd name="connsiteX43" fmla="*/ 291788 w 607646"/>
                <a:gd name="connsiteY43" fmla="*/ 481501 h 533051"/>
                <a:gd name="connsiteX44" fmla="*/ 306066 w 607646"/>
                <a:gd name="connsiteY44" fmla="*/ 447064 h 533051"/>
                <a:gd name="connsiteX45" fmla="*/ 429707 w 607646"/>
                <a:gd name="connsiteY45" fmla="*/ 323576 h 533051"/>
                <a:gd name="connsiteX46" fmla="*/ 446418 w 607646"/>
                <a:gd name="connsiteY46" fmla="*/ 254491 h 533051"/>
                <a:gd name="connsiteX47" fmla="*/ 446418 w 607646"/>
                <a:gd name="connsiteY47" fmla="*/ 254280 h 533051"/>
                <a:gd name="connsiteX48" fmla="*/ 465455 w 607646"/>
                <a:gd name="connsiteY48" fmla="*/ 235265 h 533051"/>
                <a:gd name="connsiteX49" fmla="*/ 527963 w 607646"/>
                <a:gd name="connsiteY49" fmla="*/ 218575 h 533051"/>
                <a:gd name="connsiteX50" fmla="*/ 534943 w 607646"/>
                <a:gd name="connsiteY50" fmla="*/ 217624 h 533051"/>
                <a:gd name="connsiteX51" fmla="*/ 253873 w 607646"/>
                <a:gd name="connsiteY51" fmla="*/ 140927 h 533051"/>
                <a:gd name="connsiteX52" fmla="*/ 141005 w 607646"/>
                <a:gd name="connsiteY52" fmla="*/ 253542 h 533051"/>
                <a:gd name="connsiteX53" fmla="*/ 253873 w 607646"/>
                <a:gd name="connsiteY53" fmla="*/ 366262 h 533051"/>
                <a:gd name="connsiteX54" fmla="*/ 366741 w 607646"/>
                <a:gd name="connsiteY54" fmla="*/ 253542 h 533051"/>
                <a:gd name="connsiteX55" fmla="*/ 253873 w 607646"/>
                <a:gd name="connsiteY55" fmla="*/ 140927 h 533051"/>
                <a:gd name="connsiteX56" fmla="*/ 232929 w 607646"/>
                <a:gd name="connsiteY56" fmla="*/ 0 h 533051"/>
                <a:gd name="connsiteX57" fmla="*/ 274818 w 607646"/>
                <a:gd name="connsiteY57" fmla="*/ 0 h 533051"/>
                <a:gd name="connsiteX58" fmla="*/ 316918 w 607646"/>
                <a:gd name="connsiteY58" fmla="*/ 42045 h 533051"/>
                <a:gd name="connsiteX59" fmla="*/ 316918 w 607646"/>
                <a:gd name="connsiteY59" fmla="*/ 55885 h 533051"/>
                <a:gd name="connsiteX60" fmla="*/ 349287 w 607646"/>
                <a:gd name="connsiteY60" fmla="*/ 69301 h 533051"/>
                <a:gd name="connsiteX61" fmla="*/ 359125 w 607646"/>
                <a:gd name="connsiteY61" fmla="*/ 59476 h 533051"/>
                <a:gd name="connsiteX62" fmla="*/ 388849 w 607646"/>
                <a:gd name="connsiteY62" fmla="*/ 47222 h 533051"/>
                <a:gd name="connsiteX63" fmla="*/ 418574 w 607646"/>
                <a:gd name="connsiteY63" fmla="*/ 59476 h 533051"/>
                <a:gd name="connsiteX64" fmla="*/ 448192 w 607646"/>
                <a:gd name="connsiteY64" fmla="*/ 89162 h 533051"/>
                <a:gd name="connsiteX65" fmla="*/ 448192 w 607646"/>
                <a:gd name="connsiteY65" fmla="*/ 148533 h 533051"/>
                <a:gd name="connsiteX66" fmla="*/ 438460 w 607646"/>
                <a:gd name="connsiteY66" fmla="*/ 158252 h 533051"/>
                <a:gd name="connsiteX67" fmla="*/ 451789 w 607646"/>
                <a:gd name="connsiteY67" fmla="*/ 190684 h 533051"/>
                <a:gd name="connsiteX68" fmla="*/ 465752 w 607646"/>
                <a:gd name="connsiteY68" fmla="*/ 190684 h 533051"/>
                <a:gd name="connsiteX69" fmla="*/ 497909 w 607646"/>
                <a:gd name="connsiteY69" fmla="*/ 205685 h 533051"/>
                <a:gd name="connsiteX70" fmla="*/ 450837 w 607646"/>
                <a:gd name="connsiteY70" fmla="*/ 218257 h 533051"/>
                <a:gd name="connsiteX71" fmla="*/ 419420 w 607646"/>
                <a:gd name="connsiteY71" fmla="*/ 249739 h 533051"/>
                <a:gd name="connsiteX72" fmla="*/ 419208 w 607646"/>
                <a:gd name="connsiteY72" fmla="*/ 250372 h 533051"/>
                <a:gd name="connsiteX73" fmla="*/ 403764 w 607646"/>
                <a:gd name="connsiteY73" fmla="*/ 314603 h 533051"/>
                <a:gd name="connsiteX74" fmla="*/ 283598 w 607646"/>
                <a:gd name="connsiteY74" fmla="*/ 434613 h 533051"/>
                <a:gd name="connsiteX75" fmla="*/ 264134 w 607646"/>
                <a:gd name="connsiteY75" fmla="*/ 481518 h 533051"/>
                <a:gd name="connsiteX76" fmla="*/ 269317 w 607646"/>
                <a:gd name="connsiteY76" fmla="*/ 507083 h 533051"/>
                <a:gd name="connsiteX77" fmla="*/ 232929 w 607646"/>
                <a:gd name="connsiteY77" fmla="*/ 507083 h 533051"/>
                <a:gd name="connsiteX78" fmla="*/ 190828 w 607646"/>
                <a:gd name="connsiteY78" fmla="*/ 465143 h 533051"/>
                <a:gd name="connsiteX79" fmla="*/ 190828 w 607646"/>
                <a:gd name="connsiteY79" fmla="*/ 451304 h 533051"/>
                <a:gd name="connsiteX80" fmla="*/ 158459 w 607646"/>
                <a:gd name="connsiteY80" fmla="*/ 437888 h 533051"/>
                <a:gd name="connsiteX81" fmla="*/ 148622 w 607646"/>
                <a:gd name="connsiteY81" fmla="*/ 447712 h 533051"/>
                <a:gd name="connsiteX82" fmla="*/ 118897 w 607646"/>
                <a:gd name="connsiteY82" fmla="*/ 459967 h 533051"/>
                <a:gd name="connsiteX83" fmla="*/ 89173 w 607646"/>
                <a:gd name="connsiteY83" fmla="*/ 447712 h 533051"/>
                <a:gd name="connsiteX84" fmla="*/ 59554 w 607646"/>
                <a:gd name="connsiteY84" fmla="*/ 418027 h 533051"/>
                <a:gd name="connsiteX85" fmla="*/ 59554 w 607646"/>
                <a:gd name="connsiteY85" fmla="*/ 358656 h 533051"/>
                <a:gd name="connsiteX86" fmla="*/ 69286 w 607646"/>
                <a:gd name="connsiteY86" fmla="*/ 348831 h 533051"/>
                <a:gd name="connsiteX87" fmla="*/ 55958 w 607646"/>
                <a:gd name="connsiteY87" fmla="*/ 316505 h 533051"/>
                <a:gd name="connsiteX88" fmla="*/ 41995 w 607646"/>
                <a:gd name="connsiteY88" fmla="*/ 316505 h 533051"/>
                <a:gd name="connsiteX89" fmla="*/ 0 w 607646"/>
                <a:gd name="connsiteY89" fmla="*/ 274565 h 533051"/>
                <a:gd name="connsiteX90" fmla="*/ 0 w 607646"/>
                <a:gd name="connsiteY90" fmla="*/ 232625 h 533051"/>
                <a:gd name="connsiteX91" fmla="*/ 41995 w 607646"/>
                <a:gd name="connsiteY91" fmla="*/ 190684 h 533051"/>
                <a:gd name="connsiteX92" fmla="*/ 55958 w 607646"/>
                <a:gd name="connsiteY92" fmla="*/ 190684 h 533051"/>
                <a:gd name="connsiteX93" fmla="*/ 69286 w 607646"/>
                <a:gd name="connsiteY93" fmla="*/ 158252 h 533051"/>
                <a:gd name="connsiteX94" fmla="*/ 59554 w 607646"/>
                <a:gd name="connsiteY94" fmla="*/ 148533 h 533051"/>
                <a:gd name="connsiteX95" fmla="*/ 59554 w 607646"/>
                <a:gd name="connsiteY95" fmla="*/ 89162 h 533051"/>
                <a:gd name="connsiteX96" fmla="*/ 89173 w 607646"/>
                <a:gd name="connsiteY96" fmla="*/ 59476 h 533051"/>
                <a:gd name="connsiteX97" fmla="*/ 118897 w 607646"/>
                <a:gd name="connsiteY97" fmla="*/ 47222 h 533051"/>
                <a:gd name="connsiteX98" fmla="*/ 148622 w 607646"/>
                <a:gd name="connsiteY98" fmla="*/ 59476 h 533051"/>
                <a:gd name="connsiteX99" fmla="*/ 158459 w 607646"/>
                <a:gd name="connsiteY99" fmla="*/ 69301 h 533051"/>
                <a:gd name="connsiteX100" fmla="*/ 190828 w 607646"/>
                <a:gd name="connsiteY100" fmla="*/ 55885 h 533051"/>
                <a:gd name="connsiteX101" fmla="*/ 190828 w 607646"/>
                <a:gd name="connsiteY101" fmla="*/ 42045 h 533051"/>
                <a:gd name="connsiteX102" fmla="*/ 232929 w 607646"/>
                <a:gd name="connsiteY102" fmla="*/ 0 h 533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607646" h="533051">
                  <a:moveTo>
                    <a:pt x="352921" y="457945"/>
                  </a:moveTo>
                  <a:cubicBezTo>
                    <a:pt x="349113" y="457945"/>
                    <a:pt x="345623" y="459423"/>
                    <a:pt x="342979" y="462170"/>
                  </a:cubicBezTo>
                  <a:cubicBezTo>
                    <a:pt x="340229" y="464811"/>
                    <a:pt x="338854" y="468297"/>
                    <a:pt x="338854" y="472100"/>
                  </a:cubicBezTo>
                  <a:cubicBezTo>
                    <a:pt x="338854" y="475797"/>
                    <a:pt x="340229" y="479389"/>
                    <a:pt x="342979" y="482029"/>
                  </a:cubicBezTo>
                  <a:cubicBezTo>
                    <a:pt x="345623" y="484670"/>
                    <a:pt x="349113" y="486149"/>
                    <a:pt x="352921" y="486149"/>
                  </a:cubicBezTo>
                  <a:cubicBezTo>
                    <a:pt x="356622" y="486149"/>
                    <a:pt x="360218" y="484670"/>
                    <a:pt x="362863" y="482029"/>
                  </a:cubicBezTo>
                  <a:cubicBezTo>
                    <a:pt x="365507" y="479389"/>
                    <a:pt x="366987" y="475797"/>
                    <a:pt x="366987" y="472100"/>
                  </a:cubicBezTo>
                  <a:cubicBezTo>
                    <a:pt x="366987" y="468297"/>
                    <a:pt x="365507" y="464811"/>
                    <a:pt x="362863" y="462170"/>
                  </a:cubicBezTo>
                  <a:cubicBezTo>
                    <a:pt x="360218" y="459423"/>
                    <a:pt x="356622" y="457945"/>
                    <a:pt x="352921" y="457945"/>
                  </a:cubicBezTo>
                  <a:close/>
                  <a:moveTo>
                    <a:pt x="438485" y="375972"/>
                  </a:moveTo>
                  <a:cubicBezTo>
                    <a:pt x="435735" y="375972"/>
                    <a:pt x="432985" y="377134"/>
                    <a:pt x="431081" y="379141"/>
                  </a:cubicBezTo>
                  <a:lnTo>
                    <a:pt x="372699" y="437346"/>
                  </a:lnTo>
                  <a:cubicBezTo>
                    <a:pt x="370689" y="439353"/>
                    <a:pt x="369632" y="441994"/>
                    <a:pt x="369632" y="444846"/>
                  </a:cubicBezTo>
                  <a:cubicBezTo>
                    <a:pt x="369632" y="447698"/>
                    <a:pt x="370689" y="450339"/>
                    <a:pt x="372699" y="452346"/>
                  </a:cubicBezTo>
                  <a:cubicBezTo>
                    <a:pt x="374708" y="454353"/>
                    <a:pt x="377352" y="455409"/>
                    <a:pt x="380208" y="455409"/>
                  </a:cubicBezTo>
                  <a:cubicBezTo>
                    <a:pt x="382958" y="455409"/>
                    <a:pt x="385602" y="454353"/>
                    <a:pt x="387612" y="452346"/>
                  </a:cubicBezTo>
                  <a:lnTo>
                    <a:pt x="445994" y="394035"/>
                  </a:lnTo>
                  <a:cubicBezTo>
                    <a:pt x="448004" y="392028"/>
                    <a:pt x="449062" y="389387"/>
                    <a:pt x="449062" y="386535"/>
                  </a:cubicBezTo>
                  <a:cubicBezTo>
                    <a:pt x="449062" y="383789"/>
                    <a:pt x="448004" y="381148"/>
                    <a:pt x="445994" y="379141"/>
                  </a:cubicBezTo>
                  <a:cubicBezTo>
                    <a:pt x="443985" y="377134"/>
                    <a:pt x="441341" y="375972"/>
                    <a:pt x="438485" y="375972"/>
                  </a:cubicBezTo>
                  <a:close/>
                  <a:moveTo>
                    <a:pt x="534943" y="217624"/>
                  </a:moveTo>
                  <a:cubicBezTo>
                    <a:pt x="542136" y="217624"/>
                    <a:pt x="548905" y="220371"/>
                    <a:pt x="553981" y="225547"/>
                  </a:cubicBezTo>
                  <a:lnTo>
                    <a:pt x="554404" y="225969"/>
                  </a:lnTo>
                  <a:cubicBezTo>
                    <a:pt x="555779" y="227237"/>
                    <a:pt x="556520" y="229033"/>
                    <a:pt x="556520" y="230934"/>
                  </a:cubicBezTo>
                  <a:cubicBezTo>
                    <a:pt x="556520" y="232836"/>
                    <a:pt x="555779" y="234632"/>
                    <a:pt x="554510" y="235899"/>
                  </a:cubicBezTo>
                  <a:lnTo>
                    <a:pt x="524050" y="266322"/>
                  </a:lnTo>
                  <a:cubicBezTo>
                    <a:pt x="519396" y="270970"/>
                    <a:pt x="516752" y="277203"/>
                    <a:pt x="516752" y="283752"/>
                  </a:cubicBezTo>
                  <a:cubicBezTo>
                    <a:pt x="516752" y="290301"/>
                    <a:pt x="519396" y="296534"/>
                    <a:pt x="524050" y="301182"/>
                  </a:cubicBezTo>
                  <a:cubicBezTo>
                    <a:pt x="528703" y="305830"/>
                    <a:pt x="534838" y="308365"/>
                    <a:pt x="541501" y="308365"/>
                  </a:cubicBezTo>
                  <a:cubicBezTo>
                    <a:pt x="548058" y="308365"/>
                    <a:pt x="554299" y="305830"/>
                    <a:pt x="558952" y="301182"/>
                  </a:cubicBezTo>
                  <a:lnTo>
                    <a:pt x="589413" y="270759"/>
                  </a:lnTo>
                  <a:cubicBezTo>
                    <a:pt x="590682" y="269491"/>
                    <a:pt x="592480" y="268752"/>
                    <a:pt x="594384" y="268752"/>
                  </a:cubicBezTo>
                  <a:cubicBezTo>
                    <a:pt x="596288" y="268752"/>
                    <a:pt x="597980" y="269491"/>
                    <a:pt x="599355" y="270759"/>
                  </a:cubicBezTo>
                  <a:lnTo>
                    <a:pt x="599778" y="271181"/>
                  </a:lnTo>
                  <a:cubicBezTo>
                    <a:pt x="606547" y="277942"/>
                    <a:pt x="609191" y="287977"/>
                    <a:pt x="606758" y="297168"/>
                  </a:cubicBezTo>
                  <a:lnTo>
                    <a:pt x="590047" y="359704"/>
                  </a:lnTo>
                  <a:cubicBezTo>
                    <a:pt x="587509" y="368894"/>
                    <a:pt x="580211" y="376183"/>
                    <a:pt x="571010" y="378612"/>
                  </a:cubicBezTo>
                  <a:cubicBezTo>
                    <a:pt x="570904" y="378718"/>
                    <a:pt x="570904" y="378718"/>
                    <a:pt x="570798" y="378718"/>
                  </a:cubicBezTo>
                  <a:lnTo>
                    <a:pt x="501627" y="395303"/>
                  </a:lnTo>
                  <a:lnTo>
                    <a:pt x="377987" y="518790"/>
                  </a:lnTo>
                  <a:cubicBezTo>
                    <a:pt x="368785" y="527981"/>
                    <a:pt x="356517" y="533051"/>
                    <a:pt x="343507" y="533051"/>
                  </a:cubicBezTo>
                  <a:cubicBezTo>
                    <a:pt x="330498" y="533051"/>
                    <a:pt x="318229" y="527981"/>
                    <a:pt x="309028" y="518790"/>
                  </a:cubicBezTo>
                  <a:lnTo>
                    <a:pt x="306066" y="515833"/>
                  </a:lnTo>
                  <a:cubicBezTo>
                    <a:pt x="296865" y="506642"/>
                    <a:pt x="291788" y="494494"/>
                    <a:pt x="291788" y="481501"/>
                  </a:cubicBezTo>
                  <a:cubicBezTo>
                    <a:pt x="291788" y="468402"/>
                    <a:pt x="296865" y="456254"/>
                    <a:pt x="306066" y="447064"/>
                  </a:cubicBezTo>
                  <a:lnTo>
                    <a:pt x="429707" y="323576"/>
                  </a:lnTo>
                  <a:lnTo>
                    <a:pt x="446418" y="254491"/>
                  </a:lnTo>
                  <a:cubicBezTo>
                    <a:pt x="446418" y="254385"/>
                    <a:pt x="446418" y="254385"/>
                    <a:pt x="446418" y="254280"/>
                  </a:cubicBezTo>
                  <a:cubicBezTo>
                    <a:pt x="448956" y="245089"/>
                    <a:pt x="456254" y="237801"/>
                    <a:pt x="465455" y="235265"/>
                  </a:cubicBezTo>
                  <a:lnTo>
                    <a:pt x="527963" y="218575"/>
                  </a:lnTo>
                  <a:cubicBezTo>
                    <a:pt x="530290" y="217941"/>
                    <a:pt x="532617" y="217624"/>
                    <a:pt x="534943" y="217624"/>
                  </a:cubicBezTo>
                  <a:close/>
                  <a:moveTo>
                    <a:pt x="253873" y="140927"/>
                  </a:moveTo>
                  <a:cubicBezTo>
                    <a:pt x="191674" y="140927"/>
                    <a:pt x="141005" y="191424"/>
                    <a:pt x="141005" y="253542"/>
                  </a:cubicBezTo>
                  <a:cubicBezTo>
                    <a:pt x="141005" y="315765"/>
                    <a:pt x="191674" y="366262"/>
                    <a:pt x="253873" y="366262"/>
                  </a:cubicBezTo>
                  <a:cubicBezTo>
                    <a:pt x="316072" y="366262"/>
                    <a:pt x="366741" y="315765"/>
                    <a:pt x="366741" y="253542"/>
                  </a:cubicBezTo>
                  <a:cubicBezTo>
                    <a:pt x="366741" y="191424"/>
                    <a:pt x="316072" y="140927"/>
                    <a:pt x="253873" y="140927"/>
                  </a:cubicBezTo>
                  <a:close/>
                  <a:moveTo>
                    <a:pt x="232929" y="0"/>
                  </a:moveTo>
                  <a:lnTo>
                    <a:pt x="274818" y="0"/>
                  </a:lnTo>
                  <a:cubicBezTo>
                    <a:pt x="298090" y="0"/>
                    <a:pt x="316918" y="18910"/>
                    <a:pt x="316918" y="42045"/>
                  </a:cubicBezTo>
                  <a:lnTo>
                    <a:pt x="316918" y="55885"/>
                  </a:lnTo>
                  <a:cubicBezTo>
                    <a:pt x="328025" y="59371"/>
                    <a:pt x="338921" y="63913"/>
                    <a:pt x="349287" y="69301"/>
                  </a:cubicBezTo>
                  <a:lnTo>
                    <a:pt x="359125" y="59476"/>
                  </a:lnTo>
                  <a:cubicBezTo>
                    <a:pt x="367058" y="51553"/>
                    <a:pt x="377637" y="47222"/>
                    <a:pt x="388849" y="47222"/>
                  </a:cubicBezTo>
                  <a:cubicBezTo>
                    <a:pt x="400062" y="47222"/>
                    <a:pt x="410640" y="51553"/>
                    <a:pt x="418574" y="59476"/>
                  </a:cubicBezTo>
                  <a:lnTo>
                    <a:pt x="448192" y="89162"/>
                  </a:lnTo>
                  <a:cubicBezTo>
                    <a:pt x="464588" y="105536"/>
                    <a:pt x="464588" y="132158"/>
                    <a:pt x="448192" y="148533"/>
                  </a:cubicBezTo>
                  <a:lnTo>
                    <a:pt x="438460" y="158252"/>
                  </a:lnTo>
                  <a:cubicBezTo>
                    <a:pt x="443749" y="168710"/>
                    <a:pt x="448298" y="179486"/>
                    <a:pt x="451789" y="190684"/>
                  </a:cubicBezTo>
                  <a:lnTo>
                    <a:pt x="465752" y="190684"/>
                  </a:lnTo>
                  <a:cubicBezTo>
                    <a:pt x="478657" y="190684"/>
                    <a:pt x="490187" y="196494"/>
                    <a:pt x="497909" y="205685"/>
                  </a:cubicBezTo>
                  <a:lnTo>
                    <a:pt x="450837" y="218257"/>
                  </a:lnTo>
                  <a:cubicBezTo>
                    <a:pt x="435604" y="222377"/>
                    <a:pt x="423440" y="234420"/>
                    <a:pt x="419420" y="249739"/>
                  </a:cubicBezTo>
                  <a:cubicBezTo>
                    <a:pt x="419314" y="249950"/>
                    <a:pt x="419314" y="250161"/>
                    <a:pt x="419208" y="250372"/>
                  </a:cubicBezTo>
                  <a:lnTo>
                    <a:pt x="403764" y="314603"/>
                  </a:lnTo>
                  <a:lnTo>
                    <a:pt x="283598" y="434613"/>
                  </a:lnTo>
                  <a:cubicBezTo>
                    <a:pt x="271010" y="447078"/>
                    <a:pt x="264134" y="463770"/>
                    <a:pt x="264134" y="481518"/>
                  </a:cubicBezTo>
                  <a:cubicBezTo>
                    <a:pt x="264134" y="490392"/>
                    <a:pt x="265932" y="499160"/>
                    <a:pt x="269317" y="507083"/>
                  </a:cubicBezTo>
                  <a:lnTo>
                    <a:pt x="232929" y="507083"/>
                  </a:lnTo>
                  <a:cubicBezTo>
                    <a:pt x="209657" y="507083"/>
                    <a:pt x="190828" y="488279"/>
                    <a:pt x="190828" y="465143"/>
                  </a:cubicBezTo>
                  <a:lnTo>
                    <a:pt x="190828" y="451304"/>
                  </a:lnTo>
                  <a:cubicBezTo>
                    <a:pt x="179721" y="447712"/>
                    <a:pt x="168826" y="443275"/>
                    <a:pt x="158459" y="437888"/>
                  </a:cubicBezTo>
                  <a:lnTo>
                    <a:pt x="148622" y="447712"/>
                  </a:lnTo>
                  <a:cubicBezTo>
                    <a:pt x="140688" y="455635"/>
                    <a:pt x="130110" y="459967"/>
                    <a:pt x="118897" y="459967"/>
                  </a:cubicBezTo>
                  <a:cubicBezTo>
                    <a:pt x="107685" y="459967"/>
                    <a:pt x="97107" y="455635"/>
                    <a:pt x="89173" y="447712"/>
                  </a:cubicBezTo>
                  <a:lnTo>
                    <a:pt x="59554" y="418027"/>
                  </a:lnTo>
                  <a:cubicBezTo>
                    <a:pt x="43158" y="401652"/>
                    <a:pt x="43158" y="375030"/>
                    <a:pt x="59554" y="358656"/>
                  </a:cubicBezTo>
                  <a:lnTo>
                    <a:pt x="69286" y="348831"/>
                  </a:lnTo>
                  <a:cubicBezTo>
                    <a:pt x="63997" y="338478"/>
                    <a:pt x="59449" y="327597"/>
                    <a:pt x="55958" y="316505"/>
                  </a:cubicBezTo>
                  <a:lnTo>
                    <a:pt x="41995" y="316505"/>
                  </a:lnTo>
                  <a:cubicBezTo>
                    <a:pt x="18829" y="316505"/>
                    <a:pt x="0" y="297700"/>
                    <a:pt x="0" y="274565"/>
                  </a:cubicBezTo>
                  <a:lnTo>
                    <a:pt x="0" y="232625"/>
                  </a:lnTo>
                  <a:cubicBezTo>
                    <a:pt x="0" y="209488"/>
                    <a:pt x="18829" y="190684"/>
                    <a:pt x="41995" y="190684"/>
                  </a:cubicBezTo>
                  <a:lnTo>
                    <a:pt x="55958" y="190684"/>
                  </a:lnTo>
                  <a:cubicBezTo>
                    <a:pt x="59449" y="179486"/>
                    <a:pt x="63997" y="168710"/>
                    <a:pt x="69286" y="158252"/>
                  </a:cubicBezTo>
                  <a:lnTo>
                    <a:pt x="59554" y="148533"/>
                  </a:lnTo>
                  <a:cubicBezTo>
                    <a:pt x="43158" y="132158"/>
                    <a:pt x="43158" y="105536"/>
                    <a:pt x="59554" y="89162"/>
                  </a:cubicBezTo>
                  <a:lnTo>
                    <a:pt x="89173" y="59476"/>
                  </a:lnTo>
                  <a:cubicBezTo>
                    <a:pt x="97107" y="51553"/>
                    <a:pt x="107685" y="47222"/>
                    <a:pt x="118897" y="47222"/>
                  </a:cubicBezTo>
                  <a:cubicBezTo>
                    <a:pt x="130110" y="47222"/>
                    <a:pt x="140688" y="51553"/>
                    <a:pt x="148622" y="59476"/>
                  </a:cubicBezTo>
                  <a:lnTo>
                    <a:pt x="158459" y="69301"/>
                  </a:lnTo>
                  <a:cubicBezTo>
                    <a:pt x="168826" y="63913"/>
                    <a:pt x="179721" y="59371"/>
                    <a:pt x="190828" y="55885"/>
                  </a:cubicBezTo>
                  <a:lnTo>
                    <a:pt x="190828" y="42045"/>
                  </a:lnTo>
                  <a:cubicBezTo>
                    <a:pt x="190828" y="18910"/>
                    <a:pt x="209657" y="0"/>
                    <a:pt x="232929" y="0"/>
                  </a:cubicBezTo>
                  <a:close/>
                </a:path>
              </a:pathLst>
            </a:custGeom>
            <a:solidFill>
              <a:schemeClr val="bg1"/>
            </a:solidFill>
            <a:ln>
              <a:noFill/>
            </a:ln>
          </p:spPr>
          <p:txBody>
            <a:bodyPr/>
            <a:lstStyle/>
            <a:p>
              <a:endParaRPr lang="zh-CN" altLang="en-US"/>
            </a:p>
          </p:txBody>
        </p:sp>
        <p:sp>
          <p:nvSpPr>
            <p:cNvPr id="25" name="îṥḷiďê">
              <a:extLst>
                <a:ext uri="{FF2B5EF4-FFF2-40B4-BE49-F238E27FC236}">
                  <a16:creationId xmlns:a16="http://schemas.microsoft.com/office/drawing/2014/main" id="{434F5321-9C96-4875-9360-C667D284CDF6}"/>
                </a:ext>
              </a:extLst>
            </p:cNvPr>
            <p:cNvSpPr/>
            <p:nvPr/>
          </p:nvSpPr>
          <p:spPr bwMode="auto">
            <a:xfrm>
              <a:off x="6765487" y="4948670"/>
              <a:ext cx="371794" cy="326152"/>
            </a:xfrm>
            <a:custGeom>
              <a:avLst/>
              <a:gdLst>
                <a:gd name="connsiteX0" fmla="*/ 352921 w 607646"/>
                <a:gd name="connsiteY0" fmla="*/ 457945 h 533051"/>
                <a:gd name="connsiteX1" fmla="*/ 342979 w 607646"/>
                <a:gd name="connsiteY1" fmla="*/ 462170 h 533051"/>
                <a:gd name="connsiteX2" fmla="*/ 338854 w 607646"/>
                <a:gd name="connsiteY2" fmla="*/ 472100 h 533051"/>
                <a:gd name="connsiteX3" fmla="*/ 342979 w 607646"/>
                <a:gd name="connsiteY3" fmla="*/ 482029 h 533051"/>
                <a:gd name="connsiteX4" fmla="*/ 352921 w 607646"/>
                <a:gd name="connsiteY4" fmla="*/ 486149 h 533051"/>
                <a:gd name="connsiteX5" fmla="*/ 362863 w 607646"/>
                <a:gd name="connsiteY5" fmla="*/ 482029 h 533051"/>
                <a:gd name="connsiteX6" fmla="*/ 366987 w 607646"/>
                <a:gd name="connsiteY6" fmla="*/ 472100 h 533051"/>
                <a:gd name="connsiteX7" fmla="*/ 362863 w 607646"/>
                <a:gd name="connsiteY7" fmla="*/ 462170 h 533051"/>
                <a:gd name="connsiteX8" fmla="*/ 352921 w 607646"/>
                <a:gd name="connsiteY8" fmla="*/ 457945 h 533051"/>
                <a:gd name="connsiteX9" fmla="*/ 438485 w 607646"/>
                <a:gd name="connsiteY9" fmla="*/ 375972 h 533051"/>
                <a:gd name="connsiteX10" fmla="*/ 431081 w 607646"/>
                <a:gd name="connsiteY10" fmla="*/ 379141 h 533051"/>
                <a:gd name="connsiteX11" fmla="*/ 372699 w 607646"/>
                <a:gd name="connsiteY11" fmla="*/ 437346 h 533051"/>
                <a:gd name="connsiteX12" fmla="*/ 369632 w 607646"/>
                <a:gd name="connsiteY12" fmla="*/ 444846 h 533051"/>
                <a:gd name="connsiteX13" fmla="*/ 372699 w 607646"/>
                <a:gd name="connsiteY13" fmla="*/ 452346 h 533051"/>
                <a:gd name="connsiteX14" fmla="*/ 380208 w 607646"/>
                <a:gd name="connsiteY14" fmla="*/ 455409 h 533051"/>
                <a:gd name="connsiteX15" fmla="*/ 387612 w 607646"/>
                <a:gd name="connsiteY15" fmla="*/ 452346 h 533051"/>
                <a:gd name="connsiteX16" fmla="*/ 445994 w 607646"/>
                <a:gd name="connsiteY16" fmla="*/ 394035 h 533051"/>
                <a:gd name="connsiteX17" fmla="*/ 449062 w 607646"/>
                <a:gd name="connsiteY17" fmla="*/ 386535 h 533051"/>
                <a:gd name="connsiteX18" fmla="*/ 445994 w 607646"/>
                <a:gd name="connsiteY18" fmla="*/ 379141 h 533051"/>
                <a:gd name="connsiteX19" fmla="*/ 438485 w 607646"/>
                <a:gd name="connsiteY19" fmla="*/ 375972 h 533051"/>
                <a:gd name="connsiteX20" fmla="*/ 534943 w 607646"/>
                <a:gd name="connsiteY20" fmla="*/ 217624 h 533051"/>
                <a:gd name="connsiteX21" fmla="*/ 553981 w 607646"/>
                <a:gd name="connsiteY21" fmla="*/ 225547 h 533051"/>
                <a:gd name="connsiteX22" fmla="*/ 554404 w 607646"/>
                <a:gd name="connsiteY22" fmla="*/ 225969 h 533051"/>
                <a:gd name="connsiteX23" fmla="*/ 556520 w 607646"/>
                <a:gd name="connsiteY23" fmla="*/ 230934 h 533051"/>
                <a:gd name="connsiteX24" fmla="*/ 554510 w 607646"/>
                <a:gd name="connsiteY24" fmla="*/ 235899 h 533051"/>
                <a:gd name="connsiteX25" fmla="*/ 524050 w 607646"/>
                <a:gd name="connsiteY25" fmla="*/ 266322 h 533051"/>
                <a:gd name="connsiteX26" fmla="*/ 516752 w 607646"/>
                <a:gd name="connsiteY26" fmla="*/ 283752 h 533051"/>
                <a:gd name="connsiteX27" fmla="*/ 524050 w 607646"/>
                <a:gd name="connsiteY27" fmla="*/ 301182 h 533051"/>
                <a:gd name="connsiteX28" fmla="*/ 541501 w 607646"/>
                <a:gd name="connsiteY28" fmla="*/ 308365 h 533051"/>
                <a:gd name="connsiteX29" fmla="*/ 558952 w 607646"/>
                <a:gd name="connsiteY29" fmla="*/ 301182 h 533051"/>
                <a:gd name="connsiteX30" fmla="*/ 589413 w 607646"/>
                <a:gd name="connsiteY30" fmla="*/ 270759 h 533051"/>
                <a:gd name="connsiteX31" fmla="*/ 594384 w 607646"/>
                <a:gd name="connsiteY31" fmla="*/ 268752 h 533051"/>
                <a:gd name="connsiteX32" fmla="*/ 599355 w 607646"/>
                <a:gd name="connsiteY32" fmla="*/ 270759 h 533051"/>
                <a:gd name="connsiteX33" fmla="*/ 599778 w 607646"/>
                <a:gd name="connsiteY33" fmla="*/ 271181 h 533051"/>
                <a:gd name="connsiteX34" fmla="*/ 606758 w 607646"/>
                <a:gd name="connsiteY34" fmla="*/ 297168 h 533051"/>
                <a:gd name="connsiteX35" fmla="*/ 590047 w 607646"/>
                <a:gd name="connsiteY35" fmla="*/ 359704 h 533051"/>
                <a:gd name="connsiteX36" fmla="*/ 571010 w 607646"/>
                <a:gd name="connsiteY36" fmla="*/ 378612 h 533051"/>
                <a:gd name="connsiteX37" fmla="*/ 570798 w 607646"/>
                <a:gd name="connsiteY37" fmla="*/ 378718 h 533051"/>
                <a:gd name="connsiteX38" fmla="*/ 501627 w 607646"/>
                <a:gd name="connsiteY38" fmla="*/ 395303 h 533051"/>
                <a:gd name="connsiteX39" fmla="*/ 377987 w 607646"/>
                <a:gd name="connsiteY39" fmla="*/ 518790 h 533051"/>
                <a:gd name="connsiteX40" fmla="*/ 343507 w 607646"/>
                <a:gd name="connsiteY40" fmla="*/ 533051 h 533051"/>
                <a:gd name="connsiteX41" fmla="*/ 309028 w 607646"/>
                <a:gd name="connsiteY41" fmla="*/ 518790 h 533051"/>
                <a:gd name="connsiteX42" fmla="*/ 306066 w 607646"/>
                <a:gd name="connsiteY42" fmla="*/ 515833 h 533051"/>
                <a:gd name="connsiteX43" fmla="*/ 291788 w 607646"/>
                <a:gd name="connsiteY43" fmla="*/ 481501 h 533051"/>
                <a:gd name="connsiteX44" fmla="*/ 306066 w 607646"/>
                <a:gd name="connsiteY44" fmla="*/ 447064 h 533051"/>
                <a:gd name="connsiteX45" fmla="*/ 429707 w 607646"/>
                <a:gd name="connsiteY45" fmla="*/ 323576 h 533051"/>
                <a:gd name="connsiteX46" fmla="*/ 446418 w 607646"/>
                <a:gd name="connsiteY46" fmla="*/ 254491 h 533051"/>
                <a:gd name="connsiteX47" fmla="*/ 446418 w 607646"/>
                <a:gd name="connsiteY47" fmla="*/ 254280 h 533051"/>
                <a:gd name="connsiteX48" fmla="*/ 465455 w 607646"/>
                <a:gd name="connsiteY48" fmla="*/ 235265 h 533051"/>
                <a:gd name="connsiteX49" fmla="*/ 527963 w 607646"/>
                <a:gd name="connsiteY49" fmla="*/ 218575 h 533051"/>
                <a:gd name="connsiteX50" fmla="*/ 534943 w 607646"/>
                <a:gd name="connsiteY50" fmla="*/ 217624 h 533051"/>
                <a:gd name="connsiteX51" fmla="*/ 253873 w 607646"/>
                <a:gd name="connsiteY51" fmla="*/ 140927 h 533051"/>
                <a:gd name="connsiteX52" fmla="*/ 141005 w 607646"/>
                <a:gd name="connsiteY52" fmla="*/ 253542 h 533051"/>
                <a:gd name="connsiteX53" fmla="*/ 253873 w 607646"/>
                <a:gd name="connsiteY53" fmla="*/ 366262 h 533051"/>
                <a:gd name="connsiteX54" fmla="*/ 366741 w 607646"/>
                <a:gd name="connsiteY54" fmla="*/ 253542 h 533051"/>
                <a:gd name="connsiteX55" fmla="*/ 253873 w 607646"/>
                <a:gd name="connsiteY55" fmla="*/ 140927 h 533051"/>
                <a:gd name="connsiteX56" fmla="*/ 232929 w 607646"/>
                <a:gd name="connsiteY56" fmla="*/ 0 h 533051"/>
                <a:gd name="connsiteX57" fmla="*/ 274818 w 607646"/>
                <a:gd name="connsiteY57" fmla="*/ 0 h 533051"/>
                <a:gd name="connsiteX58" fmla="*/ 316918 w 607646"/>
                <a:gd name="connsiteY58" fmla="*/ 42045 h 533051"/>
                <a:gd name="connsiteX59" fmla="*/ 316918 w 607646"/>
                <a:gd name="connsiteY59" fmla="*/ 55885 h 533051"/>
                <a:gd name="connsiteX60" fmla="*/ 349287 w 607646"/>
                <a:gd name="connsiteY60" fmla="*/ 69301 h 533051"/>
                <a:gd name="connsiteX61" fmla="*/ 359125 w 607646"/>
                <a:gd name="connsiteY61" fmla="*/ 59476 h 533051"/>
                <a:gd name="connsiteX62" fmla="*/ 388849 w 607646"/>
                <a:gd name="connsiteY62" fmla="*/ 47222 h 533051"/>
                <a:gd name="connsiteX63" fmla="*/ 418574 w 607646"/>
                <a:gd name="connsiteY63" fmla="*/ 59476 h 533051"/>
                <a:gd name="connsiteX64" fmla="*/ 448192 w 607646"/>
                <a:gd name="connsiteY64" fmla="*/ 89162 h 533051"/>
                <a:gd name="connsiteX65" fmla="*/ 448192 w 607646"/>
                <a:gd name="connsiteY65" fmla="*/ 148533 h 533051"/>
                <a:gd name="connsiteX66" fmla="*/ 438460 w 607646"/>
                <a:gd name="connsiteY66" fmla="*/ 158252 h 533051"/>
                <a:gd name="connsiteX67" fmla="*/ 451789 w 607646"/>
                <a:gd name="connsiteY67" fmla="*/ 190684 h 533051"/>
                <a:gd name="connsiteX68" fmla="*/ 465752 w 607646"/>
                <a:gd name="connsiteY68" fmla="*/ 190684 h 533051"/>
                <a:gd name="connsiteX69" fmla="*/ 497909 w 607646"/>
                <a:gd name="connsiteY69" fmla="*/ 205685 h 533051"/>
                <a:gd name="connsiteX70" fmla="*/ 450837 w 607646"/>
                <a:gd name="connsiteY70" fmla="*/ 218257 h 533051"/>
                <a:gd name="connsiteX71" fmla="*/ 419420 w 607646"/>
                <a:gd name="connsiteY71" fmla="*/ 249739 h 533051"/>
                <a:gd name="connsiteX72" fmla="*/ 419208 w 607646"/>
                <a:gd name="connsiteY72" fmla="*/ 250372 h 533051"/>
                <a:gd name="connsiteX73" fmla="*/ 403764 w 607646"/>
                <a:gd name="connsiteY73" fmla="*/ 314603 h 533051"/>
                <a:gd name="connsiteX74" fmla="*/ 283598 w 607646"/>
                <a:gd name="connsiteY74" fmla="*/ 434613 h 533051"/>
                <a:gd name="connsiteX75" fmla="*/ 264134 w 607646"/>
                <a:gd name="connsiteY75" fmla="*/ 481518 h 533051"/>
                <a:gd name="connsiteX76" fmla="*/ 269317 w 607646"/>
                <a:gd name="connsiteY76" fmla="*/ 507083 h 533051"/>
                <a:gd name="connsiteX77" fmla="*/ 232929 w 607646"/>
                <a:gd name="connsiteY77" fmla="*/ 507083 h 533051"/>
                <a:gd name="connsiteX78" fmla="*/ 190828 w 607646"/>
                <a:gd name="connsiteY78" fmla="*/ 465143 h 533051"/>
                <a:gd name="connsiteX79" fmla="*/ 190828 w 607646"/>
                <a:gd name="connsiteY79" fmla="*/ 451304 h 533051"/>
                <a:gd name="connsiteX80" fmla="*/ 158459 w 607646"/>
                <a:gd name="connsiteY80" fmla="*/ 437888 h 533051"/>
                <a:gd name="connsiteX81" fmla="*/ 148622 w 607646"/>
                <a:gd name="connsiteY81" fmla="*/ 447712 h 533051"/>
                <a:gd name="connsiteX82" fmla="*/ 118897 w 607646"/>
                <a:gd name="connsiteY82" fmla="*/ 459967 h 533051"/>
                <a:gd name="connsiteX83" fmla="*/ 89173 w 607646"/>
                <a:gd name="connsiteY83" fmla="*/ 447712 h 533051"/>
                <a:gd name="connsiteX84" fmla="*/ 59554 w 607646"/>
                <a:gd name="connsiteY84" fmla="*/ 418027 h 533051"/>
                <a:gd name="connsiteX85" fmla="*/ 59554 w 607646"/>
                <a:gd name="connsiteY85" fmla="*/ 358656 h 533051"/>
                <a:gd name="connsiteX86" fmla="*/ 69286 w 607646"/>
                <a:gd name="connsiteY86" fmla="*/ 348831 h 533051"/>
                <a:gd name="connsiteX87" fmla="*/ 55958 w 607646"/>
                <a:gd name="connsiteY87" fmla="*/ 316505 h 533051"/>
                <a:gd name="connsiteX88" fmla="*/ 41995 w 607646"/>
                <a:gd name="connsiteY88" fmla="*/ 316505 h 533051"/>
                <a:gd name="connsiteX89" fmla="*/ 0 w 607646"/>
                <a:gd name="connsiteY89" fmla="*/ 274565 h 533051"/>
                <a:gd name="connsiteX90" fmla="*/ 0 w 607646"/>
                <a:gd name="connsiteY90" fmla="*/ 232625 h 533051"/>
                <a:gd name="connsiteX91" fmla="*/ 41995 w 607646"/>
                <a:gd name="connsiteY91" fmla="*/ 190684 h 533051"/>
                <a:gd name="connsiteX92" fmla="*/ 55958 w 607646"/>
                <a:gd name="connsiteY92" fmla="*/ 190684 h 533051"/>
                <a:gd name="connsiteX93" fmla="*/ 69286 w 607646"/>
                <a:gd name="connsiteY93" fmla="*/ 158252 h 533051"/>
                <a:gd name="connsiteX94" fmla="*/ 59554 w 607646"/>
                <a:gd name="connsiteY94" fmla="*/ 148533 h 533051"/>
                <a:gd name="connsiteX95" fmla="*/ 59554 w 607646"/>
                <a:gd name="connsiteY95" fmla="*/ 89162 h 533051"/>
                <a:gd name="connsiteX96" fmla="*/ 89173 w 607646"/>
                <a:gd name="connsiteY96" fmla="*/ 59476 h 533051"/>
                <a:gd name="connsiteX97" fmla="*/ 118897 w 607646"/>
                <a:gd name="connsiteY97" fmla="*/ 47222 h 533051"/>
                <a:gd name="connsiteX98" fmla="*/ 148622 w 607646"/>
                <a:gd name="connsiteY98" fmla="*/ 59476 h 533051"/>
                <a:gd name="connsiteX99" fmla="*/ 158459 w 607646"/>
                <a:gd name="connsiteY99" fmla="*/ 69301 h 533051"/>
                <a:gd name="connsiteX100" fmla="*/ 190828 w 607646"/>
                <a:gd name="connsiteY100" fmla="*/ 55885 h 533051"/>
                <a:gd name="connsiteX101" fmla="*/ 190828 w 607646"/>
                <a:gd name="connsiteY101" fmla="*/ 42045 h 533051"/>
                <a:gd name="connsiteX102" fmla="*/ 232929 w 607646"/>
                <a:gd name="connsiteY102" fmla="*/ 0 h 533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607646" h="533051">
                  <a:moveTo>
                    <a:pt x="352921" y="457945"/>
                  </a:moveTo>
                  <a:cubicBezTo>
                    <a:pt x="349113" y="457945"/>
                    <a:pt x="345623" y="459423"/>
                    <a:pt x="342979" y="462170"/>
                  </a:cubicBezTo>
                  <a:cubicBezTo>
                    <a:pt x="340229" y="464811"/>
                    <a:pt x="338854" y="468297"/>
                    <a:pt x="338854" y="472100"/>
                  </a:cubicBezTo>
                  <a:cubicBezTo>
                    <a:pt x="338854" y="475797"/>
                    <a:pt x="340229" y="479389"/>
                    <a:pt x="342979" y="482029"/>
                  </a:cubicBezTo>
                  <a:cubicBezTo>
                    <a:pt x="345623" y="484670"/>
                    <a:pt x="349113" y="486149"/>
                    <a:pt x="352921" y="486149"/>
                  </a:cubicBezTo>
                  <a:cubicBezTo>
                    <a:pt x="356622" y="486149"/>
                    <a:pt x="360218" y="484670"/>
                    <a:pt x="362863" y="482029"/>
                  </a:cubicBezTo>
                  <a:cubicBezTo>
                    <a:pt x="365507" y="479389"/>
                    <a:pt x="366987" y="475797"/>
                    <a:pt x="366987" y="472100"/>
                  </a:cubicBezTo>
                  <a:cubicBezTo>
                    <a:pt x="366987" y="468297"/>
                    <a:pt x="365507" y="464811"/>
                    <a:pt x="362863" y="462170"/>
                  </a:cubicBezTo>
                  <a:cubicBezTo>
                    <a:pt x="360218" y="459423"/>
                    <a:pt x="356622" y="457945"/>
                    <a:pt x="352921" y="457945"/>
                  </a:cubicBezTo>
                  <a:close/>
                  <a:moveTo>
                    <a:pt x="438485" y="375972"/>
                  </a:moveTo>
                  <a:cubicBezTo>
                    <a:pt x="435735" y="375972"/>
                    <a:pt x="432985" y="377134"/>
                    <a:pt x="431081" y="379141"/>
                  </a:cubicBezTo>
                  <a:lnTo>
                    <a:pt x="372699" y="437346"/>
                  </a:lnTo>
                  <a:cubicBezTo>
                    <a:pt x="370689" y="439353"/>
                    <a:pt x="369632" y="441994"/>
                    <a:pt x="369632" y="444846"/>
                  </a:cubicBezTo>
                  <a:cubicBezTo>
                    <a:pt x="369632" y="447698"/>
                    <a:pt x="370689" y="450339"/>
                    <a:pt x="372699" y="452346"/>
                  </a:cubicBezTo>
                  <a:cubicBezTo>
                    <a:pt x="374708" y="454353"/>
                    <a:pt x="377352" y="455409"/>
                    <a:pt x="380208" y="455409"/>
                  </a:cubicBezTo>
                  <a:cubicBezTo>
                    <a:pt x="382958" y="455409"/>
                    <a:pt x="385602" y="454353"/>
                    <a:pt x="387612" y="452346"/>
                  </a:cubicBezTo>
                  <a:lnTo>
                    <a:pt x="445994" y="394035"/>
                  </a:lnTo>
                  <a:cubicBezTo>
                    <a:pt x="448004" y="392028"/>
                    <a:pt x="449062" y="389387"/>
                    <a:pt x="449062" y="386535"/>
                  </a:cubicBezTo>
                  <a:cubicBezTo>
                    <a:pt x="449062" y="383789"/>
                    <a:pt x="448004" y="381148"/>
                    <a:pt x="445994" y="379141"/>
                  </a:cubicBezTo>
                  <a:cubicBezTo>
                    <a:pt x="443985" y="377134"/>
                    <a:pt x="441341" y="375972"/>
                    <a:pt x="438485" y="375972"/>
                  </a:cubicBezTo>
                  <a:close/>
                  <a:moveTo>
                    <a:pt x="534943" y="217624"/>
                  </a:moveTo>
                  <a:cubicBezTo>
                    <a:pt x="542136" y="217624"/>
                    <a:pt x="548905" y="220371"/>
                    <a:pt x="553981" y="225547"/>
                  </a:cubicBezTo>
                  <a:lnTo>
                    <a:pt x="554404" y="225969"/>
                  </a:lnTo>
                  <a:cubicBezTo>
                    <a:pt x="555779" y="227237"/>
                    <a:pt x="556520" y="229033"/>
                    <a:pt x="556520" y="230934"/>
                  </a:cubicBezTo>
                  <a:cubicBezTo>
                    <a:pt x="556520" y="232836"/>
                    <a:pt x="555779" y="234632"/>
                    <a:pt x="554510" y="235899"/>
                  </a:cubicBezTo>
                  <a:lnTo>
                    <a:pt x="524050" y="266322"/>
                  </a:lnTo>
                  <a:cubicBezTo>
                    <a:pt x="519396" y="270970"/>
                    <a:pt x="516752" y="277203"/>
                    <a:pt x="516752" y="283752"/>
                  </a:cubicBezTo>
                  <a:cubicBezTo>
                    <a:pt x="516752" y="290301"/>
                    <a:pt x="519396" y="296534"/>
                    <a:pt x="524050" y="301182"/>
                  </a:cubicBezTo>
                  <a:cubicBezTo>
                    <a:pt x="528703" y="305830"/>
                    <a:pt x="534838" y="308365"/>
                    <a:pt x="541501" y="308365"/>
                  </a:cubicBezTo>
                  <a:cubicBezTo>
                    <a:pt x="548058" y="308365"/>
                    <a:pt x="554299" y="305830"/>
                    <a:pt x="558952" y="301182"/>
                  </a:cubicBezTo>
                  <a:lnTo>
                    <a:pt x="589413" y="270759"/>
                  </a:lnTo>
                  <a:cubicBezTo>
                    <a:pt x="590682" y="269491"/>
                    <a:pt x="592480" y="268752"/>
                    <a:pt x="594384" y="268752"/>
                  </a:cubicBezTo>
                  <a:cubicBezTo>
                    <a:pt x="596288" y="268752"/>
                    <a:pt x="597980" y="269491"/>
                    <a:pt x="599355" y="270759"/>
                  </a:cubicBezTo>
                  <a:lnTo>
                    <a:pt x="599778" y="271181"/>
                  </a:lnTo>
                  <a:cubicBezTo>
                    <a:pt x="606547" y="277942"/>
                    <a:pt x="609191" y="287977"/>
                    <a:pt x="606758" y="297168"/>
                  </a:cubicBezTo>
                  <a:lnTo>
                    <a:pt x="590047" y="359704"/>
                  </a:lnTo>
                  <a:cubicBezTo>
                    <a:pt x="587509" y="368894"/>
                    <a:pt x="580211" y="376183"/>
                    <a:pt x="571010" y="378612"/>
                  </a:cubicBezTo>
                  <a:cubicBezTo>
                    <a:pt x="570904" y="378718"/>
                    <a:pt x="570904" y="378718"/>
                    <a:pt x="570798" y="378718"/>
                  </a:cubicBezTo>
                  <a:lnTo>
                    <a:pt x="501627" y="395303"/>
                  </a:lnTo>
                  <a:lnTo>
                    <a:pt x="377987" y="518790"/>
                  </a:lnTo>
                  <a:cubicBezTo>
                    <a:pt x="368785" y="527981"/>
                    <a:pt x="356517" y="533051"/>
                    <a:pt x="343507" y="533051"/>
                  </a:cubicBezTo>
                  <a:cubicBezTo>
                    <a:pt x="330498" y="533051"/>
                    <a:pt x="318229" y="527981"/>
                    <a:pt x="309028" y="518790"/>
                  </a:cubicBezTo>
                  <a:lnTo>
                    <a:pt x="306066" y="515833"/>
                  </a:lnTo>
                  <a:cubicBezTo>
                    <a:pt x="296865" y="506642"/>
                    <a:pt x="291788" y="494494"/>
                    <a:pt x="291788" y="481501"/>
                  </a:cubicBezTo>
                  <a:cubicBezTo>
                    <a:pt x="291788" y="468402"/>
                    <a:pt x="296865" y="456254"/>
                    <a:pt x="306066" y="447064"/>
                  </a:cubicBezTo>
                  <a:lnTo>
                    <a:pt x="429707" y="323576"/>
                  </a:lnTo>
                  <a:lnTo>
                    <a:pt x="446418" y="254491"/>
                  </a:lnTo>
                  <a:cubicBezTo>
                    <a:pt x="446418" y="254385"/>
                    <a:pt x="446418" y="254385"/>
                    <a:pt x="446418" y="254280"/>
                  </a:cubicBezTo>
                  <a:cubicBezTo>
                    <a:pt x="448956" y="245089"/>
                    <a:pt x="456254" y="237801"/>
                    <a:pt x="465455" y="235265"/>
                  </a:cubicBezTo>
                  <a:lnTo>
                    <a:pt x="527963" y="218575"/>
                  </a:lnTo>
                  <a:cubicBezTo>
                    <a:pt x="530290" y="217941"/>
                    <a:pt x="532617" y="217624"/>
                    <a:pt x="534943" y="217624"/>
                  </a:cubicBezTo>
                  <a:close/>
                  <a:moveTo>
                    <a:pt x="253873" y="140927"/>
                  </a:moveTo>
                  <a:cubicBezTo>
                    <a:pt x="191674" y="140927"/>
                    <a:pt x="141005" y="191424"/>
                    <a:pt x="141005" y="253542"/>
                  </a:cubicBezTo>
                  <a:cubicBezTo>
                    <a:pt x="141005" y="315765"/>
                    <a:pt x="191674" y="366262"/>
                    <a:pt x="253873" y="366262"/>
                  </a:cubicBezTo>
                  <a:cubicBezTo>
                    <a:pt x="316072" y="366262"/>
                    <a:pt x="366741" y="315765"/>
                    <a:pt x="366741" y="253542"/>
                  </a:cubicBezTo>
                  <a:cubicBezTo>
                    <a:pt x="366741" y="191424"/>
                    <a:pt x="316072" y="140927"/>
                    <a:pt x="253873" y="140927"/>
                  </a:cubicBezTo>
                  <a:close/>
                  <a:moveTo>
                    <a:pt x="232929" y="0"/>
                  </a:moveTo>
                  <a:lnTo>
                    <a:pt x="274818" y="0"/>
                  </a:lnTo>
                  <a:cubicBezTo>
                    <a:pt x="298090" y="0"/>
                    <a:pt x="316918" y="18910"/>
                    <a:pt x="316918" y="42045"/>
                  </a:cubicBezTo>
                  <a:lnTo>
                    <a:pt x="316918" y="55885"/>
                  </a:lnTo>
                  <a:cubicBezTo>
                    <a:pt x="328025" y="59371"/>
                    <a:pt x="338921" y="63913"/>
                    <a:pt x="349287" y="69301"/>
                  </a:cubicBezTo>
                  <a:lnTo>
                    <a:pt x="359125" y="59476"/>
                  </a:lnTo>
                  <a:cubicBezTo>
                    <a:pt x="367058" y="51553"/>
                    <a:pt x="377637" y="47222"/>
                    <a:pt x="388849" y="47222"/>
                  </a:cubicBezTo>
                  <a:cubicBezTo>
                    <a:pt x="400062" y="47222"/>
                    <a:pt x="410640" y="51553"/>
                    <a:pt x="418574" y="59476"/>
                  </a:cubicBezTo>
                  <a:lnTo>
                    <a:pt x="448192" y="89162"/>
                  </a:lnTo>
                  <a:cubicBezTo>
                    <a:pt x="464588" y="105536"/>
                    <a:pt x="464588" y="132158"/>
                    <a:pt x="448192" y="148533"/>
                  </a:cubicBezTo>
                  <a:lnTo>
                    <a:pt x="438460" y="158252"/>
                  </a:lnTo>
                  <a:cubicBezTo>
                    <a:pt x="443749" y="168710"/>
                    <a:pt x="448298" y="179486"/>
                    <a:pt x="451789" y="190684"/>
                  </a:cubicBezTo>
                  <a:lnTo>
                    <a:pt x="465752" y="190684"/>
                  </a:lnTo>
                  <a:cubicBezTo>
                    <a:pt x="478657" y="190684"/>
                    <a:pt x="490187" y="196494"/>
                    <a:pt x="497909" y="205685"/>
                  </a:cubicBezTo>
                  <a:lnTo>
                    <a:pt x="450837" y="218257"/>
                  </a:lnTo>
                  <a:cubicBezTo>
                    <a:pt x="435604" y="222377"/>
                    <a:pt x="423440" y="234420"/>
                    <a:pt x="419420" y="249739"/>
                  </a:cubicBezTo>
                  <a:cubicBezTo>
                    <a:pt x="419314" y="249950"/>
                    <a:pt x="419314" y="250161"/>
                    <a:pt x="419208" y="250372"/>
                  </a:cubicBezTo>
                  <a:lnTo>
                    <a:pt x="403764" y="314603"/>
                  </a:lnTo>
                  <a:lnTo>
                    <a:pt x="283598" y="434613"/>
                  </a:lnTo>
                  <a:cubicBezTo>
                    <a:pt x="271010" y="447078"/>
                    <a:pt x="264134" y="463770"/>
                    <a:pt x="264134" y="481518"/>
                  </a:cubicBezTo>
                  <a:cubicBezTo>
                    <a:pt x="264134" y="490392"/>
                    <a:pt x="265932" y="499160"/>
                    <a:pt x="269317" y="507083"/>
                  </a:cubicBezTo>
                  <a:lnTo>
                    <a:pt x="232929" y="507083"/>
                  </a:lnTo>
                  <a:cubicBezTo>
                    <a:pt x="209657" y="507083"/>
                    <a:pt x="190828" y="488279"/>
                    <a:pt x="190828" y="465143"/>
                  </a:cubicBezTo>
                  <a:lnTo>
                    <a:pt x="190828" y="451304"/>
                  </a:lnTo>
                  <a:cubicBezTo>
                    <a:pt x="179721" y="447712"/>
                    <a:pt x="168826" y="443275"/>
                    <a:pt x="158459" y="437888"/>
                  </a:cubicBezTo>
                  <a:lnTo>
                    <a:pt x="148622" y="447712"/>
                  </a:lnTo>
                  <a:cubicBezTo>
                    <a:pt x="140688" y="455635"/>
                    <a:pt x="130110" y="459967"/>
                    <a:pt x="118897" y="459967"/>
                  </a:cubicBezTo>
                  <a:cubicBezTo>
                    <a:pt x="107685" y="459967"/>
                    <a:pt x="97107" y="455635"/>
                    <a:pt x="89173" y="447712"/>
                  </a:cubicBezTo>
                  <a:lnTo>
                    <a:pt x="59554" y="418027"/>
                  </a:lnTo>
                  <a:cubicBezTo>
                    <a:pt x="43158" y="401652"/>
                    <a:pt x="43158" y="375030"/>
                    <a:pt x="59554" y="358656"/>
                  </a:cubicBezTo>
                  <a:lnTo>
                    <a:pt x="69286" y="348831"/>
                  </a:lnTo>
                  <a:cubicBezTo>
                    <a:pt x="63997" y="338478"/>
                    <a:pt x="59449" y="327597"/>
                    <a:pt x="55958" y="316505"/>
                  </a:cubicBezTo>
                  <a:lnTo>
                    <a:pt x="41995" y="316505"/>
                  </a:lnTo>
                  <a:cubicBezTo>
                    <a:pt x="18829" y="316505"/>
                    <a:pt x="0" y="297700"/>
                    <a:pt x="0" y="274565"/>
                  </a:cubicBezTo>
                  <a:lnTo>
                    <a:pt x="0" y="232625"/>
                  </a:lnTo>
                  <a:cubicBezTo>
                    <a:pt x="0" y="209488"/>
                    <a:pt x="18829" y="190684"/>
                    <a:pt x="41995" y="190684"/>
                  </a:cubicBezTo>
                  <a:lnTo>
                    <a:pt x="55958" y="190684"/>
                  </a:lnTo>
                  <a:cubicBezTo>
                    <a:pt x="59449" y="179486"/>
                    <a:pt x="63997" y="168710"/>
                    <a:pt x="69286" y="158252"/>
                  </a:cubicBezTo>
                  <a:lnTo>
                    <a:pt x="59554" y="148533"/>
                  </a:lnTo>
                  <a:cubicBezTo>
                    <a:pt x="43158" y="132158"/>
                    <a:pt x="43158" y="105536"/>
                    <a:pt x="59554" y="89162"/>
                  </a:cubicBezTo>
                  <a:lnTo>
                    <a:pt x="89173" y="59476"/>
                  </a:lnTo>
                  <a:cubicBezTo>
                    <a:pt x="97107" y="51553"/>
                    <a:pt x="107685" y="47222"/>
                    <a:pt x="118897" y="47222"/>
                  </a:cubicBezTo>
                  <a:cubicBezTo>
                    <a:pt x="130110" y="47222"/>
                    <a:pt x="140688" y="51553"/>
                    <a:pt x="148622" y="59476"/>
                  </a:cubicBezTo>
                  <a:lnTo>
                    <a:pt x="158459" y="69301"/>
                  </a:lnTo>
                  <a:cubicBezTo>
                    <a:pt x="168826" y="63913"/>
                    <a:pt x="179721" y="59371"/>
                    <a:pt x="190828" y="55885"/>
                  </a:cubicBezTo>
                  <a:lnTo>
                    <a:pt x="190828" y="42045"/>
                  </a:lnTo>
                  <a:cubicBezTo>
                    <a:pt x="190828" y="18910"/>
                    <a:pt x="209657" y="0"/>
                    <a:pt x="232929" y="0"/>
                  </a:cubicBezTo>
                  <a:close/>
                </a:path>
              </a:pathLst>
            </a:custGeom>
            <a:solidFill>
              <a:schemeClr val="bg1"/>
            </a:solidFill>
            <a:ln>
              <a:noFill/>
            </a:ln>
          </p:spPr>
          <p:txBody>
            <a:bodyPr/>
            <a:lstStyle/>
            <a:p>
              <a:endParaRPr lang="zh-CN" altLang="en-US"/>
            </a:p>
          </p:txBody>
        </p:sp>
        <p:sp>
          <p:nvSpPr>
            <p:cNvPr id="26" name="îṩḻiḑè">
              <a:extLst>
                <a:ext uri="{FF2B5EF4-FFF2-40B4-BE49-F238E27FC236}">
                  <a16:creationId xmlns:a16="http://schemas.microsoft.com/office/drawing/2014/main" id="{E39B7EF2-7170-41BB-85AA-3D76E4A2E4B5}"/>
                </a:ext>
              </a:extLst>
            </p:cNvPr>
            <p:cNvSpPr txBox="1"/>
            <p:nvPr/>
          </p:nvSpPr>
          <p:spPr>
            <a:xfrm>
              <a:off x="1999306" y="1421550"/>
              <a:ext cx="2568113" cy="483522"/>
            </a:xfrm>
            <a:prstGeom prst="rect">
              <a:avLst/>
            </a:prstGeom>
            <a:noFill/>
          </p:spPr>
          <p:txBody>
            <a:bodyPr wrap="none" rtlCol="0" anchor="b">
              <a:normAutofit/>
            </a:bodyPr>
            <a:lstStyle/>
            <a:p>
              <a:pPr lvl="0" algn="r" defTabSz="914378">
                <a:spcBef>
                  <a:spcPct val="0"/>
                </a:spcBef>
                <a:defRPr/>
              </a:pPr>
              <a:r>
                <a:rPr lang="en-US" altLang="zh-CN" b="1"/>
                <a:t>…</a:t>
              </a:r>
              <a:r>
                <a:rPr lang="en-US" altLang="zh-CN" sz="100" b="1"/>
                <a:t> </a:t>
              </a:r>
              <a:r>
                <a:rPr lang="en-US" altLang="zh-CN" b="1"/>
                <a:t> text</a:t>
              </a:r>
              <a:endParaRPr lang="zh-CN" altLang="en-US" b="1" dirty="0"/>
            </a:p>
          </p:txBody>
        </p:sp>
        <p:sp>
          <p:nvSpPr>
            <p:cNvPr id="27" name="îṩļïďè">
              <a:extLst>
                <a:ext uri="{FF2B5EF4-FFF2-40B4-BE49-F238E27FC236}">
                  <a16:creationId xmlns:a16="http://schemas.microsoft.com/office/drawing/2014/main" id="{B6AD26CB-21C3-4280-BB89-1D6B104840FF}"/>
                </a:ext>
              </a:extLst>
            </p:cNvPr>
            <p:cNvSpPr/>
            <p:nvPr/>
          </p:nvSpPr>
          <p:spPr bwMode="auto">
            <a:xfrm>
              <a:off x="1999306" y="1905072"/>
              <a:ext cx="2568113" cy="73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a:lnSpc>
                  <a:spcPct val="130000"/>
                </a:lnSpc>
              </a:pPr>
              <a:r>
                <a:rPr lang="en-US" altLang="zh-CN" sz="1100"/>
                <a:t>Suppo</a:t>
              </a:r>
              <a:r>
                <a:rPr lang="en-US" altLang="zh-CN" sz="100"/>
                <a:t> </a:t>
              </a:r>
              <a:r>
                <a:rPr lang="en-US" altLang="zh-CN" sz="1100"/>
                <a:t>rting text here.</a:t>
              </a:r>
            </a:p>
            <a:p>
              <a:pPr algn="r">
                <a:lnSpc>
                  <a:spcPct val="130000"/>
                </a:lnSpc>
              </a:pPr>
              <a:r>
                <a:rPr lang="en-US" altLang="zh-CN" sz="1100"/>
                <a:t>…… </a:t>
              </a:r>
              <a:endParaRPr lang="en-US" altLang="zh-CN" sz="1100" dirty="0"/>
            </a:p>
          </p:txBody>
        </p:sp>
        <p:sp>
          <p:nvSpPr>
            <p:cNvPr id="28" name="îšľïḍé">
              <a:extLst>
                <a:ext uri="{FF2B5EF4-FFF2-40B4-BE49-F238E27FC236}">
                  <a16:creationId xmlns:a16="http://schemas.microsoft.com/office/drawing/2014/main" id="{ECB6F4AE-3637-4D0B-B910-C8C618FD4988}"/>
                </a:ext>
              </a:extLst>
            </p:cNvPr>
            <p:cNvSpPr txBox="1"/>
            <p:nvPr/>
          </p:nvSpPr>
          <p:spPr>
            <a:xfrm>
              <a:off x="1999306" y="4636232"/>
              <a:ext cx="2568113" cy="483522"/>
            </a:xfrm>
            <a:prstGeom prst="rect">
              <a:avLst/>
            </a:prstGeom>
            <a:noFill/>
          </p:spPr>
          <p:txBody>
            <a:bodyPr wrap="none" rtlCol="0" anchor="b">
              <a:normAutofit/>
            </a:bodyPr>
            <a:lstStyle/>
            <a:p>
              <a:pPr lvl="0" algn="r" defTabSz="914378">
                <a:spcBef>
                  <a:spcPct val="0"/>
                </a:spcBef>
                <a:defRPr/>
              </a:pPr>
              <a:r>
                <a:rPr lang="en-US" altLang="zh-CN" b="1"/>
                <a:t>…</a:t>
              </a:r>
              <a:r>
                <a:rPr lang="en-US" altLang="zh-CN" sz="100" b="1"/>
                <a:t> </a:t>
              </a:r>
              <a:r>
                <a:rPr lang="en-US" altLang="zh-CN" b="1"/>
                <a:t> text</a:t>
              </a:r>
              <a:endParaRPr lang="zh-CN" altLang="en-US" b="1" dirty="0"/>
            </a:p>
          </p:txBody>
        </p:sp>
        <p:sp>
          <p:nvSpPr>
            <p:cNvPr id="29" name="íṧḷïḑè">
              <a:extLst>
                <a:ext uri="{FF2B5EF4-FFF2-40B4-BE49-F238E27FC236}">
                  <a16:creationId xmlns:a16="http://schemas.microsoft.com/office/drawing/2014/main" id="{6B210380-2094-45CF-B1E2-E98C10423965}"/>
                </a:ext>
              </a:extLst>
            </p:cNvPr>
            <p:cNvSpPr/>
            <p:nvPr/>
          </p:nvSpPr>
          <p:spPr bwMode="auto">
            <a:xfrm>
              <a:off x="1999306" y="5119754"/>
              <a:ext cx="2568113" cy="73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a:lnSpc>
                  <a:spcPct val="130000"/>
                </a:lnSpc>
              </a:pPr>
              <a:r>
                <a:rPr lang="en-US" altLang="zh-CN" sz="1100"/>
                <a:t>Suppo</a:t>
              </a:r>
              <a:r>
                <a:rPr lang="en-US" altLang="zh-CN" sz="100"/>
                <a:t> </a:t>
              </a:r>
              <a:r>
                <a:rPr lang="en-US" altLang="zh-CN" sz="1100"/>
                <a:t>rting text here.</a:t>
              </a:r>
            </a:p>
            <a:p>
              <a:pPr algn="r">
                <a:lnSpc>
                  <a:spcPct val="130000"/>
                </a:lnSpc>
              </a:pPr>
              <a:r>
                <a:rPr lang="en-US" altLang="zh-CN" sz="1100"/>
                <a:t>…… </a:t>
              </a:r>
              <a:endParaRPr lang="en-US" altLang="zh-CN" sz="1100" dirty="0"/>
            </a:p>
          </p:txBody>
        </p:sp>
        <p:sp>
          <p:nvSpPr>
            <p:cNvPr id="30" name="ïṡḻiďé">
              <a:extLst>
                <a:ext uri="{FF2B5EF4-FFF2-40B4-BE49-F238E27FC236}">
                  <a16:creationId xmlns:a16="http://schemas.microsoft.com/office/drawing/2014/main" id="{630850DD-9DA1-4E3F-AABC-FB8AC7656352}"/>
                </a:ext>
              </a:extLst>
            </p:cNvPr>
            <p:cNvSpPr txBox="1"/>
            <p:nvPr/>
          </p:nvSpPr>
          <p:spPr>
            <a:xfrm>
              <a:off x="1141587" y="3083696"/>
              <a:ext cx="2568113" cy="483522"/>
            </a:xfrm>
            <a:prstGeom prst="rect">
              <a:avLst/>
            </a:prstGeom>
            <a:noFill/>
          </p:spPr>
          <p:txBody>
            <a:bodyPr wrap="none" rtlCol="0" anchor="b">
              <a:normAutofit/>
            </a:bodyPr>
            <a:lstStyle/>
            <a:p>
              <a:pPr lvl="0" algn="r" defTabSz="914378">
                <a:spcBef>
                  <a:spcPct val="0"/>
                </a:spcBef>
                <a:defRPr/>
              </a:pPr>
              <a:r>
                <a:rPr lang="en-US" altLang="zh-CN" b="1"/>
                <a:t>…</a:t>
              </a:r>
              <a:r>
                <a:rPr lang="en-US" altLang="zh-CN" sz="100" b="1"/>
                <a:t> </a:t>
              </a:r>
              <a:r>
                <a:rPr lang="en-US" altLang="zh-CN" b="1"/>
                <a:t> text</a:t>
              </a:r>
              <a:endParaRPr lang="zh-CN" altLang="en-US" b="1" dirty="0"/>
            </a:p>
          </p:txBody>
        </p:sp>
        <p:sp>
          <p:nvSpPr>
            <p:cNvPr id="31" name="iS1îḋè">
              <a:extLst>
                <a:ext uri="{FF2B5EF4-FFF2-40B4-BE49-F238E27FC236}">
                  <a16:creationId xmlns:a16="http://schemas.microsoft.com/office/drawing/2014/main" id="{CCFA7EC4-3F95-4A13-AAAA-50123EAD0FCF}"/>
                </a:ext>
              </a:extLst>
            </p:cNvPr>
            <p:cNvSpPr/>
            <p:nvPr/>
          </p:nvSpPr>
          <p:spPr bwMode="auto">
            <a:xfrm>
              <a:off x="1141587" y="3567218"/>
              <a:ext cx="2568113" cy="73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a:lnSpc>
                  <a:spcPct val="130000"/>
                </a:lnSpc>
              </a:pPr>
              <a:r>
                <a:rPr lang="en-US" altLang="zh-CN" sz="1100"/>
                <a:t>Suppo</a:t>
              </a:r>
              <a:r>
                <a:rPr lang="en-US" altLang="zh-CN" sz="100"/>
                <a:t> </a:t>
              </a:r>
              <a:r>
                <a:rPr lang="en-US" altLang="zh-CN" sz="1100"/>
                <a:t>rting text here.</a:t>
              </a:r>
            </a:p>
            <a:p>
              <a:pPr algn="r">
                <a:lnSpc>
                  <a:spcPct val="130000"/>
                </a:lnSpc>
              </a:pPr>
              <a:r>
                <a:rPr lang="en-US" altLang="zh-CN" sz="1100"/>
                <a:t>…… </a:t>
              </a:r>
              <a:endParaRPr lang="en-US" altLang="zh-CN" sz="1100" dirty="0"/>
            </a:p>
          </p:txBody>
        </p:sp>
        <p:sp>
          <p:nvSpPr>
            <p:cNvPr id="32" name="iṥľïḑe">
              <a:extLst>
                <a:ext uri="{FF2B5EF4-FFF2-40B4-BE49-F238E27FC236}">
                  <a16:creationId xmlns:a16="http://schemas.microsoft.com/office/drawing/2014/main" id="{352D434C-DFC6-4D1D-9215-60BA5B8B8364}"/>
                </a:ext>
              </a:extLst>
            </p:cNvPr>
            <p:cNvSpPr txBox="1"/>
            <p:nvPr/>
          </p:nvSpPr>
          <p:spPr>
            <a:xfrm>
              <a:off x="7617445" y="1421550"/>
              <a:ext cx="2568113" cy="483522"/>
            </a:xfrm>
            <a:prstGeom prst="rect">
              <a:avLst/>
            </a:prstGeom>
            <a:noFill/>
          </p:spPr>
          <p:txBody>
            <a:bodyPr wrap="none" rtlCol="0" anchor="b">
              <a:normAutofit/>
            </a:bodyPr>
            <a:lstStyle/>
            <a:p>
              <a:pPr lvl="0" defTabSz="914378">
                <a:spcBef>
                  <a:spcPct val="0"/>
                </a:spcBef>
                <a:defRPr/>
              </a:pPr>
              <a:r>
                <a:rPr lang="en-US" altLang="zh-CN" b="1"/>
                <a:t>…</a:t>
              </a:r>
              <a:r>
                <a:rPr lang="en-US" altLang="zh-CN" sz="100" b="1"/>
                <a:t> </a:t>
              </a:r>
              <a:r>
                <a:rPr lang="en-US" altLang="zh-CN" b="1"/>
                <a:t> text</a:t>
              </a:r>
              <a:endParaRPr lang="zh-CN" altLang="en-US" b="1" dirty="0"/>
            </a:p>
          </p:txBody>
        </p:sp>
        <p:sp>
          <p:nvSpPr>
            <p:cNvPr id="33" name="ïṧļídê">
              <a:extLst>
                <a:ext uri="{FF2B5EF4-FFF2-40B4-BE49-F238E27FC236}">
                  <a16:creationId xmlns:a16="http://schemas.microsoft.com/office/drawing/2014/main" id="{F3F61239-8E4C-4855-BCF4-70B55E345DC0}"/>
                </a:ext>
              </a:extLst>
            </p:cNvPr>
            <p:cNvSpPr/>
            <p:nvPr/>
          </p:nvSpPr>
          <p:spPr bwMode="auto">
            <a:xfrm>
              <a:off x="7617445" y="1905072"/>
              <a:ext cx="2568113" cy="73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30000"/>
                </a:lnSpc>
              </a:pPr>
              <a:r>
                <a:rPr lang="en-US" altLang="zh-CN" sz="1100"/>
                <a:t>Suppo</a:t>
              </a:r>
              <a:r>
                <a:rPr lang="en-US" altLang="zh-CN" sz="100"/>
                <a:t> </a:t>
              </a:r>
              <a:r>
                <a:rPr lang="en-US" altLang="zh-CN" sz="1100"/>
                <a:t>rting text here.</a:t>
              </a:r>
            </a:p>
            <a:p>
              <a:pPr>
                <a:lnSpc>
                  <a:spcPct val="130000"/>
                </a:lnSpc>
              </a:pPr>
              <a:r>
                <a:rPr lang="en-US" altLang="zh-CN" sz="1100"/>
                <a:t>…… </a:t>
              </a:r>
              <a:endParaRPr lang="en-US" altLang="zh-CN" sz="1100" dirty="0"/>
            </a:p>
          </p:txBody>
        </p:sp>
        <p:sp>
          <p:nvSpPr>
            <p:cNvPr id="34" name="íŝ1iḓe">
              <a:extLst>
                <a:ext uri="{FF2B5EF4-FFF2-40B4-BE49-F238E27FC236}">
                  <a16:creationId xmlns:a16="http://schemas.microsoft.com/office/drawing/2014/main" id="{49759E69-7F5C-479F-9FEA-F9ED5A6D39FD}"/>
                </a:ext>
              </a:extLst>
            </p:cNvPr>
            <p:cNvSpPr txBox="1"/>
            <p:nvPr/>
          </p:nvSpPr>
          <p:spPr>
            <a:xfrm>
              <a:off x="7617445" y="4636232"/>
              <a:ext cx="2568113" cy="483522"/>
            </a:xfrm>
            <a:prstGeom prst="rect">
              <a:avLst/>
            </a:prstGeom>
            <a:noFill/>
          </p:spPr>
          <p:txBody>
            <a:bodyPr wrap="none" rtlCol="0" anchor="b">
              <a:normAutofit/>
            </a:bodyPr>
            <a:lstStyle/>
            <a:p>
              <a:pPr lvl="0" defTabSz="914378">
                <a:spcBef>
                  <a:spcPct val="0"/>
                </a:spcBef>
                <a:defRPr/>
              </a:pPr>
              <a:r>
                <a:rPr lang="en-US" altLang="zh-CN" b="1"/>
                <a:t>…</a:t>
              </a:r>
              <a:r>
                <a:rPr lang="en-US" altLang="zh-CN" sz="100" b="1"/>
                <a:t> </a:t>
              </a:r>
              <a:r>
                <a:rPr lang="en-US" altLang="zh-CN" b="1"/>
                <a:t> text</a:t>
              </a:r>
              <a:endParaRPr lang="zh-CN" altLang="en-US" b="1" dirty="0"/>
            </a:p>
          </p:txBody>
        </p:sp>
        <p:sp>
          <p:nvSpPr>
            <p:cNvPr id="35" name="iŝḻîde">
              <a:extLst>
                <a:ext uri="{FF2B5EF4-FFF2-40B4-BE49-F238E27FC236}">
                  <a16:creationId xmlns:a16="http://schemas.microsoft.com/office/drawing/2014/main" id="{50515739-F599-4C5D-93D2-4A4015D2E92A}"/>
                </a:ext>
              </a:extLst>
            </p:cNvPr>
            <p:cNvSpPr/>
            <p:nvPr/>
          </p:nvSpPr>
          <p:spPr bwMode="auto">
            <a:xfrm>
              <a:off x="7617445" y="5119754"/>
              <a:ext cx="2568113" cy="73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30000"/>
                </a:lnSpc>
              </a:pPr>
              <a:r>
                <a:rPr lang="en-US" altLang="zh-CN" sz="1100"/>
                <a:t>Suppo</a:t>
              </a:r>
              <a:r>
                <a:rPr lang="en-US" altLang="zh-CN" sz="100"/>
                <a:t> </a:t>
              </a:r>
              <a:r>
                <a:rPr lang="en-US" altLang="zh-CN" sz="1100"/>
                <a:t>rting text here.</a:t>
              </a:r>
            </a:p>
            <a:p>
              <a:pPr>
                <a:lnSpc>
                  <a:spcPct val="130000"/>
                </a:lnSpc>
              </a:pPr>
              <a:r>
                <a:rPr lang="en-US" altLang="zh-CN" sz="1100"/>
                <a:t>…… </a:t>
              </a:r>
              <a:endParaRPr lang="en-US" altLang="zh-CN" sz="1100" dirty="0"/>
            </a:p>
          </p:txBody>
        </p:sp>
        <p:sp>
          <p:nvSpPr>
            <p:cNvPr id="36" name="íṩļiḓê">
              <a:extLst>
                <a:ext uri="{FF2B5EF4-FFF2-40B4-BE49-F238E27FC236}">
                  <a16:creationId xmlns:a16="http://schemas.microsoft.com/office/drawing/2014/main" id="{150C0E8C-94ED-46A1-8202-4F975D092E8E}"/>
                </a:ext>
              </a:extLst>
            </p:cNvPr>
            <p:cNvSpPr txBox="1"/>
            <p:nvPr/>
          </p:nvSpPr>
          <p:spPr>
            <a:xfrm>
              <a:off x="8482300" y="3083696"/>
              <a:ext cx="2568113" cy="483522"/>
            </a:xfrm>
            <a:prstGeom prst="rect">
              <a:avLst/>
            </a:prstGeom>
            <a:noFill/>
          </p:spPr>
          <p:txBody>
            <a:bodyPr wrap="none" rtlCol="0" anchor="b">
              <a:normAutofit/>
            </a:bodyPr>
            <a:lstStyle/>
            <a:p>
              <a:pPr lvl="0" defTabSz="914378">
                <a:spcBef>
                  <a:spcPct val="0"/>
                </a:spcBef>
                <a:defRPr/>
              </a:pPr>
              <a:r>
                <a:rPr lang="en-US" altLang="zh-CN" b="1"/>
                <a:t>…</a:t>
              </a:r>
              <a:r>
                <a:rPr lang="en-US" altLang="zh-CN" sz="100" b="1"/>
                <a:t> </a:t>
              </a:r>
              <a:r>
                <a:rPr lang="en-US" altLang="zh-CN" b="1"/>
                <a:t> text</a:t>
              </a:r>
              <a:endParaRPr lang="zh-CN" altLang="en-US" b="1" dirty="0"/>
            </a:p>
          </p:txBody>
        </p:sp>
        <p:sp>
          <p:nvSpPr>
            <p:cNvPr id="37" name="işļiďê">
              <a:extLst>
                <a:ext uri="{FF2B5EF4-FFF2-40B4-BE49-F238E27FC236}">
                  <a16:creationId xmlns:a16="http://schemas.microsoft.com/office/drawing/2014/main" id="{0FBBDC2F-EF42-493A-A33E-7E75A0EAD8C1}"/>
                </a:ext>
              </a:extLst>
            </p:cNvPr>
            <p:cNvSpPr/>
            <p:nvPr/>
          </p:nvSpPr>
          <p:spPr bwMode="auto">
            <a:xfrm>
              <a:off x="8482300" y="3567218"/>
              <a:ext cx="2568113" cy="73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30000"/>
                </a:lnSpc>
              </a:pPr>
              <a:r>
                <a:rPr lang="en-US" altLang="zh-CN" sz="1100"/>
                <a:t>Suppo</a:t>
              </a:r>
              <a:r>
                <a:rPr lang="en-US" altLang="zh-CN" sz="100"/>
                <a:t> </a:t>
              </a:r>
              <a:r>
                <a:rPr lang="en-US" altLang="zh-CN" sz="1100"/>
                <a:t>rting text here.</a:t>
              </a:r>
            </a:p>
            <a:p>
              <a:pPr>
                <a:lnSpc>
                  <a:spcPct val="130000"/>
                </a:lnSpc>
              </a:pPr>
              <a:r>
                <a:rPr lang="en-US" altLang="zh-CN" sz="1100"/>
                <a:t>…… </a:t>
              </a:r>
              <a:endParaRPr lang="en-US" altLang="zh-CN" sz="1100" dirty="0"/>
            </a:p>
          </p:txBody>
        </p:sp>
      </p:grpSp>
    </p:spTree>
    <p:extLst>
      <p:ext uri="{BB962C8B-B14F-4D97-AF65-F5344CB8AC3E}">
        <p14:creationId xmlns:p14="http://schemas.microsoft.com/office/powerpoint/2010/main" val="4773041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GB" altLang="zh-CN" dirty="0"/>
              <a:t>Virus protection in public areas</a:t>
            </a:r>
            <a:endParaRPr lang="zh-CN" altLang="en-US" dirty="0"/>
          </a:p>
        </p:txBody>
      </p:sp>
      <p:sp>
        <p:nvSpPr>
          <p:cNvPr id="3" name="页脚占位符 2"/>
          <p:cNvSpPr>
            <a:spLocks noGrp="1"/>
          </p:cNvSpPr>
          <p:nvPr>
            <p:ph type="ftr" sz="quarter" idx="11"/>
          </p:nvPr>
        </p:nvSpPr>
        <p:spPr/>
        <p:txBody>
          <a:bodyPr/>
          <a:lstStyle/>
          <a:p>
            <a:r>
              <a:rPr lang="en-GB" altLang="zh-CN" dirty="0"/>
              <a:t>https://iSlide-PowerPoint.com </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16</a:t>
            </a:fld>
            <a:endParaRPr lang="zh-CN" altLang="en-US"/>
          </a:p>
        </p:txBody>
      </p:sp>
      <p:grpSp>
        <p:nvGrpSpPr>
          <p:cNvPr id="5" name="277849"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1889599" y="1254443"/>
            <a:ext cx="8420063" cy="5603557"/>
            <a:chOff x="1889598" y="1254441"/>
            <a:chExt cx="8420064" cy="5603558"/>
          </a:xfrm>
        </p:grpSpPr>
        <p:grpSp>
          <p:nvGrpSpPr>
            <p:cNvPr id="6" name="ïsḻíḍe"/>
            <p:cNvGrpSpPr/>
            <p:nvPr/>
          </p:nvGrpSpPr>
          <p:grpSpPr>
            <a:xfrm>
              <a:off x="1889598" y="1428916"/>
              <a:ext cx="6526307" cy="5429083"/>
              <a:chOff x="3825081" y="2368549"/>
              <a:chExt cx="4541837" cy="3778251"/>
            </a:xfrm>
          </p:grpSpPr>
          <p:sp>
            <p:nvSpPr>
              <p:cNvPr id="49" name="iślïdê">
                <a:extLst>
                  <a:ext uri="{FF2B5EF4-FFF2-40B4-BE49-F238E27FC236}">
                    <a16:creationId xmlns:a16="http://schemas.microsoft.com/office/drawing/2014/main" id="{87987424-7AFD-497A-8D5A-0ADF39E99ED8}"/>
                  </a:ext>
                </a:extLst>
              </p:cNvPr>
              <p:cNvSpPr/>
              <p:nvPr/>
            </p:nvSpPr>
            <p:spPr bwMode="auto">
              <a:xfrm>
                <a:off x="5587206" y="2836862"/>
                <a:ext cx="1609725" cy="801688"/>
              </a:xfrm>
              <a:custGeom>
                <a:avLst/>
                <a:gdLst>
                  <a:gd name="T0" fmla="*/ 1 w 1014"/>
                  <a:gd name="T1" fmla="*/ 0 h 505"/>
                  <a:gd name="T2" fmla="*/ 3 w 1014"/>
                  <a:gd name="T3" fmla="*/ 14 h 505"/>
                  <a:gd name="T4" fmla="*/ 11 w 1014"/>
                  <a:gd name="T5" fmla="*/ 27 h 505"/>
                  <a:gd name="T6" fmla="*/ 22 w 1014"/>
                  <a:gd name="T7" fmla="*/ 38 h 505"/>
                  <a:gd name="T8" fmla="*/ 33 w 1014"/>
                  <a:gd name="T9" fmla="*/ 47 h 505"/>
                  <a:gd name="T10" fmla="*/ 64 w 1014"/>
                  <a:gd name="T11" fmla="*/ 66 h 505"/>
                  <a:gd name="T12" fmla="*/ 97 w 1014"/>
                  <a:gd name="T13" fmla="*/ 80 h 505"/>
                  <a:gd name="T14" fmla="*/ 133 w 1014"/>
                  <a:gd name="T15" fmla="*/ 93 h 505"/>
                  <a:gd name="T16" fmla="*/ 207 w 1014"/>
                  <a:gd name="T17" fmla="*/ 114 h 505"/>
                  <a:gd name="T18" fmla="*/ 244 w 1014"/>
                  <a:gd name="T19" fmla="*/ 122 h 505"/>
                  <a:gd name="T20" fmla="*/ 324 w 1014"/>
                  <a:gd name="T21" fmla="*/ 137 h 505"/>
                  <a:gd name="T22" fmla="*/ 404 w 1014"/>
                  <a:gd name="T23" fmla="*/ 151 h 505"/>
                  <a:gd name="T24" fmla="*/ 563 w 1014"/>
                  <a:gd name="T25" fmla="*/ 187 h 505"/>
                  <a:gd name="T26" fmla="*/ 600 w 1014"/>
                  <a:gd name="T27" fmla="*/ 197 h 505"/>
                  <a:gd name="T28" fmla="*/ 675 w 1014"/>
                  <a:gd name="T29" fmla="*/ 219 h 505"/>
                  <a:gd name="T30" fmla="*/ 750 w 1014"/>
                  <a:gd name="T31" fmla="*/ 244 h 505"/>
                  <a:gd name="T32" fmla="*/ 821 w 1014"/>
                  <a:gd name="T33" fmla="*/ 275 h 505"/>
                  <a:gd name="T34" fmla="*/ 856 w 1014"/>
                  <a:gd name="T35" fmla="*/ 291 h 505"/>
                  <a:gd name="T36" fmla="*/ 904 w 1014"/>
                  <a:gd name="T37" fmla="*/ 319 h 505"/>
                  <a:gd name="T38" fmla="*/ 933 w 1014"/>
                  <a:gd name="T39" fmla="*/ 339 h 505"/>
                  <a:gd name="T40" fmla="*/ 961 w 1014"/>
                  <a:gd name="T41" fmla="*/ 364 h 505"/>
                  <a:gd name="T42" fmla="*/ 973 w 1014"/>
                  <a:gd name="T43" fmla="*/ 377 h 505"/>
                  <a:gd name="T44" fmla="*/ 988 w 1014"/>
                  <a:gd name="T45" fmla="*/ 395 h 505"/>
                  <a:gd name="T46" fmla="*/ 999 w 1014"/>
                  <a:gd name="T47" fmla="*/ 414 h 505"/>
                  <a:gd name="T48" fmla="*/ 1006 w 1014"/>
                  <a:gd name="T49" fmla="*/ 432 h 505"/>
                  <a:gd name="T50" fmla="*/ 1013 w 1014"/>
                  <a:gd name="T51" fmla="*/ 465 h 505"/>
                  <a:gd name="T52" fmla="*/ 1014 w 1014"/>
                  <a:gd name="T53" fmla="*/ 505 h 505"/>
                  <a:gd name="T54" fmla="*/ 1013 w 1014"/>
                  <a:gd name="T55" fmla="*/ 490 h 505"/>
                  <a:gd name="T56" fmla="*/ 1009 w 1014"/>
                  <a:gd name="T57" fmla="*/ 474 h 505"/>
                  <a:gd name="T58" fmla="*/ 1002 w 1014"/>
                  <a:gd name="T59" fmla="*/ 448 h 505"/>
                  <a:gd name="T60" fmla="*/ 991 w 1014"/>
                  <a:gd name="T61" fmla="*/ 427 h 505"/>
                  <a:gd name="T62" fmla="*/ 972 w 1014"/>
                  <a:gd name="T63" fmla="*/ 403 h 505"/>
                  <a:gd name="T64" fmla="*/ 958 w 1014"/>
                  <a:gd name="T65" fmla="*/ 390 h 505"/>
                  <a:gd name="T66" fmla="*/ 930 w 1014"/>
                  <a:gd name="T67" fmla="*/ 366 h 505"/>
                  <a:gd name="T68" fmla="*/ 900 w 1014"/>
                  <a:gd name="T69" fmla="*/ 346 h 505"/>
                  <a:gd name="T70" fmla="*/ 838 w 1014"/>
                  <a:gd name="T71" fmla="*/ 311 h 505"/>
                  <a:gd name="T72" fmla="*/ 803 w 1014"/>
                  <a:gd name="T73" fmla="*/ 294 h 505"/>
                  <a:gd name="T74" fmla="*/ 730 w 1014"/>
                  <a:gd name="T75" fmla="*/ 266 h 505"/>
                  <a:gd name="T76" fmla="*/ 656 w 1014"/>
                  <a:gd name="T77" fmla="*/ 242 h 505"/>
                  <a:gd name="T78" fmla="*/ 544 w 1014"/>
                  <a:gd name="T79" fmla="*/ 211 h 505"/>
                  <a:gd name="T80" fmla="*/ 465 w 1014"/>
                  <a:gd name="T81" fmla="*/ 193 h 505"/>
                  <a:gd name="T82" fmla="*/ 386 w 1014"/>
                  <a:gd name="T83" fmla="*/ 177 h 505"/>
                  <a:gd name="T84" fmla="*/ 267 w 1014"/>
                  <a:gd name="T85" fmla="*/ 156 h 505"/>
                  <a:gd name="T86" fmla="*/ 228 w 1014"/>
                  <a:gd name="T87" fmla="*/ 147 h 505"/>
                  <a:gd name="T88" fmla="*/ 157 w 1014"/>
                  <a:gd name="T89" fmla="*/ 129 h 505"/>
                  <a:gd name="T90" fmla="*/ 89 w 1014"/>
                  <a:gd name="T91" fmla="*/ 105 h 505"/>
                  <a:gd name="T92" fmla="*/ 74 w 1014"/>
                  <a:gd name="T93" fmla="*/ 99 h 505"/>
                  <a:gd name="T94" fmla="*/ 44 w 1014"/>
                  <a:gd name="T95" fmla="*/ 83 h 505"/>
                  <a:gd name="T96" fmla="*/ 31 w 1014"/>
                  <a:gd name="T97" fmla="*/ 73 h 505"/>
                  <a:gd name="T98" fmla="*/ 12 w 1014"/>
                  <a:gd name="T99" fmla="*/ 56 h 505"/>
                  <a:gd name="T100" fmla="*/ 3 w 1014"/>
                  <a:gd name="T101" fmla="*/ 43 h 505"/>
                  <a:gd name="T102" fmla="*/ 1 w 1014"/>
                  <a:gd name="T103" fmla="*/ 33 h 505"/>
                  <a:gd name="T104" fmla="*/ 1 w 1014"/>
                  <a:gd name="T105" fmla="*/ 0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14" h="505">
                    <a:moveTo>
                      <a:pt x="1" y="0"/>
                    </a:moveTo>
                    <a:lnTo>
                      <a:pt x="1" y="0"/>
                    </a:lnTo>
                    <a:lnTo>
                      <a:pt x="1" y="6"/>
                    </a:lnTo>
                    <a:lnTo>
                      <a:pt x="3" y="14"/>
                    </a:lnTo>
                    <a:lnTo>
                      <a:pt x="7" y="21"/>
                    </a:lnTo>
                    <a:lnTo>
                      <a:pt x="11" y="27"/>
                    </a:lnTo>
                    <a:lnTo>
                      <a:pt x="17" y="33"/>
                    </a:lnTo>
                    <a:lnTo>
                      <a:pt x="22" y="38"/>
                    </a:lnTo>
                    <a:lnTo>
                      <a:pt x="33" y="47"/>
                    </a:lnTo>
                    <a:lnTo>
                      <a:pt x="33" y="47"/>
                    </a:lnTo>
                    <a:lnTo>
                      <a:pt x="49" y="57"/>
                    </a:lnTo>
                    <a:lnTo>
                      <a:pt x="64" y="66"/>
                    </a:lnTo>
                    <a:lnTo>
                      <a:pt x="80" y="73"/>
                    </a:lnTo>
                    <a:lnTo>
                      <a:pt x="97" y="80"/>
                    </a:lnTo>
                    <a:lnTo>
                      <a:pt x="97" y="80"/>
                    </a:lnTo>
                    <a:lnTo>
                      <a:pt x="133" y="93"/>
                    </a:lnTo>
                    <a:lnTo>
                      <a:pt x="169" y="104"/>
                    </a:lnTo>
                    <a:lnTo>
                      <a:pt x="207" y="114"/>
                    </a:lnTo>
                    <a:lnTo>
                      <a:pt x="244" y="122"/>
                    </a:lnTo>
                    <a:lnTo>
                      <a:pt x="244" y="122"/>
                    </a:lnTo>
                    <a:lnTo>
                      <a:pt x="284" y="129"/>
                    </a:lnTo>
                    <a:lnTo>
                      <a:pt x="324" y="137"/>
                    </a:lnTo>
                    <a:lnTo>
                      <a:pt x="404" y="151"/>
                    </a:lnTo>
                    <a:lnTo>
                      <a:pt x="404" y="151"/>
                    </a:lnTo>
                    <a:lnTo>
                      <a:pt x="484" y="168"/>
                    </a:lnTo>
                    <a:lnTo>
                      <a:pt x="563" y="187"/>
                    </a:lnTo>
                    <a:lnTo>
                      <a:pt x="563" y="187"/>
                    </a:lnTo>
                    <a:lnTo>
                      <a:pt x="600" y="197"/>
                    </a:lnTo>
                    <a:lnTo>
                      <a:pt x="638" y="208"/>
                    </a:lnTo>
                    <a:lnTo>
                      <a:pt x="675" y="219"/>
                    </a:lnTo>
                    <a:lnTo>
                      <a:pt x="712" y="231"/>
                    </a:lnTo>
                    <a:lnTo>
                      <a:pt x="750" y="244"/>
                    </a:lnTo>
                    <a:lnTo>
                      <a:pt x="786" y="258"/>
                    </a:lnTo>
                    <a:lnTo>
                      <a:pt x="821" y="275"/>
                    </a:lnTo>
                    <a:lnTo>
                      <a:pt x="856" y="291"/>
                    </a:lnTo>
                    <a:lnTo>
                      <a:pt x="856" y="291"/>
                    </a:lnTo>
                    <a:lnTo>
                      <a:pt x="888" y="309"/>
                    </a:lnTo>
                    <a:lnTo>
                      <a:pt x="904" y="319"/>
                    </a:lnTo>
                    <a:lnTo>
                      <a:pt x="919" y="328"/>
                    </a:lnTo>
                    <a:lnTo>
                      <a:pt x="933" y="339"/>
                    </a:lnTo>
                    <a:lnTo>
                      <a:pt x="948" y="352"/>
                    </a:lnTo>
                    <a:lnTo>
                      <a:pt x="961" y="364"/>
                    </a:lnTo>
                    <a:lnTo>
                      <a:pt x="973" y="377"/>
                    </a:lnTo>
                    <a:lnTo>
                      <a:pt x="973" y="377"/>
                    </a:lnTo>
                    <a:lnTo>
                      <a:pt x="982" y="387"/>
                    </a:lnTo>
                    <a:lnTo>
                      <a:pt x="988" y="395"/>
                    </a:lnTo>
                    <a:lnTo>
                      <a:pt x="994" y="405"/>
                    </a:lnTo>
                    <a:lnTo>
                      <a:pt x="999" y="414"/>
                    </a:lnTo>
                    <a:lnTo>
                      <a:pt x="1003" y="423"/>
                    </a:lnTo>
                    <a:lnTo>
                      <a:pt x="1006" y="432"/>
                    </a:lnTo>
                    <a:lnTo>
                      <a:pt x="1010" y="449"/>
                    </a:lnTo>
                    <a:lnTo>
                      <a:pt x="1013" y="465"/>
                    </a:lnTo>
                    <a:lnTo>
                      <a:pt x="1014" y="479"/>
                    </a:lnTo>
                    <a:lnTo>
                      <a:pt x="1014" y="505"/>
                    </a:lnTo>
                    <a:lnTo>
                      <a:pt x="1014" y="505"/>
                    </a:lnTo>
                    <a:lnTo>
                      <a:pt x="1013" y="490"/>
                    </a:lnTo>
                    <a:lnTo>
                      <a:pt x="1009" y="474"/>
                    </a:lnTo>
                    <a:lnTo>
                      <a:pt x="1009" y="474"/>
                    </a:lnTo>
                    <a:lnTo>
                      <a:pt x="1005" y="457"/>
                    </a:lnTo>
                    <a:lnTo>
                      <a:pt x="1002" y="448"/>
                    </a:lnTo>
                    <a:lnTo>
                      <a:pt x="996" y="438"/>
                    </a:lnTo>
                    <a:lnTo>
                      <a:pt x="991" y="427"/>
                    </a:lnTo>
                    <a:lnTo>
                      <a:pt x="982" y="415"/>
                    </a:lnTo>
                    <a:lnTo>
                      <a:pt x="972" y="403"/>
                    </a:lnTo>
                    <a:lnTo>
                      <a:pt x="958" y="390"/>
                    </a:lnTo>
                    <a:lnTo>
                      <a:pt x="958" y="390"/>
                    </a:lnTo>
                    <a:lnTo>
                      <a:pt x="944" y="378"/>
                    </a:lnTo>
                    <a:lnTo>
                      <a:pt x="930" y="366"/>
                    </a:lnTo>
                    <a:lnTo>
                      <a:pt x="916" y="356"/>
                    </a:lnTo>
                    <a:lnTo>
                      <a:pt x="900" y="346"/>
                    </a:lnTo>
                    <a:lnTo>
                      <a:pt x="870" y="327"/>
                    </a:lnTo>
                    <a:lnTo>
                      <a:pt x="838" y="311"/>
                    </a:lnTo>
                    <a:lnTo>
                      <a:pt x="838" y="311"/>
                    </a:lnTo>
                    <a:lnTo>
                      <a:pt x="803" y="294"/>
                    </a:lnTo>
                    <a:lnTo>
                      <a:pt x="766" y="279"/>
                    </a:lnTo>
                    <a:lnTo>
                      <a:pt x="730" y="266"/>
                    </a:lnTo>
                    <a:lnTo>
                      <a:pt x="694" y="253"/>
                    </a:lnTo>
                    <a:lnTo>
                      <a:pt x="656" y="242"/>
                    </a:lnTo>
                    <a:lnTo>
                      <a:pt x="619" y="231"/>
                    </a:lnTo>
                    <a:lnTo>
                      <a:pt x="544" y="211"/>
                    </a:lnTo>
                    <a:lnTo>
                      <a:pt x="544" y="211"/>
                    </a:lnTo>
                    <a:lnTo>
                      <a:pt x="465" y="193"/>
                    </a:lnTo>
                    <a:lnTo>
                      <a:pt x="386" y="177"/>
                    </a:lnTo>
                    <a:lnTo>
                      <a:pt x="386" y="177"/>
                    </a:lnTo>
                    <a:lnTo>
                      <a:pt x="307" y="162"/>
                    </a:lnTo>
                    <a:lnTo>
                      <a:pt x="267" y="156"/>
                    </a:lnTo>
                    <a:lnTo>
                      <a:pt x="228" y="147"/>
                    </a:lnTo>
                    <a:lnTo>
                      <a:pt x="228" y="147"/>
                    </a:lnTo>
                    <a:lnTo>
                      <a:pt x="193" y="138"/>
                    </a:lnTo>
                    <a:lnTo>
                      <a:pt x="157" y="129"/>
                    </a:lnTo>
                    <a:lnTo>
                      <a:pt x="122" y="118"/>
                    </a:lnTo>
                    <a:lnTo>
                      <a:pt x="89" y="105"/>
                    </a:lnTo>
                    <a:lnTo>
                      <a:pt x="89" y="105"/>
                    </a:lnTo>
                    <a:lnTo>
                      <a:pt x="74" y="99"/>
                    </a:lnTo>
                    <a:lnTo>
                      <a:pt x="58" y="92"/>
                    </a:lnTo>
                    <a:lnTo>
                      <a:pt x="44" y="83"/>
                    </a:lnTo>
                    <a:lnTo>
                      <a:pt x="31" y="73"/>
                    </a:lnTo>
                    <a:lnTo>
                      <a:pt x="31" y="73"/>
                    </a:lnTo>
                    <a:lnTo>
                      <a:pt x="19" y="65"/>
                    </a:lnTo>
                    <a:lnTo>
                      <a:pt x="12" y="56"/>
                    </a:lnTo>
                    <a:lnTo>
                      <a:pt x="7" y="49"/>
                    </a:lnTo>
                    <a:lnTo>
                      <a:pt x="3" y="43"/>
                    </a:lnTo>
                    <a:lnTo>
                      <a:pt x="3" y="43"/>
                    </a:lnTo>
                    <a:lnTo>
                      <a:pt x="1" y="33"/>
                    </a:lnTo>
                    <a:lnTo>
                      <a:pt x="0" y="23"/>
                    </a:lnTo>
                    <a:lnTo>
                      <a:pt x="1" y="0"/>
                    </a:lnTo>
                    <a:lnTo>
                      <a:pt x="1"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50" name="ïṩliḓe">
                <a:extLst>
                  <a:ext uri="{FF2B5EF4-FFF2-40B4-BE49-F238E27FC236}">
                    <a16:creationId xmlns:a16="http://schemas.microsoft.com/office/drawing/2014/main" id="{AA2A9E7E-1EE7-42C9-8738-99F6753EDB97}"/>
                  </a:ext>
                </a:extLst>
              </p:cNvPr>
              <p:cNvSpPr/>
              <p:nvPr/>
            </p:nvSpPr>
            <p:spPr bwMode="auto">
              <a:xfrm>
                <a:off x="6036468" y="2395537"/>
                <a:ext cx="371475" cy="111125"/>
              </a:xfrm>
              <a:custGeom>
                <a:avLst/>
                <a:gdLst>
                  <a:gd name="T0" fmla="*/ 152 w 234"/>
                  <a:gd name="T1" fmla="*/ 14 h 70"/>
                  <a:gd name="T2" fmla="*/ 152 w 234"/>
                  <a:gd name="T3" fmla="*/ 14 h 70"/>
                  <a:gd name="T4" fmla="*/ 190 w 234"/>
                  <a:gd name="T5" fmla="*/ 11 h 70"/>
                  <a:gd name="T6" fmla="*/ 215 w 234"/>
                  <a:gd name="T7" fmla="*/ 8 h 70"/>
                  <a:gd name="T8" fmla="*/ 224 w 234"/>
                  <a:gd name="T9" fmla="*/ 6 h 70"/>
                  <a:gd name="T10" fmla="*/ 229 w 234"/>
                  <a:gd name="T11" fmla="*/ 5 h 70"/>
                  <a:gd name="T12" fmla="*/ 233 w 234"/>
                  <a:gd name="T13" fmla="*/ 3 h 70"/>
                  <a:gd name="T14" fmla="*/ 234 w 234"/>
                  <a:gd name="T15" fmla="*/ 0 h 70"/>
                  <a:gd name="T16" fmla="*/ 234 w 234"/>
                  <a:gd name="T17" fmla="*/ 28 h 70"/>
                  <a:gd name="T18" fmla="*/ 234 w 234"/>
                  <a:gd name="T19" fmla="*/ 28 h 70"/>
                  <a:gd name="T20" fmla="*/ 233 w 234"/>
                  <a:gd name="T21" fmla="*/ 32 h 70"/>
                  <a:gd name="T22" fmla="*/ 229 w 234"/>
                  <a:gd name="T23" fmla="*/ 34 h 70"/>
                  <a:gd name="T24" fmla="*/ 224 w 234"/>
                  <a:gd name="T25" fmla="*/ 35 h 70"/>
                  <a:gd name="T26" fmla="*/ 215 w 234"/>
                  <a:gd name="T27" fmla="*/ 37 h 70"/>
                  <a:gd name="T28" fmla="*/ 190 w 234"/>
                  <a:gd name="T29" fmla="*/ 40 h 70"/>
                  <a:gd name="T30" fmla="*/ 152 w 234"/>
                  <a:gd name="T31" fmla="*/ 43 h 70"/>
                  <a:gd name="T32" fmla="*/ 152 w 234"/>
                  <a:gd name="T33" fmla="*/ 43 h 70"/>
                  <a:gd name="T34" fmla="*/ 105 w 234"/>
                  <a:gd name="T35" fmla="*/ 47 h 70"/>
                  <a:gd name="T36" fmla="*/ 56 w 234"/>
                  <a:gd name="T37" fmla="*/ 54 h 70"/>
                  <a:gd name="T38" fmla="*/ 34 w 234"/>
                  <a:gd name="T39" fmla="*/ 57 h 70"/>
                  <a:gd name="T40" fmla="*/ 16 w 234"/>
                  <a:gd name="T41" fmla="*/ 61 h 70"/>
                  <a:gd name="T42" fmla="*/ 4 w 234"/>
                  <a:gd name="T43" fmla="*/ 66 h 70"/>
                  <a:gd name="T44" fmla="*/ 1 w 234"/>
                  <a:gd name="T45" fmla="*/ 68 h 70"/>
                  <a:gd name="T46" fmla="*/ 0 w 234"/>
                  <a:gd name="T47" fmla="*/ 70 h 70"/>
                  <a:gd name="T48" fmla="*/ 0 w 234"/>
                  <a:gd name="T49" fmla="*/ 41 h 70"/>
                  <a:gd name="T50" fmla="*/ 0 w 234"/>
                  <a:gd name="T51" fmla="*/ 41 h 70"/>
                  <a:gd name="T52" fmla="*/ 1 w 234"/>
                  <a:gd name="T53" fmla="*/ 39 h 70"/>
                  <a:gd name="T54" fmla="*/ 4 w 234"/>
                  <a:gd name="T55" fmla="*/ 37 h 70"/>
                  <a:gd name="T56" fmla="*/ 16 w 234"/>
                  <a:gd name="T57" fmla="*/ 33 h 70"/>
                  <a:gd name="T58" fmla="*/ 34 w 234"/>
                  <a:gd name="T59" fmla="*/ 28 h 70"/>
                  <a:gd name="T60" fmla="*/ 56 w 234"/>
                  <a:gd name="T61" fmla="*/ 25 h 70"/>
                  <a:gd name="T62" fmla="*/ 105 w 234"/>
                  <a:gd name="T63" fmla="*/ 18 h 70"/>
                  <a:gd name="T64" fmla="*/ 152 w 234"/>
                  <a:gd name="T65" fmla="*/ 14 h 70"/>
                  <a:gd name="T66" fmla="*/ 152 w 234"/>
                  <a:gd name="T67" fmla="*/ 1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4" h="70">
                    <a:moveTo>
                      <a:pt x="152" y="14"/>
                    </a:moveTo>
                    <a:lnTo>
                      <a:pt x="152" y="14"/>
                    </a:lnTo>
                    <a:lnTo>
                      <a:pt x="190" y="11"/>
                    </a:lnTo>
                    <a:lnTo>
                      <a:pt x="215" y="8"/>
                    </a:lnTo>
                    <a:lnTo>
                      <a:pt x="224" y="6"/>
                    </a:lnTo>
                    <a:lnTo>
                      <a:pt x="229" y="5"/>
                    </a:lnTo>
                    <a:lnTo>
                      <a:pt x="233" y="3"/>
                    </a:lnTo>
                    <a:lnTo>
                      <a:pt x="234" y="0"/>
                    </a:lnTo>
                    <a:lnTo>
                      <a:pt x="234" y="28"/>
                    </a:lnTo>
                    <a:lnTo>
                      <a:pt x="234" y="28"/>
                    </a:lnTo>
                    <a:lnTo>
                      <a:pt x="233" y="32"/>
                    </a:lnTo>
                    <a:lnTo>
                      <a:pt x="229" y="34"/>
                    </a:lnTo>
                    <a:lnTo>
                      <a:pt x="224" y="35"/>
                    </a:lnTo>
                    <a:lnTo>
                      <a:pt x="215" y="37"/>
                    </a:lnTo>
                    <a:lnTo>
                      <a:pt x="190" y="40"/>
                    </a:lnTo>
                    <a:lnTo>
                      <a:pt x="152" y="43"/>
                    </a:lnTo>
                    <a:lnTo>
                      <a:pt x="152" y="43"/>
                    </a:lnTo>
                    <a:lnTo>
                      <a:pt x="105" y="47"/>
                    </a:lnTo>
                    <a:lnTo>
                      <a:pt x="56" y="54"/>
                    </a:lnTo>
                    <a:lnTo>
                      <a:pt x="34" y="57"/>
                    </a:lnTo>
                    <a:lnTo>
                      <a:pt x="16" y="61"/>
                    </a:lnTo>
                    <a:lnTo>
                      <a:pt x="4" y="66"/>
                    </a:lnTo>
                    <a:lnTo>
                      <a:pt x="1" y="68"/>
                    </a:lnTo>
                    <a:lnTo>
                      <a:pt x="0" y="70"/>
                    </a:lnTo>
                    <a:lnTo>
                      <a:pt x="0" y="41"/>
                    </a:lnTo>
                    <a:lnTo>
                      <a:pt x="0" y="41"/>
                    </a:lnTo>
                    <a:lnTo>
                      <a:pt x="1" y="39"/>
                    </a:lnTo>
                    <a:lnTo>
                      <a:pt x="4" y="37"/>
                    </a:lnTo>
                    <a:lnTo>
                      <a:pt x="16" y="33"/>
                    </a:lnTo>
                    <a:lnTo>
                      <a:pt x="34" y="28"/>
                    </a:lnTo>
                    <a:lnTo>
                      <a:pt x="56" y="25"/>
                    </a:lnTo>
                    <a:lnTo>
                      <a:pt x="105" y="18"/>
                    </a:lnTo>
                    <a:lnTo>
                      <a:pt x="152" y="14"/>
                    </a:lnTo>
                    <a:lnTo>
                      <a:pt x="152" y="14"/>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25000" lnSpcReduction="20000"/>
              </a:bodyPr>
              <a:lstStyle/>
              <a:p>
                <a:endParaRPr lang="en-US"/>
              </a:p>
            </p:txBody>
          </p:sp>
          <p:sp>
            <p:nvSpPr>
              <p:cNvPr id="51" name="íşliḑé">
                <a:extLst>
                  <a:ext uri="{FF2B5EF4-FFF2-40B4-BE49-F238E27FC236}">
                    <a16:creationId xmlns:a16="http://schemas.microsoft.com/office/drawing/2014/main" id="{41ADD550-243E-45E3-932B-2BB0C6D53152}"/>
                  </a:ext>
                </a:extLst>
              </p:cNvPr>
              <p:cNvSpPr/>
              <p:nvPr/>
            </p:nvSpPr>
            <p:spPr bwMode="auto">
              <a:xfrm>
                <a:off x="5787231" y="2460624"/>
                <a:ext cx="669925" cy="136525"/>
              </a:xfrm>
              <a:custGeom>
                <a:avLst/>
                <a:gdLst>
                  <a:gd name="T0" fmla="*/ 13 w 422"/>
                  <a:gd name="T1" fmla="*/ 9 h 86"/>
                  <a:gd name="T2" fmla="*/ 13 w 422"/>
                  <a:gd name="T3" fmla="*/ 9 h 86"/>
                  <a:gd name="T4" fmla="*/ 23 w 422"/>
                  <a:gd name="T5" fmla="*/ 13 h 86"/>
                  <a:gd name="T6" fmla="*/ 39 w 422"/>
                  <a:gd name="T7" fmla="*/ 15 h 86"/>
                  <a:gd name="T8" fmla="*/ 85 w 422"/>
                  <a:gd name="T9" fmla="*/ 19 h 86"/>
                  <a:gd name="T10" fmla="*/ 145 w 422"/>
                  <a:gd name="T11" fmla="*/ 25 h 86"/>
                  <a:gd name="T12" fmla="*/ 209 w 422"/>
                  <a:gd name="T13" fmla="*/ 29 h 86"/>
                  <a:gd name="T14" fmla="*/ 275 w 422"/>
                  <a:gd name="T15" fmla="*/ 35 h 86"/>
                  <a:gd name="T16" fmla="*/ 335 w 422"/>
                  <a:gd name="T17" fmla="*/ 39 h 86"/>
                  <a:gd name="T18" fmla="*/ 383 w 422"/>
                  <a:gd name="T19" fmla="*/ 44 h 86"/>
                  <a:gd name="T20" fmla="*/ 401 w 422"/>
                  <a:gd name="T21" fmla="*/ 48 h 86"/>
                  <a:gd name="T22" fmla="*/ 414 w 422"/>
                  <a:gd name="T23" fmla="*/ 51 h 86"/>
                  <a:gd name="T24" fmla="*/ 414 w 422"/>
                  <a:gd name="T25" fmla="*/ 51 h 86"/>
                  <a:gd name="T26" fmla="*/ 418 w 422"/>
                  <a:gd name="T27" fmla="*/ 53 h 86"/>
                  <a:gd name="T28" fmla="*/ 420 w 422"/>
                  <a:gd name="T29" fmla="*/ 55 h 86"/>
                  <a:gd name="T30" fmla="*/ 422 w 422"/>
                  <a:gd name="T31" fmla="*/ 56 h 86"/>
                  <a:gd name="T32" fmla="*/ 422 w 422"/>
                  <a:gd name="T33" fmla="*/ 86 h 86"/>
                  <a:gd name="T34" fmla="*/ 422 w 422"/>
                  <a:gd name="T35" fmla="*/ 86 h 86"/>
                  <a:gd name="T36" fmla="*/ 420 w 422"/>
                  <a:gd name="T37" fmla="*/ 84 h 86"/>
                  <a:gd name="T38" fmla="*/ 418 w 422"/>
                  <a:gd name="T39" fmla="*/ 82 h 86"/>
                  <a:gd name="T40" fmla="*/ 414 w 422"/>
                  <a:gd name="T41" fmla="*/ 80 h 86"/>
                  <a:gd name="T42" fmla="*/ 414 w 422"/>
                  <a:gd name="T43" fmla="*/ 80 h 86"/>
                  <a:gd name="T44" fmla="*/ 401 w 422"/>
                  <a:gd name="T45" fmla="*/ 76 h 86"/>
                  <a:gd name="T46" fmla="*/ 383 w 422"/>
                  <a:gd name="T47" fmla="*/ 74 h 86"/>
                  <a:gd name="T48" fmla="*/ 335 w 422"/>
                  <a:gd name="T49" fmla="*/ 67 h 86"/>
                  <a:gd name="T50" fmla="*/ 275 w 422"/>
                  <a:gd name="T51" fmla="*/ 63 h 86"/>
                  <a:gd name="T52" fmla="*/ 209 w 422"/>
                  <a:gd name="T53" fmla="*/ 58 h 86"/>
                  <a:gd name="T54" fmla="*/ 145 w 422"/>
                  <a:gd name="T55" fmla="*/ 53 h 86"/>
                  <a:gd name="T56" fmla="*/ 85 w 422"/>
                  <a:gd name="T57" fmla="*/ 49 h 86"/>
                  <a:gd name="T58" fmla="*/ 39 w 422"/>
                  <a:gd name="T59" fmla="*/ 43 h 86"/>
                  <a:gd name="T60" fmla="*/ 23 w 422"/>
                  <a:gd name="T61" fmla="*/ 41 h 86"/>
                  <a:gd name="T62" fmla="*/ 13 w 422"/>
                  <a:gd name="T63" fmla="*/ 38 h 86"/>
                  <a:gd name="T64" fmla="*/ 13 w 422"/>
                  <a:gd name="T65" fmla="*/ 38 h 86"/>
                  <a:gd name="T66" fmla="*/ 5 w 422"/>
                  <a:gd name="T67" fmla="*/ 35 h 86"/>
                  <a:gd name="T68" fmla="*/ 2 w 422"/>
                  <a:gd name="T69" fmla="*/ 32 h 86"/>
                  <a:gd name="T70" fmla="*/ 0 w 422"/>
                  <a:gd name="T71" fmla="*/ 30 h 86"/>
                  <a:gd name="T72" fmla="*/ 0 w 422"/>
                  <a:gd name="T73" fmla="*/ 30 h 86"/>
                  <a:gd name="T74" fmla="*/ 0 w 422"/>
                  <a:gd name="T75" fmla="*/ 0 h 86"/>
                  <a:gd name="T76" fmla="*/ 0 w 422"/>
                  <a:gd name="T77" fmla="*/ 0 h 86"/>
                  <a:gd name="T78" fmla="*/ 0 w 422"/>
                  <a:gd name="T79" fmla="*/ 3 h 86"/>
                  <a:gd name="T80" fmla="*/ 1 w 422"/>
                  <a:gd name="T81" fmla="*/ 4 h 86"/>
                  <a:gd name="T82" fmla="*/ 5 w 422"/>
                  <a:gd name="T83" fmla="*/ 6 h 86"/>
                  <a:gd name="T84" fmla="*/ 13 w 422"/>
                  <a:gd name="T85" fmla="*/ 9 h 86"/>
                  <a:gd name="T86" fmla="*/ 13 w 422"/>
                  <a:gd name="T87" fmla="*/ 9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2" h="86">
                    <a:moveTo>
                      <a:pt x="13" y="9"/>
                    </a:moveTo>
                    <a:lnTo>
                      <a:pt x="13" y="9"/>
                    </a:lnTo>
                    <a:lnTo>
                      <a:pt x="23" y="13"/>
                    </a:lnTo>
                    <a:lnTo>
                      <a:pt x="39" y="15"/>
                    </a:lnTo>
                    <a:lnTo>
                      <a:pt x="85" y="19"/>
                    </a:lnTo>
                    <a:lnTo>
                      <a:pt x="145" y="25"/>
                    </a:lnTo>
                    <a:lnTo>
                      <a:pt x="209" y="29"/>
                    </a:lnTo>
                    <a:lnTo>
                      <a:pt x="275" y="35"/>
                    </a:lnTo>
                    <a:lnTo>
                      <a:pt x="335" y="39"/>
                    </a:lnTo>
                    <a:lnTo>
                      <a:pt x="383" y="44"/>
                    </a:lnTo>
                    <a:lnTo>
                      <a:pt x="401" y="48"/>
                    </a:lnTo>
                    <a:lnTo>
                      <a:pt x="414" y="51"/>
                    </a:lnTo>
                    <a:lnTo>
                      <a:pt x="414" y="51"/>
                    </a:lnTo>
                    <a:lnTo>
                      <a:pt x="418" y="53"/>
                    </a:lnTo>
                    <a:lnTo>
                      <a:pt x="420" y="55"/>
                    </a:lnTo>
                    <a:lnTo>
                      <a:pt x="422" y="56"/>
                    </a:lnTo>
                    <a:lnTo>
                      <a:pt x="422" y="86"/>
                    </a:lnTo>
                    <a:lnTo>
                      <a:pt x="422" y="86"/>
                    </a:lnTo>
                    <a:lnTo>
                      <a:pt x="420" y="84"/>
                    </a:lnTo>
                    <a:lnTo>
                      <a:pt x="418" y="82"/>
                    </a:lnTo>
                    <a:lnTo>
                      <a:pt x="414" y="80"/>
                    </a:lnTo>
                    <a:lnTo>
                      <a:pt x="414" y="80"/>
                    </a:lnTo>
                    <a:lnTo>
                      <a:pt x="401" y="76"/>
                    </a:lnTo>
                    <a:lnTo>
                      <a:pt x="383" y="74"/>
                    </a:lnTo>
                    <a:lnTo>
                      <a:pt x="335" y="67"/>
                    </a:lnTo>
                    <a:lnTo>
                      <a:pt x="275" y="63"/>
                    </a:lnTo>
                    <a:lnTo>
                      <a:pt x="209" y="58"/>
                    </a:lnTo>
                    <a:lnTo>
                      <a:pt x="145" y="53"/>
                    </a:lnTo>
                    <a:lnTo>
                      <a:pt x="85" y="49"/>
                    </a:lnTo>
                    <a:lnTo>
                      <a:pt x="39" y="43"/>
                    </a:lnTo>
                    <a:lnTo>
                      <a:pt x="23" y="41"/>
                    </a:lnTo>
                    <a:lnTo>
                      <a:pt x="13" y="38"/>
                    </a:lnTo>
                    <a:lnTo>
                      <a:pt x="13" y="38"/>
                    </a:lnTo>
                    <a:lnTo>
                      <a:pt x="5" y="35"/>
                    </a:lnTo>
                    <a:lnTo>
                      <a:pt x="2" y="32"/>
                    </a:lnTo>
                    <a:lnTo>
                      <a:pt x="0" y="30"/>
                    </a:lnTo>
                    <a:lnTo>
                      <a:pt x="0" y="30"/>
                    </a:lnTo>
                    <a:lnTo>
                      <a:pt x="0" y="0"/>
                    </a:lnTo>
                    <a:lnTo>
                      <a:pt x="0" y="0"/>
                    </a:lnTo>
                    <a:lnTo>
                      <a:pt x="0" y="3"/>
                    </a:lnTo>
                    <a:lnTo>
                      <a:pt x="1" y="4"/>
                    </a:lnTo>
                    <a:lnTo>
                      <a:pt x="5" y="6"/>
                    </a:lnTo>
                    <a:lnTo>
                      <a:pt x="13" y="9"/>
                    </a:lnTo>
                    <a:lnTo>
                      <a:pt x="13" y="9"/>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rmAutofit fontScale="40000" lnSpcReduction="20000"/>
              </a:bodyPr>
              <a:lstStyle/>
              <a:p>
                <a:endParaRPr lang="en-US"/>
              </a:p>
            </p:txBody>
          </p:sp>
          <p:sp>
            <p:nvSpPr>
              <p:cNvPr id="52" name="íṩľíḑe">
                <a:extLst>
                  <a:ext uri="{FF2B5EF4-FFF2-40B4-BE49-F238E27FC236}">
                    <a16:creationId xmlns:a16="http://schemas.microsoft.com/office/drawing/2014/main" id="{F9830ED3-3DBC-48FD-BA9A-36F5BDAE3177}"/>
                  </a:ext>
                </a:extLst>
              </p:cNvPr>
              <p:cNvSpPr/>
              <p:nvPr/>
            </p:nvSpPr>
            <p:spPr bwMode="auto">
              <a:xfrm>
                <a:off x="6119018" y="2565399"/>
                <a:ext cx="673100" cy="282575"/>
              </a:xfrm>
              <a:custGeom>
                <a:avLst/>
                <a:gdLst>
                  <a:gd name="T0" fmla="*/ 423 w 424"/>
                  <a:gd name="T1" fmla="*/ 4 h 178"/>
                  <a:gd name="T2" fmla="*/ 423 w 424"/>
                  <a:gd name="T3" fmla="*/ 4 h 178"/>
                  <a:gd name="T4" fmla="*/ 424 w 424"/>
                  <a:gd name="T5" fmla="*/ 3 h 178"/>
                  <a:gd name="T6" fmla="*/ 424 w 424"/>
                  <a:gd name="T7" fmla="*/ 0 h 178"/>
                  <a:gd name="T8" fmla="*/ 424 w 424"/>
                  <a:gd name="T9" fmla="*/ 29 h 178"/>
                  <a:gd name="T10" fmla="*/ 424 w 424"/>
                  <a:gd name="T11" fmla="*/ 29 h 178"/>
                  <a:gd name="T12" fmla="*/ 424 w 424"/>
                  <a:gd name="T13" fmla="*/ 31 h 178"/>
                  <a:gd name="T14" fmla="*/ 423 w 424"/>
                  <a:gd name="T15" fmla="*/ 33 h 178"/>
                  <a:gd name="T16" fmla="*/ 423 w 424"/>
                  <a:gd name="T17" fmla="*/ 33 h 178"/>
                  <a:gd name="T18" fmla="*/ 419 w 424"/>
                  <a:gd name="T19" fmla="*/ 37 h 178"/>
                  <a:gd name="T20" fmla="*/ 413 w 424"/>
                  <a:gd name="T21" fmla="*/ 40 h 178"/>
                  <a:gd name="T22" fmla="*/ 396 w 424"/>
                  <a:gd name="T23" fmla="*/ 48 h 178"/>
                  <a:gd name="T24" fmla="*/ 373 w 424"/>
                  <a:gd name="T25" fmla="*/ 54 h 178"/>
                  <a:gd name="T26" fmla="*/ 344 w 424"/>
                  <a:gd name="T27" fmla="*/ 62 h 178"/>
                  <a:gd name="T28" fmla="*/ 276 w 424"/>
                  <a:gd name="T29" fmla="*/ 78 h 178"/>
                  <a:gd name="T30" fmla="*/ 201 w 424"/>
                  <a:gd name="T31" fmla="*/ 96 h 178"/>
                  <a:gd name="T32" fmla="*/ 163 w 424"/>
                  <a:gd name="T33" fmla="*/ 105 h 178"/>
                  <a:gd name="T34" fmla="*/ 126 w 424"/>
                  <a:gd name="T35" fmla="*/ 115 h 178"/>
                  <a:gd name="T36" fmla="*/ 93 w 424"/>
                  <a:gd name="T37" fmla="*/ 125 h 178"/>
                  <a:gd name="T38" fmla="*/ 62 w 424"/>
                  <a:gd name="T39" fmla="*/ 134 h 178"/>
                  <a:gd name="T40" fmla="*/ 37 w 424"/>
                  <a:gd name="T41" fmla="*/ 145 h 178"/>
                  <a:gd name="T42" fmla="*/ 26 w 424"/>
                  <a:gd name="T43" fmla="*/ 151 h 178"/>
                  <a:gd name="T44" fmla="*/ 17 w 424"/>
                  <a:gd name="T45" fmla="*/ 155 h 178"/>
                  <a:gd name="T46" fmla="*/ 10 w 424"/>
                  <a:gd name="T47" fmla="*/ 161 h 178"/>
                  <a:gd name="T48" fmla="*/ 5 w 424"/>
                  <a:gd name="T49" fmla="*/ 167 h 178"/>
                  <a:gd name="T50" fmla="*/ 2 w 424"/>
                  <a:gd name="T51" fmla="*/ 173 h 178"/>
                  <a:gd name="T52" fmla="*/ 0 w 424"/>
                  <a:gd name="T53" fmla="*/ 178 h 178"/>
                  <a:gd name="T54" fmla="*/ 0 w 424"/>
                  <a:gd name="T55" fmla="*/ 150 h 178"/>
                  <a:gd name="T56" fmla="*/ 0 w 424"/>
                  <a:gd name="T57" fmla="*/ 150 h 178"/>
                  <a:gd name="T58" fmla="*/ 2 w 424"/>
                  <a:gd name="T59" fmla="*/ 144 h 178"/>
                  <a:gd name="T60" fmla="*/ 5 w 424"/>
                  <a:gd name="T61" fmla="*/ 138 h 178"/>
                  <a:gd name="T62" fmla="*/ 10 w 424"/>
                  <a:gd name="T63" fmla="*/ 132 h 178"/>
                  <a:gd name="T64" fmla="*/ 17 w 424"/>
                  <a:gd name="T65" fmla="*/ 127 h 178"/>
                  <a:gd name="T66" fmla="*/ 26 w 424"/>
                  <a:gd name="T67" fmla="*/ 121 h 178"/>
                  <a:gd name="T68" fmla="*/ 37 w 424"/>
                  <a:gd name="T69" fmla="*/ 117 h 178"/>
                  <a:gd name="T70" fmla="*/ 62 w 424"/>
                  <a:gd name="T71" fmla="*/ 106 h 178"/>
                  <a:gd name="T72" fmla="*/ 93 w 424"/>
                  <a:gd name="T73" fmla="*/ 96 h 178"/>
                  <a:gd name="T74" fmla="*/ 126 w 424"/>
                  <a:gd name="T75" fmla="*/ 86 h 178"/>
                  <a:gd name="T76" fmla="*/ 163 w 424"/>
                  <a:gd name="T77" fmla="*/ 76 h 178"/>
                  <a:gd name="T78" fmla="*/ 201 w 424"/>
                  <a:gd name="T79" fmla="*/ 67 h 178"/>
                  <a:gd name="T80" fmla="*/ 276 w 424"/>
                  <a:gd name="T81" fmla="*/ 50 h 178"/>
                  <a:gd name="T82" fmla="*/ 344 w 424"/>
                  <a:gd name="T83" fmla="*/ 33 h 178"/>
                  <a:gd name="T84" fmla="*/ 373 w 424"/>
                  <a:gd name="T85" fmla="*/ 26 h 178"/>
                  <a:gd name="T86" fmla="*/ 396 w 424"/>
                  <a:gd name="T87" fmla="*/ 18 h 178"/>
                  <a:gd name="T88" fmla="*/ 413 w 424"/>
                  <a:gd name="T89" fmla="*/ 11 h 178"/>
                  <a:gd name="T90" fmla="*/ 419 w 424"/>
                  <a:gd name="T91" fmla="*/ 8 h 178"/>
                  <a:gd name="T92" fmla="*/ 423 w 424"/>
                  <a:gd name="T93" fmla="*/ 4 h 178"/>
                  <a:gd name="T94" fmla="*/ 423 w 424"/>
                  <a:gd name="T95" fmla="*/ 4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4" h="178">
                    <a:moveTo>
                      <a:pt x="423" y="4"/>
                    </a:moveTo>
                    <a:lnTo>
                      <a:pt x="423" y="4"/>
                    </a:lnTo>
                    <a:lnTo>
                      <a:pt x="424" y="3"/>
                    </a:lnTo>
                    <a:lnTo>
                      <a:pt x="424" y="0"/>
                    </a:lnTo>
                    <a:lnTo>
                      <a:pt x="424" y="29"/>
                    </a:lnTo>
                    <a:lnTo>
                      <a:pt x="424" y="29"/>
                    </a:lnTo>
                    <a:lnTo>
                      <a:pt x="424" y="31"/>
                    </a:lnTo>
                    <a:lnTo>
                      <a:pt x="423" y="33"/>
                    </a:lnTo>
                    <a:lnTo>
                      <a:pt x="423" y="33"/>
                    </a:lnTo>
                    <a:lnTo>
                      <a:pt x="419" y="37"/>
                    </a:lnTo>
                    <a:lnTo>
                      <a:pt x="413" y="40"/>
                    </a:lnTo>
                    <a:lnTo>
                      <a:pt x="396" y="48"/>
                    </a:lnTo>
                    <a:lnTo>
                      <a:pt x="373" y="54"/>
                    </a:lnTo>
                    <a:lnTo>
                      <a:pt x="344" y="62"/>
                    </a:lnTo>
                    <a:lnTo>
                      <a:pt x="276" y="78"/>
                    </a:lnTo>
                    <a:lnTo>
                      <a:pt x="201" y="96"/>
                    </a:lnTo>
                    <a:lnTo>
                      <a:pt x="163" y="105"/>
                    </a:lnTo>
                    <a:lnTo>
                      <a:pt x="126" y="115"/>
                    </a:lnTo>
                    <a:lnTo>
                      <a:pt x="93" y="125"/>
                    </a:lnTo>
                    <a:lnTo>
                      <a:pt x="62" y="134"/>
                    </a:lnTo>
                    <a:lnTo>
                      <a:pt x="37" y="145"/>
                    </a:lnTo>
                    <a:lnTo>
                      <a:pt x="26" y="151"/>
                    </a:lnTo>
                    <a:lnTo>
                      <a:pt x="17" y="155"/>
                    </a:lnTo>
                    <a:lnTo>
                      <a:pt x="10" y="161"/>
                    </a:lnTo>
                    <a:lnTo>
                      <a:pt x="5" y="167"/>
                    </a:lnTo>
                    <a:lnTo>
                      <a:pt x="2" y="173"/>
                    </a:lnTo>
                    <a:lnTo>
                      <a:pt x="0" y="178"/>
                    </a:lnTo>
                    <a:lnTo>
                      <a:pt x="0" y="150"/>
                    </a:lnTo>
                    <a:lnTo>
                      <a:pt x="0" y="150"/>
                    </a:lnTo>
                    <a:lnTo>
                      <a:pt x="2" y="144"/>
                    </a:lnTo>
                    <a:lnTo>
                      <a:pt x="5" y="138"/>
                    </a:lnTo>
                    <a:lnTo>
                      <a:pt x="10" y="132"/>
                    </a:lnTo>
                    <a:lnTo>
                      <a:pt x="17" y="127"/>
                    </a:lnTo>
                    <a:lnTo>
                      <a:pt x="26" y="121"/>
                    </a:lnTo>
                    <a:lnTo>
                      <a:pt x="37" y="117"/>
                    </a:lnTo>
                    <a:lnTo>
                      <a:pt x="62" y="106"/>
                    </a:lnTo>
                    <a:lnTo>
                      <a:pt x="93" y="96"/>
                    </a:lnTo>
                    <a:lnTo>
                      <a:pt x="126" y="86"/>
                    </a:lnTo>
                    <a:lnTo>
                      <a:pt x="163" y="76"/>
                    </a:lnTo>
                    <a:lnTo>
                      <a:pt x="201" y="67"/>
                    </a:lnTo>
                    <a:lnTo>
                      <a:pt x="276" y="50"/>
                    </a:lnTo>
                    <a:lnTo>
                      <a:pt x="344" y="33"/>
                    </a:lnTo>
                    <a:lnTo>
                      <a:pt x="373" y="26"/>
                    </a:lnTo>
                    <a:lnTo>
                      <a:pt x="396" y="18"/>
                    </a:lnTo>
                    <a:lnTo>
                      <a:pt x="413" y="11"/>
                    </a:lnTo>
                    <a:lnTo>
                      <a:pt x="419" y="8"/>
                    </a:lnTo>
                    <a:lnTo>
                      <a:pt x="423" y="4"/>
                    </a:lnTo>
                    <a:lnTo>
                      <a:pt x="423"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53" name="îŝ1îḋe">
                <a:extLst>
                  <a:ext uri="{FF2B5EF4-FFF2-40B4-BE49-F238E27FC236}">
                    <a16:creationId xmlns:a16="http://schemas.microsoft.com/office/drawing/2014/main" id="{7BC7EAFD-5AF1-4FFA-812C-3B6915FB76FD}"/>
                  </a:ext>
                </a:extLst>
              </p:cNvPr>
              <p:cNvSpPr/>
              <p:nvPr/>
            </p:nvSpPr>
            <p:spPr bwMode="auto">
              <a:xfrm>
                <a:off x="6463506" y="3838574"/>
                <a:ext cx="1903412" cy="2308225"/>
              </a:xfrm>
              <a:custGeom>
                <a:avLst/>
                <a:gdLst>
                  <a:gd name="T0" fmla="*/ 27 w 1199"/>
                  <a:gd name="T1" fmla="*/ 1454 h 1454"/>
                  <a:gd name="T2" fmla="*/ 27 w 1199"/>
                  <a:gd name="T3" fmla="*/ 1454 h 1454"/>
                  <a:gd name="T4" fmla="*/ 90 w 1199"/>
                  <a:gd name="T5" fmla="*/ 1388 h 1454"/>
                  <a:gd name="T6" fmla="*/ 154 w 1199"/>
                  <a:gd name="T7" fmla="*/ 1324 h 1454"/>
                  <a:gd name="T8" fmla="*/ 291 w 1199"/>
                  <a:gd name="T9" fmla="*/ 1185 h 1454"/>
                  <a:gd name="T10" fmla="*/ 373 w 1199"/>
                  <a:gd name="T11" fmla="*/ 1101 h 1454"/>
                  <a:gd name="T12" fmla="*/ 467 w 1199"/>
                  <a:gd name="T13" fmla="*/ 1001 h 1454"/>
                  <a:gd name="T14" fmla="*/ 577 w 1199"/>
                  <a:gd name="T15" fmla="*/ 882 h 1454"/>
                  <a:gd name="T16" fmla="*/ 708 w 1199"/>
                  <a:gd name="T17" fmla="*/ 741 h 1454"/>
                  <a:gd name="T18" fmla="*/ 708 w 1199"/>
                  <a:gd name="T19" fmla="*/ 741 h 1454"/>
                  <a:gd name="T20" fmla="*/ 805 w 1199"/>
                  <a:gd name="T21" fmla="*/ 631 h 1454"/>
                  <a:gd name="T22" fmla="*/ 890 w 1199"/>
                  <a:gd name="T23" fmla="*/ 532 h 1454"/>
                  <a:gd name="T24" fmla="*/ 965 w 1199"/>
                  <a:gd name="T25" fmla="*/ 443 h 1454"/>
                  <a:gd name="T26" fmla="*/ 1028 w 1199"/>
                  <a:gd name="T27" fmla="*/ 364 h 1454"/>
                  <a:gd name="T28" fmla="*/ 1079 w 1199"/>
                  <a:gd name="T29" fmla="*/ 297 h 1454"/>
                  <a:gd name="T30" fmla="*/ 1120 w 1199"/>
                  <a:gd name="T31" fmla="*/ 242 h 1454"/>
                  <a:gd name="T32" fmla="*/ 1150 w 1199"/>
                  <a:gd name="T33" fmla="*/ 199 h 1454"/>
                  <a:gd name="T34" fmla="*/ 1160 w 1199"/>
                  <a:gd name="T35" fmla="*/ 182 h 1454"/>
                  <a:gd name="T36" fmla="*/ 1167 w 1199"/>
                  <a:gd name="T37" fmla="*/ 169 h 1454"/>
                  <a:gd name="T38" fmla="*/ 1167 w 1199"/>
                  <a:gd name="T39" fmla="*/ 169 h 1454"/>
                  <a:gd name="T40" fmla="*/ 1176 w 1199"/>
                  <a:gd name="T41" fmla="*/ 148 h 1454"/>
                  <a:gd name="T42" fmla="*/ 1182 w 1199"/>
                  <a:gd name="T43" fmla="*/ 134 h 1454"/>
                  <a:gd name="T44" fmla="*/ 1187 w 1199"/>
                  <a:gd name="T45" fmla="*/ 116 h 1454"/>
                  <a:gd name="T46" fmla="*/ 1192 w 1199"/>
                  <a:gd name="T47" fmla="*/ 98 h 1454"/>
                  <a:gd name="T48" fmla="*/ 1196 w 1199"/>
                  <a:gd name="T49" fmla="*/ 77 h 1454"/>
                  <a:gd name="T50" fmla="*/ 1198 w 1199"/>
                  <a:gd name="T51" fmla="*/ 54 h 1454"/>
                  <a:gd name="T52" fmla="*/ 1199 w 1199"/>
                  <a:gd name="T53" fmla="*/ 28 h 1454"/>
                  <a:gd name="T54" fmla="*/ 1199 w 1199"/>
                  <a:gd name="T55" fmla="*/ 0 h 1454"/>
                  <a:gd name="T56" fmla="*/ 1199 w 1199"/>
                  <a:gd name="T57" fmla="*/ 0 h 1454"/>
                  <a:gd name="T58" fmla="*/ 1198 w 1199"/>
                  <a:gd name="T59" fmla="*/ 25 h 1454"/>
                  <a:gd name="T60" fmla="*/ 1196 w 1199"/>
                  <a:gd name="T61" fmla="*/ 48 h 1454"/>
                  <a:gd name="T62" fmla="*/ 1192 w 1199"/>
                  <a:gd name="T63" fmla="*/ 69 h 1454"/>
                  <a:gd name="T64" fmla="*/ 1187 w 1199"/>
                  <a:gd name="T65" fmla="*/ 88 h 1454"/>
                  <a:gd name="T66" fmla="*/ 1182 w 1199"/>
                  <a:gd name="T67" fmla="*/ 105 h 1454"/>
                  <a:gd name="T68" fmla="*/ 1176 w 1199"/>
                  <a:gd name="T69" fmla="*/ 120 h 1454"/>
                  <a:gd name="T70" fmla="*/ 1167 w 1199"/>
                  <a:gd name="T71" fmla="*/ 140 h 1454"/>
                  <a:gd name="T72" fmla="*/ 1167 w 1199"/>
                  <a:gd name="T73" fmla="*/ 140 h 1454"/>
                  <a:gd name="T74" fmla="*/ 1160 w 1199"/>
                  <a:gd name="T75" fmla="*/ 154 h 1454"/>
                  <a:gd name="T76" fmla="*/ 1150 w 1199"/>
                  <a:gd name="T77" fmla="*/ 170 h 1454"/>
                  <a:gd name="T78" fmla="*/ 1120 w 1199"/>
                  <a:gd name="T79" fmla="*/ 213 h 1454"/>
                  <a:gd name="T80" fmla="*/ 1079 w 1199"/>
                  <a:gd name="T81" fmla="*/ 268 h 1454"/>
                  <a:gd name="T82" fmla="*/ 1028 w 1199"/>
                  <a:gd name="T83" fmla="*/ 335 h 1454"/>
                  <a:gd name="T84" fmla="*/ 965 w 1199"/>
                  <a:gd name="T85" fmla="*/ 414 h 1454"/>
                  <a:gd name="T86" fmla="*/ 890 w 1199"/>
                  <a:gd name="T87" fmla="*/ 503 h 1454"/>
                  <a:gd name="T88" fmla="*/ 805 w 1199"/>
                  <a:gd name="T89" fmla="*/ 602 h 1454"/>
                  <a:gd name="T90" fmla="*/ 708 w 1199"/>
                  <a:gd name="T91" fmla="*/ 711 h 1454"/>
                  <a:gd name="T92" fmla="*/ 708 w 1199"/>
                  <a:gd name="T93" fmla="*/ 711 h 1454"/>
                  <a:gd name="T94" fmla="*/ 572 w 1199"/>
                  <a:gd name="T95" fmla="*/ 860 h 1454"/>
                  <a:gd name="T96" fmla="*/ 456 w 1199"/>
                  <a:gd name="T97" fmla="*/ 985 h 1454"/>
                  <a:gd name="T98" fmla="*/ 359 w 1199"/>
                  <a:gd name="T99" fmla="*/ 1087 h 1454"/>
                  <a:gd name="T100" fmla="*/ 276 w 1199"/>
                  <a:gd name="T101" fmla="*/ 1173 h 1454"/>
                  <a:gd name="T102" fmla="*/ 134 w 1199"/>
                  <a:gd name="T103" fmla="*/ 1315 h 1454"/>
                  <a:gd name="T104" fmla="*/ 67 w 1199"/>
                  <a:gd name="T105" fmla="*/ 1383 h 1454"/>
                  <a:gd name="T106" fmla="*/ 0 w 1199"/>
                  <a:gd name="T107" fmla="*/ 1454 h 1454"/>
                  <a:gd name="T108" fmla="*/ 27 w 1199"/>
                  <a:gd name="T109" fmla="*/ 1454 h 1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99" h="1454">
                    <a:moveTo>
                      <a:pt x="27" y="1454"/>
                    </a:moveTo>
                    <a:lnTo>
                      <a:pt x="27" y="1454"/>
                    </a:lnTo>
                    <a:lnTo>
                      <a:pt x="90" y="1388"/>
                    </a:lnTo>
                    <a:lnTo>
                      <a:pt x="154" y="1324"/>
                    </a:lnTo>
                    <a:lnTo>
                      <a:pt x="291" y="1185"/>
                    </a:lnTo>
                    <a:lnTo>
                      <a:pt x="373" y="1101"/>
                    </a:lnTo>
                    <a:lnTo>
                      <a:pt x="467" y="1001"/>
                    </a:lnTo>
                    <a:lnTo>
                      <a:pt x="577" y="882"/>
                    </a:lnTo>
                    <a:lnTo>
                      <a:pt x="708" y="741"/>
                    </a:lnTo>
                    <a:lnTo>
                      <a:pt x="708" y="741"/>
                    </a:lnTo>
                    <a:lnTo>
                      <a:pt x="805" y="631"/>
                    </a:lnTo>
                    <a:lnTo>
                      <a:pt x="890" y="532"/>
                    </a:lnTo>
                    <a:lnTo>
                      <a:pt x="965" y="443"/>
                    </a:lnTo>
                    <a:lnTo>
                      <a:pt x="1028" y="364"/>
                    </a:lnTo>
                    <a:lnTo>
                      <a:pt x="1079" y="297"/>
                    </a:lnTo>
                    <a:lnTo>
                      <a:pt x="1120" y="242"/>
                    </a:lnTo>
                    <a:lnTo>
                      <a:pt x="1150" y="199"/>
                    </a:lnTo>
                    <a:lnTo>
                      <a:pt x="1160" y="182"/>
                    </a:lnTo>
                    <a:lnTo>
                      <a:pt x="1167" y="169"/>
                    </a:lnTo>
                    <a:lnTo>
                      <a:pt x="1167" y="169"/>
                    </a:lnTo>
                    <a:lnTo>
                      <a:pt x="1176" y="148"/>
                    </a:lnTo>
                    <a:lnTo>
                      <a:pt x="1182" y="134"/>
                    </a:lnTo>
                    <a:lnTo>
                      <a:pt x="1187" y="116"/>
                    </a:lnTo>
                    <a:lnTo>
                      <a:pt x="1192" y="98"/>
                    </a:lnTo>
                    <a:lnTo>
                      <a:pt x="1196" y="77"/>
                    </a:lnTo>
                    <a:lnTo>
                      <a:pt x="1198" y="54"/>
                    </a:lnTo>
                    <a:lnTo>
                      <a:pt x="1199" y="28"/>
                    </a:lnTo>
                    <a:lnTo>
                      <a:pt x="1199" y="0"/>
                    </a:lnTo>
                    <a:lnTo>
                      <a:pt x="1199" y="0"/>
                    </a:lnTo>
                    <a:lnTo>
                      <a:pt x="1198" y="25"/>
                    </a:lnTo>
                    <a:lnTo>
                      <a:pt x="1196" y="48"/>
                    </a:lnTo>
                    <a:lnTo>
                      <a:pt x="1192" y="69"/>
                    </a:lnTo>
                    <a:lnTo>
                      <a:pt x="1187" y="88"/>
                    </a:lnTo>
                    <a:lnTo>
                      <a:pt x="1182" y="105"/>
                    </a:lnTo>
                    <a:lnTo>
                      <a:pt x="1176" y="120"/>
                    </a:lnTo>
                    <a:lnTo>
                      <a:pt x="1167" y="140"/>
                    </a:lnTo>
                    <a:lnTo>
                      <a:pt x="1167" y="140"/>
                    </a:lnTo>
                    <a:lnTo>
                      <a:pt x="1160" y="154"/>
                    </a:lnTo>
                    <a:lnTo>
                      <a:pt x="1150" y="170"/>
                    </a:lnTo>
                    <a:lnTo>
                      <a:pt x="1120" y="213"/>
                    </a:lnTo>
                    <a:lnTo>
                      <a:pt x="1079" y="268"/>
                    </a:lnTo>
                    <a:lnTo>
                      <a:pt x="1028" y="335"/>
                    </a:lnTo>
                    <a:lnTo>
                      <a:pt x="965" y="414"/>
                    </a:lnTo>
                    <a:lnTo>
                      <a:pt x="890" y="503"/>
                    </a:lnTo>
                    <a:lnTo>
                      <a:pt x="805" y="602"/>
                    </a:lnTo>
                    <a:lnTo>
                      <a:pt x="708" y="711"/>
                    </a:lnTo>
                    <a:lnTo>
                      <a:pt x="708" y="711"/>
                    </a:lnTo>
                    <a:lnTo>
                      <a:pt x="572" y="860"/>
                    </a:lnTo>
                    <a:lnTo>
                      <a:pt x="456" y="985"/>
                    </a:lnTo>
                    <a:lnTo>
                      <a:pt x="359" y="1087"/>
                    </a:lnTo>
                    <a:lnTo>
                      <a:pt x="276" y="1173"/>
                    </a:lnTo>
                    <a:lnTo>
                      <a:pt x="134" y="1315"/>
                    </a:lnTo>
                    <a:lnTo>
                      <a:pt x="67" y="1383"/>
                    </a:lnTo>
                    <a:lnTo>
                      <a:pt x="0" y="1454"/>
                    </a:lnTo>
                    <a:lnTo>
                      <a:pt x="27" y="145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54" name="íśḷidè">
                <a:extLst>
                  <a:ext uri="{FF2B5EF4-FFF2-40B4-BE49-F238E27FC236}">
                    <a16:creationId xmlns:a16="http://schemas.microsoft.com/office/drawing/2014/main" id="{EE7415BB-8EA1-4222-85B8-8D6C3A978B63}"/>
                  </a:ext>
                </a:extLst>
              </p:cNvPr>
              <p:cNvSpPr/>
              <p:nvPr/>
            </p:nvSpPr>
            <p:spPr bwMode="auto">
              <a:xfrm>
                <a:off x="3825081" y="2368549"/>
                <a:ext cx="4541837" cy="3778250"/>
              </a:xfrm>
              <a:custGeom>
                <a:avLst/>
                <a:gdLst>
                  <a:gd name="T0" fmla="*/ 1582 w 2861"/>
                  <a:gd name="T1" fmla="*/ 461 h 2380"/>
                  <a:gd name="T2" fmla="*/ 1774 w 2861"/>
                  <a:gd name="T3" fmla="*/ 510 h 2380"/>
                  <a:gd name="T4" fmla="*/ 1915 w 2861"/>
                  <a:gd name="T5" fmla="*/ 562 h 2380"/>
                  <a:gd name="T6" fmla="*/ 2012 w 2861"/>
                  <a:gd name="T7" fmla="*/ 612 h 2380"/>
                  <a:gd name="T8" fmla="*/ 2093 w 2861"/>
                  <a:gd name="T9" fmla="*/ 684 h 2380"/>
                  <a:gd name="T10" fmla="*/ 2119 w 2861"/>
                  <a:gd name="T11" fmla="*/ 739 h 2380"/>
                  <a:gd name="T12" fmla="*/ 2121 w 2861"/>
                  <a:gd name="T13" fmla="*/ 794 h 2380"/>
                  <a:gd name="T14" fmla="*/ 2092 w 2861"/>
                  <a:gd name="T15" fmla="*/ 863 h 2380"/>
                  <a:gd name="T16" fmla="*/ 2010 w 2861"/>
                  <a:gd name="T17" fmla="*/ 962 h 2380"/>
                  <a:gd name="T18" fmla="*/ 1855 w 2861"/>
                  <a:gd name="T19" fmla="*/ 1102 h 2380"/>
                  <a:gd name="T20" fmla="*/ 1607 w 2861"/>
                  <a:gd name="T21" fmla="*/ 1291 h 2380"/>
                  <a:gd name="T22" fmla="*/ 1325 w 2861"/>
                  <a:gd name="T23" fmla="*/ 1485 h 2380"/>
                  <a:gd name="T24" fmla="*/ 1662 w 2861"/>
                  <a:gd name="T25" fmla="*/ 2380 h 2380"/>
                  <a:gd name="T26" fmla="*/ 2021 w 2861"/>
                  <a:gd name="T27" fmla="*/ 2013 h 2380"/>
                  <a:gd name="T28" fmla="*/ 2467 w 2861"/>
                  <a:gd name="T29" fmla="*/ 1528 h 2380"/>
                  <a:gd name="T30" fmla="*/ 2782 w 2861"/>
                  <a:gd name="T31" fmla="*/ 1139 h 2380"/>
                  <a:gd name="T32" fmla="*/ 2835 w 2861"/>
                  <a:gd name="T33" fmla="*/ 1054 h 2380"/>
                  <a:gd name="T34" fmla="*/ 2860 w 2861"/>
                  <a:gd name="T35" fmla="*/ 959 h 2380"/>
                  <a:gd name="T36" fmla="*/ 2858 w 2861"/>
                  <a:gd name="T37" fmla="*/ 881 h 2380"/>
                  <a:gd name="T38" fmla="*/ 2832 w 2861"/>
                  <a:gd name="T39" fmla="*/ 791 h 2380"/>
                  <a:gd name="T40" fmla="*/ 2768 w 2861"/>
                  <a:gd name="T41" fmla="*/ 694 h 2380"/>
                  <a:gd name="T42" fmla="*/ 2657 w 2861"/>
                  <a:gd name="T43" fmla="*/ 596 h 2380"/>
                  <a:gd name="T44" fmla="*/ 2525 w 2861"/>
                  <a:gd name="T45" fmla="*/ 522 h 2380"/>
                  <a:gd name="T46" fmla="*/ 2315 w 2861"/>
                  <a:gd name="T47" fmla="*/ 453 h 2380"/>
                  <a:gd name="T48" fmla="*/ 2032 w 2861"/>
                  <a:gd name="T49" fmla="*/ 394 h 2380"/>
                  <a:gd name="T50" fmla="*/ 1611 w 2861"/>
                  <a:gd name="T51" fmla="*/ 330 h 2380"/>
                  <a:gd name="T52" fmla="*/ 1469 w 2861"/>
                  <a:gd name="T53" fmla="*/ 297 h 2380"/>
                  <a:gd name="T54" fmla="*/ 1447 w 2861"/>
                  <a:gd name="T55" fmla="*/ 279 h 2380"/>
                  <a:gd name="T56" fmla="*/ 1466 w 2861"/>
                  <a:gd name="T57" fmla="*/ 249 h 2380"/>
                  <a:gd name="T58" fmla="*/ 1587 w 2861"/>
                  <a:gd name="T59" fmla="*/ 206 h 2380"/>
                  <a:gd name="T60" fmla="*/ 1839 w 2861"/>
                  <a:gd name="T61" fmla="*/ 143 h 2380"/>
                  <a:gd name="T62" fmla="*/ 1868 w 2861"/>
                  <a:gd name="T63" fmla="*/ 128 h 2380"/>
                  <a:gd name="T64" fmla="*/ 1849 w 2861"/>
                  <a:gd name="T65" fmla="*/ 112 h 2380"/>
                  <a:gd name="T66" fmla="*/ 1659 w 2861"/>
                  <a:gd name="T67" fmla="*/ 86 h 2380"/>
                  <a:gd name="T68" fmla="*/ 1399 w 2861"/>
                  <a:gd name="T69" fmla="*/ 63 h 2380"/>
                  <a:gd name="T70" fmla="*/ 1398 w 2861"/>
                  <a:gd name="T71" fmla="*/ 53 h 2380"/>
                  <a:gd name="T72" fmla="*/ 1492 w 2861"/>
                  <a:gd name="T73" fmla="*/ 36 h 2380"/>
                  <a:gd name="T74" fmla="*/ 1618 w 2861"/>
                  <a:gd name="T75" fmla="*/ 23 h 2380"/>
                  <a:gd name="T76" fmla="*/ 1625 w 2861"/>
                  <a:gd name="T77" fmla="*/ 14 h 2380"/>
                  <a:gd name="T78" fmla="*/ 1544 w 2861"/>
                  <a:gd name="T79" fmla="*/ 1 h 2380"/>
                  <a:gd name="T80" fmla="*/ 1493 w 2861"/>
                  <a:gd name="T81" fmla="*/ 2 h 2380"/>
                  <a:gd name="T82" fmla="*/ 1510 w 2861"/>
                  <a:gd name="T83" fmla="*/ 6 h 2380"/>
                  <a:gd name="T84" fmla="*/ 1543 w 2861"/>
                  <a:gd name="T85" fmla="*/ 12 h 2380"/>
                  <a:gd name="T86" fmla="*/ 1389 w 2861"/>
                  <a:gd name="T87" fmla="*/ 30 h 2380"/>
                  <a:gd name="T88" fmla="*/ 1240 w 2861"/>
                  <a:gd name="T89" fmla="*/ 54 h 2380"/>
                  <a:gd name="T90" fmla="*/ 1249 w 2861"/>
                  <a:gd name="T91" fmla="*/ 67 h 2380"/>
                  <a:gd name="T92" fmla="*/ 1381 w 2861"/>
                  <a:gd name="T93" fmla="*/ 83 h 2380"/>
                  <a:gd name="T94" fmla="*/ 1637 w 2861"/>
                  <a:gd name="T95" fmla="*/ 106 h 2380"/>
                  <a:gd name="T96" fmla="*/ 1658 w 2861"/>
                  <a:gd name="T97" fmla="*/ 114 h 2380"/>
                  <a:gd name="T98" fmla="*/ 1640 w 2861"/>
                  <a:gd name="T99" fmla="*/ 125 h 2380"/>
                  <a:gd name="T100" fmla="*/ 1410 w 2861"/>
                  <a:gd name="T101" fmla="*/ 169 h 2380"/>
                  <a:gd name="T102" fmla="*/ 1237 w 2861"/>
                  <a:gd name="T103" fmla="*/ 209 h 2380"/>
                  <a:gd name="T104" fmla="*/ 1144 w 2861"/>
                  <a:gd name="T105" fmla="*/ 249 h 2380"/>
                  <a:gd name="T106" fmla="*/ 1116 w 2861"/>
                  <a:gd name="T107" fmla="*/ 276 h 2380"/>
                  <a:gd name="T108" fmla="*/ 1113 w 2861"/>
                  <a:gd name="T109" fmla="*/ 307 h 2380"/>
                  <a:gd name="T110" fmla="*/ 1137 w 2861"/>
                  <a:gd name="T111" fmla="*/ 337 h 2380"/>
                  <a:gd name="T112" fmla="*/ 1195 w 2861"/>
                  <a:gd name="T113" fmla="*/ 371 h 2380"/>
                  <a:gd name="T114" fmla="*/ 1304 w 2861"/>
                  <a:gd name="T115" fmla="*/ 406 h 2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61" h="2380">
                    <a:moveTo>
                      <a:pt x="1437" y="433"/>
                    </a:moveTo>
                    <a:lnTo>
                      <a:pt x="1437" y="433"/>
                    </a:lnTo>
                    <a:lnTo>
                      <a:pt x="1487" y="442"/>
                    </a:lnTo>
                    <a:lnTo>
                      <a:pt x="1536" y="451"/>
                    </a:lnTo>
                    <a:lnTo>
                      <a:pt x="1582" y="461"/>
                    </a:lnTo>
                    <a:lnTo>
                      <a:pt x="1625" y="471"/>
                    </a:lnTo>
                    <a:lnTo>
                      <a:pt x="1665" y="481"/>
                    </a:lnTo>
                    <a:lnTo>
                      <a:pt x="1704" y="490"/>
                    </a:lnTo>
                    <a:lnTo>
                      <a:pt x="1740" y="500"/>
                    </a:lnTo>
                    <a:lnTo>
                      <a:pt x="1774" y="510"/>
                    </a:lnTo>
                    <a:lnTo>
                      <a:pt x="1807" y="520"/>
                    </a:lnTo>
                    <a:lnTo>
                      <a:pt x="1837" y="531"/>
                    </a:lnTo>
                    <a:lnTo>
                      <a:pt x="1864" y="541"/>
                    </a:lnTo>
                    <a:lnTo>
                      <a:pt x="1891" y="552"/>
                    </a:lnTo>
                    <a:lnTo>
                      <a:pt x="1915" y="562"/>
                    </a:lnTo>
                    <a:lnTo>
                      <a:pt x="1938" y="572"/>
                    </a:lnTo>
                    <a:lnTo>
                      <a:pt x="1959" y="583"/>
                    </a:lnTo>
                    <a:lnTo>
                      <a:pt x="1977" y="593"/>
                    </a:lnTo>
                    <a:lnTo>
                      <a:pt x="1995" y="603"/>
                    </a:lnTo>
                    <a:lnTo>
                      <a:pt x="2012" y="612"/>
                    </a:lnTo>
                    <a:lnTo>
                      <a:pt x="2026" y="622"/>
                    </a:lnTo>
                    <a:lnTo>
                      <a:pt x="2039" y="631"/>
                    </a:lnTo>
                    <a:lnTo>
                      <a:pt x="2062" y="650"/>
                    </a:lnTo>
                    <a:lnTo>
                      <a:pt x="2080" y="667"/>
                    </a:lnTo>
                    <a:lnTo>
                      <a:pt x="2093" y="684"/>
                    </a:lnTo>
                    <a:lnTo>
                      <a:pt x="2103" y="699"/>
                    </a:lnTo>
                    <a:lnTo>
                      <a:pt x="2110" y="712"/>
                    </a:lnTo>
                    <a:lnTo>
                      <a:pt x="2115" y="725"/>
                    </a:lnTo>
                    <a:lnTo>
                      <a:pt x="2115" y="725"/>
                    </a:lnTo>
                    <a:lnTo>
                      <a:pt x="2119" y="739"/>
                    </a:lnTo>
                    <a:lnTo>
                      <a:pt x="2123" y="755"/>
                    </a:lnTo>
                    <a:lnTo>
                      <a:pt x="2124" y="764"/>
                    </a:lnTo>
                    <a:lnTo>
                      <a:pt x="2124" y="773"/>
                    </a:lnTo>
                    <a:lnTo>
                      <a:pt x="2123" y="784"/>
                    </a:lnTo>
                    <a:lnTo>
                      <a:pt x="2121" y="794"/>
                    </a:lnTo>
                    <a:lnTo>
                      <a:pt x="2118" y="806"/>
                    </a:lnTo>
                    <a:lnTo>
                      <a:pt x="2114" y="819"/>
                    </a:lnTo>
                    <a:lnTo>
                      <a:pt x="2108" y="832"/>
                    </a:lnTo>
                    <a:lnTo>
                      <a:pt x="2101" y="847"/>
                    </a:lnTo>
                    <a:lnTo>
                      <a:pt x="2092" y="863"/>
                    </a:lnTo>
                    <a:lnTo>
                      <a:pt x="2081" y="880"/>
                    </a:lnTo>
                    <a:lnTo>
                      <a:pt x="2066" y="898"/>
                    </a:lnTo>
                    <a:lnTo>
                      <a:pt x="2050" y="918"/>
                    </a:lnTo>
                    <a:lnTo>
                      <a:pt x="2031" y="939"/>
                    </a:lnTo>
                    <a:lnTo>
                      <a:pt x="2010" y="962"/>
                    </a:lnTo>
                    <a:lnTo>
                      <a:pt x="1986" y="986"/>
                    </a:lnTo>
                    <a:lnTo>
                      <a:pt x="1959" y="1013"/>
                    </a:lnTo>
                    <a:lnTo>
                      <a:pt x="1928" y="1040"/>
                    </a:lnTo>
                    <a:lnTo>
                      <a:pt x="1894" y="1070"/>
                    </a:lnTo>
                    <a:lnTo>
                      <a:pt x="1855" y="1102"/>
                    </a:lnTo>
                    <a:lnTo>
                      <a:pt x="1815" y="1135"/>
                    </a:lnTo>
                    <a:lnTo>
                      <a:pt x="1769" y="1171"/>
                    </a:lnTo>
                    <a:lnTo>
                      <a:pt x="1719" y="1208"/>
                    </a:lnTo>
                    <a:lnTo>
                      <a:pt x="1665" y="1249"/>
                    </a:lnTo>
                    <a:lnTo>
                      <a:pt x="1607" y="1291"/>
                    </a:lnTo>
                    <a:lnTo>
                      <a:pt x="1543" y="1336"/>
                    </a:lnTo>
                    <a:lnTo>
                      <a:pt x="1476" y="1383"/>
                    </a:lnTo>
                    <a:lnTo>
                      <a:pt x="1403" y="1432"/>
                    </a:lnTo>
                    <a:lnTo>
                      <a:pt x="1325" y="1485"/>
                    </a:lnTo>
                    <a:lnTo>
                      <a:pt x="1325" y="1485"/>
                    </a:lnTo>
                    <a:lnTo>
                      <a:pt x="938" y="1745"/>
                    </a:lnTo>
                    <a:lnTo>
                      <a:pt x="568" y="1993"/>
                    </a:lnTo>
                    <a:lnTo>
                      <a:pt x="246" y="2212"/>
                    </a:lnTo>
                    <a:lnTo>
                      <a:pt x="0" y="2380"/>
                    </a:lnTo>
                    <a:lnTo>
                      <a:pt x="1662" y="2380"/>
                    </a:lnTo>
                    <a:lnTo>
                      <a:pt x="1662" y="2380"/>
                    </a:lnTo>
                    <a:lnTo>
                      <a:pt x="1729" y="2309"/>
                    </a:lnTo>
                    <a:lnTo>
                      <a:pt x="1796" y="2241"/>
                    </a:lnTo>
                    <a:lnTo>
                      <a:pt x="1938" y="2099"/>
                    </a:lnTo>
                    <a:lnTo>
                      <a:pt x="2021" y="2013"/>
                    </a:lnTo>
                    <a:lnTo>
                      <a:pt x="2118" y="1911"/>
                    </a:lnTo>
                    <a:lnTo>
                      <a:pt x="2234" y="1786"/>
                    </a:lnTo>
                    <a:lnTo>
                      <a:pt x="2370" y="1637"/>
                    </a:lnTo>
                    <a:lnTo>
                      <a:pt x="2370" y="1637"/>
                    </a:lnTo>
                    <a:lnTo>
                      <a:pt x="2467" y="1528"/>
                    </a:lnTo>
                    <a:lnTo>
                      <a:pt x="2552" y="1429"/>
                    </a:lnTo>
                    <a:lnTo>
                      <a:pt x="2627" y="1340"/>
                    </a:lnTo>
                    <a:lnTo>
                      <a:pt x="2690" y="1261"/>
                    </a:lnTo>
                    <a:lnTo>
                      <a:pt x="2741" y="1194"/>
                    </a:lnTo>
                    <a:lnTo>
                      <a:pt x="2782" y="1139"/>
                    </a:lnTo>
                    <a:lnTo>
                      <a:pt x="2812" y="1096"/>
                    </a:lnTo>
                    <a:lnTo>
                      <a:pt x="2822" y="1080"/>
                    </a:lnTo>
                    <a:lnTo>
                      <a:pt x="2829" y="1066"/>
                    </a:lnTo>
                    <a:lnTo>
                      <a:pt x="2829" y="1066"/>
                    </a:lnTo>
                    <a:lnTo>
                      <a:pt x="2835" y="1054"/>
                    </a:lnTo>
                    <a:lnTo>
                      <a:pt x="2840" y="1039"/>
                    </a:lnTo>
                    <a:lnTo>
                      <a:pt x="2847" y="1020"/>
                    </a:lnTo>
                    <a:lnTo>
                      <a:pt x="2854" y="998"/>
                    </a:lnTo>
                    <a:lnTo>
                      <a:pt x="2858" y="972"/>
                    </a:lnTo>
                    <a:lnTo>
                      <a:pt x="2860" y="959"/>
                    </a:lnTo>
                    <a:lnTo>
                      <a:pt x="2861" y="944"/>
                    </a:lnTo>
                    <a:lnTo>
                      <a:pt x="2861" y="929"/>
                    </a:lnTo>
                    <a:lnTo>
                      <a:pt x="2861" y="914"/>
                    </a:lnTo>
                    <a:lnTo>
                      <a:pt x="2860" y="897"/>
                    </a:lnTo>
                    <a:lnTo>
                      <a:pt x="2858" y="881"/>
                    </a:lnTo>
                    <a:lnTo>
                      <a:pt x="2856" y="863"/>
                    </a:lnTo>
                    <a:lnTo>
                      <a:pt x="2851" y="845"/>
                    </a:lnTo>
                    <a:lnTo>
                      <a:pt x="2846" y="828"/>
                    </a:lnTo>
                    <a:lnTo>
                      <a:pt x="2839" y="809"/>
                    </a:lnTo>
                    <a:lnTo>
                      <a:pt x="2832" y="791"/>
                    </a:lnTo>
                    <a:lnTo>
                      <a:pt x="2822" y="772"/>
                    </a:lnTo>
                    <a:lnTo>
                      <a:pt x="2811" y="752"/>
                    </a:lnTo>
                    <a:lnTo>
                      <a:pt x="2799" y="733"/>
                    </a:lnTo>
                    <a:lnTo>
                      <a:pt x="2784" y="714"/>
                    </a:lnTo>
                    <a:lnTo>
                      <a:pt x="2768" y="694"/>
                    </a:lnTo>
                    <a:lnTo>
                      <a:pt x="2749" y="674"/>
                    </a:lnTo>
                    <a:lnTo>
                      <a:pt x="2729" y="654"/>
                    </a:lnTo>
                    <a:lnTo>
                      <a:pt x="2707" y="634"/>
                    </a:lnTo>
                    <a:lnTo>
                      <a:pt x="2683" y="615"/>
                    </a:lnTo>
                    <a:lnTo>
                      <a:pt x="2657" y="596"/>
                    </a:lnTo>
                    <a:lnTo>
                      <a:pt x="2627" y="576"/>
                    </a:lnTo>
                    <a:lnTo>
                      <a:pt x="2627" y="576"/>
                    </a:lnTo>
                    <a:lnTo>
                      <a:pt x="2596" y="557"/>
                    </a:lnTo>
                    <a:lnTo>
                      <a:pt x="2562" y="540"/>
                    </a:lnTo>
                    <a:lnTo>
                      <a:pt x="2525" y="522"/>
                    </a:lnTo>
                    <a:lnTo>
                      <a:pt x="2486" y="507"/>
                    </a:lnTo>
                    <a:lnTo>
                      <a:pt x="2446" y="492"/>
                    </a:lnTo>
                    <a:lnTo>
                      <a:pt x="2404" y="478"/>
                    </a:lnTo>
                    <a:lnTo>
                      <a:pt x="2360" y="465"/>
                    </a:lnTo>
                    <a:lnTo>
                      <a:pt x="2315" y="453"/>
                    </a:lnTo>
                    <a:lnTo>
                      <a:pt x="2269" y="441"/>
                    </a:lnTo>
                    <a:lnTo>
                      <a:pt x="2223" y="431"/>
                    </a:lnTo>
                    <a:lnTo>
                      <a:pt x="2175" y="420"/>
                    </a:lnTo>
                    <a:lnTo>
                      <a:pt x="2127" y="411"/>
                    </a:lnTo>
                    <a:lnTo>
                      <a:pt x="2032" y="394"/>
                    </a:lnTo>
                    <a:lnTo>
                      <a:pt x="1938" y="378"/>
                    </a:lnTo>
                    <a:lnTo>
                      <a:pt x="1847" y="365"/>
                    </a:lnTo>
                    <a:lnTo>
                      <a:pt x="1761" y="352"/>
                    </a:lnTo>
                    <a:lnTo>
                      <a:pt x="1682" y="341"/>
                    </a:lnTo>
                    <a:lnTo>
                      <a:pt x="1611" y="330"/>
                    </a:lnTo>
                    <a:lnTo>
                      <a:pt x="1551" y="319"/>
                    </a:lnTo>
                    <a:lnTo>
                      <a:pt x="1525" y="315"/>
                    </a:lnTo>
                    <a:lnTo>
                      <a:pt x="1503" y="309"/>
                    </a:lnTo>
                    <a:lnTo>
                      <a:pt x="1484" y="304"/>
                    </a:lnTo>
                    <a:lnTo>
                      <a:pt x="1469" y="297"/>
                    </a:lnTo>
                    <a:lnTo>
                      <a:pt x="1456" y="291"/>
                    </a:lnTo>
                    <a:lnTo>
                      <a:pt x="1453" y="288"/>
                    </a:lnTo>
                    <a:lnTo>
                      <a:pt x="1450" y="285"/>
                    </a:lnTo>
                    <a:lnTo>
                      <a:pt x="1450" y="285"/>
                    </a:lnTo>
                    <a:lnTo>
                      <a:pt x="1447" y="279"/>
                    </a:lnTo>
                    <a:lnTo>
                      <a:pt x="1445" y="273"/>
                    </a:lnTo>
                    <a:lnTo>
                      <a:pt x="1447" y="266"/>
                    </a:lnTo>
                    <a:lnTo>
                      <a:pt x="1451" y="261"/>
                    </a:lnTo>
                    <a:lnTo>
                      <a:pt x="1458" y="254"/>
                    </a:lnTo>
                    <a:lnTo>
                      <a:pt x="1466" y="249"/>
                    </a:lnTo>
                    <a:lnTo>
                      <a:pt x="1476" y="243"/>
                    </a:lnTo>
                    <a:lnTo>
                      <a:pt x="1488" y="238"/>
                    </a:lnTo>
                    <a:lnTo>
                      <a:pt x="1517" y="227"/>
                    </a:lnTo>
                    <a:lnTo>
                      <a:pt x="1551" y="216"/>
                    </a:lnTo>
                    <a:lnTo>
                      <a:pt x="1587" y="206"/>
                    </a:lnTo>
                    <a:lnTo>
                      <a:pt x="1627" y="196"/>
                    </a:lnTo>
                    <a:lnTo>
                      <a:pt x="1708" y="177"/>
                    </a:lnTo>
                    <a:lnTo>
                      <a:pt x="1782" y="160"/>
                    </a:lnTo>
                    <a:lnTo>
                      <a:pt x="1814" y="152"/>
                    </a:lnTo>
                    <a:lnTo>
                      <a:pt x="1839" y="143"/>
                    </a:lnTo>
                    <a:lnTo>
                      <a:pt x="1849" y="140"/>
                    </a:lnTo>
                    <a:lnTo>
                      <a:pt x="1858" y="135"/>
                    </a:lnTo>
                    <a:lnTo>
                      <a:pt x="1863" y="132"/>
                    </a:lnTo>
                    <a:lnTo>
                      <a:pt x="1868" y="128"/>
                    </a:lnTo>
                    <a:lnTo>
                      <a:pt x="1868" y="128"/>
                    </a:lnTo>
                    <a:lnTo>
                      <a:pt x="1869" y="124"/>
                    </a:lnTo>
                    <a:lnTo>
                      <a:pt x="1868" y="121"/>
                    </a:lnTo>
                    <a:lnTo>
                      <a:pt x="1864" y="118"/>
                    </a:lnTo>
                    <a:lnTo>
                      <a:pt x="1858" y="114"/>
                    </a:lnTo>
                    <a:lnTo>
                      <a:pt x="1849" y="112"/>
                    </a:lnTo>
                    <a:lnTo>
                      <a:pt x="1839" y="109"/>
                    </a:lnTo>
                    <a:lnTo>
                      <a:pt x="1813" y="103"/>
                    </a:lnTo>
                    <a:lnTo>
                      <a:pt x="1780" y="99"/>
                    </a:lnTo>
                    <a:lnTo>
                      <a:pt x="1742" y="95"/>
                    </a:lnTo>
                    <a:lnTo>
                      <a:pt x="1659" y="86"/>
                    </a:lnTo>
                    <a:lnTo>
                      <a:pt x="1492" y="74"/>
                    </a:lnTo>
                    <a:lnTo>
                      <a:pt x="1431" y="68"/>
                    </a:lnTo>
                    <a:lnTo>
                      <a:pt x="1411" y="66"/>
                    </a:lnTo>
                    <a:lnTo>
                      <a:pt x="1399" y="63"/>
                    </a:lnTo>
                    <a:lnTo>
                      <a:pt x="1399" y="63"/>
                    </a:lnTo>
                    <a:lnTo>
                      <a:pt x="1395" y="61"/>
                    </a:lnTo>
                    <a:lnTo>
                      <a:pt x="1394" y="60"/>
                    </a:lnTo>
                    <a:lnTo>
                      <a:pt x="1393" y="58"/>
                    </a:lnTo>
                    <a:lnTo>
                      <a:pt x="1395" y="55"/>
                    </a:lnTo>
                    <a:lnTo>
                      <a:pt x="1398" y="53"/>
                    </a:lnTo>
                    <a:lnTo>
                      <a:pt x="1405" y="51"/>
                    </a:lnTo>
                    <a:lnTo>
                      <a:pt x="1414" y="49"/>
                    </a:lnTo>
                    <a:lnTo>
                      <a:pt x="1436" y="44"/>
                    </a:lnTo>
                    <a:lnTo>
                      <a:pt x="1462" y="40"/>
                    </a:lnTo>
                    <a:lnTo>
                      <a:pt x="1492" y="36"/>
                    </a:lnTo>
                    <a:lnTo>
                      <a:pt x="1545" y="31"/>
                    </a:lnTo>
                    <a:lnTo>
                      <a:pt x="1545" y="31"/>
                    </a:lnTo>
                    <a:lnTo>
                      <a:pt x="1584" y="28"/>
                    </a:lnTo>
                    <a:lnTo>
                      <a:pt x="1610" y="24"/>
                    </a:lnTo>
                    <a:lnTo>
                      <a:pt x="1618" y="23"/>
                    </a:lnTo>
                    <a:lnTo>
                      <a:pt x="1624" y="21"/>
                    </a:lnTo>
                    <a:lnTo>
                      <a:pt x="1626" y="19"/>
                    </a:lnTo>
                    <a:lnTo>
                      <a:pt x="1626" y="16"/>
                    </a:lnTo>
                    <a:lnTo>
                      <a:pt x="1626" y="16"/>
                    </a:lnTo>
                    <a:lnTo>
                      <a:pt x="1625" y="14"/>
                    </a:lnTo>
                    <a:lnTo>
                      <a:pt x="1622" y="12"/>
                    </a:lnTo>
                    <a:lnTo>
                      <a:pt x="1613" y="10"/>
                    </a:lnTo>
                    <a:lnTo>
                      <a:pt x="1598" y="7"/>
                    </a:lnTo>
                    <a:lnTo>
                      <a:pt x="1582" y="5"/>
                    </a:lnTo>
                    <a:lnTo>
                      <a:pt x="1544" y="1"/>
                    </a:lnTo>
                    <a:lnTo>
                      <a:pt x="1510" y="0"/>
                    </a:lnTo>
                    <a:lnTo>
                      <a:pt x="1510" y="0"/>
                    </a:lnTo>
                    <a:lnTo>
                      <a:pt x="1498" y="0"/>
                    </a:lnTo>
                    <a:lnTo>
                      <a:pt x="1494" y="1"/>
                    </a:lnTo>
                    <a:lnTo>
                      <a:pt x="1493" y="2"/>
                    </a:lnTo>
                    <a:lnTo>
                      <a:pt x="1493" y="2"/>
                    </a:lnTo>
                    <a:lnTo>
                      <a:pt x="1493" y="2"/>
                    </a:lnTo>
                    <a:lnTo>
                      <a:pt x="1493" y="3"/>
                    </a:lnTo>
                    <a:lnTo>
                      <a:pt x="1497" y="3"/>
                    </a:lnTo>
                    <a:lnTo>
                      <a:pt x="1510" y="6"/>
                    </a:lnTo>
                    <a:lnTo>
                      <a:pt x="1527" y="7"/>
                    </a:lnTo>
                    <a:lnTo>
                      <a:pt x="1541" y="9"/>
                    </a:lnTo>
                    <a:lnTo>
                      <a:pt x="1544" y="10"/>
                    </a:lnTo>
                    <a:lnTo>
                      <a:pt x="1547" y="11"/>
                    </a:lnTo>
                    <a:lnTo>
                      <a:pt x="1543" y="12"/>
                    </a:lnTo>
                    <a:lnTo>
                      <a:pt x="1537" y="14"/>
                    </a:lnTo>
                    <a:lnTo>
                      <a:pt x="1508" y="19"/>
                    </a:lnTo>
                    <a:lnTo>
                      <a:pt x="1453" y="24"/>
                    </a:lnTo>
                    <a:lnTo>
                      <a:pt x="1453" y="24"/>
                    </a:lnTo>
                    <a:lnTo>
                      <a:pt x="1389" y="30"/>
                    </a:lnTo>
                    <a:lnTo>
                      <a:pt x="1337" y="36"/>
                    </a:lnTo>
                    <a:lnTo>
                      <a:pt x="1296" y="41"/>
                    </a:lnTo>
                    <a:lnTo>
                      <a:pt x="1265" y="46"/>
                    </a:lnTo>
                    <a:lnTo>
                      <a:pt x="1245" y="52"/>
                    </a:lnTo>
                    <a:lnTo>
                      <a:pt x="1240" y="54"/>
                    </a:lnTo>
                    <a:lnTo>
                      <a:pt x="1237" y="56"/>
                    </a:lnTo>
                    <a:lnTo>
                      <a:pt x="1236" y="60"/>
                    </a:lnTo>
                    <a:lnTo>
                      <a:pt x="1238" y="62"/>
                    </a:lnTo>
                    <a:lnTo>
                      <a:pt x="1242" y="65"/>
                    </a:lnTo>
                    <a:lnTo>
                      <a:pt x="1249" y="67"/>
                    </a:lnTo>
                    <a:lnTo>
                      <a:pt x="1249" y="67"/>
                    </a:lnTo>
                    <a:lnTo>
                      <a:pt x="1259" y="71"/>
                    </a:lnTo>
                    <a:lnTo>
                      <a:pt x="1275" y="73"/>
                    </a:lnTo>
                    <a:lnTo>
                      <a:pt x="1321" y="77"/>
                    </a:lnTo>
                    <a:lnTo>
                      <a:pt x="1381" y="83"/>
                    </a:lnTo>
                    <a:lnTo>
                      <a:pt x="1445" y="87"/>
                    </a:lnTo>
                    <a:lnTo>
                      <a:pt x="1511" y="93"/>
                    </a:lnTo>
                    <a:lnTo>
                      <a:pt x="1571" y="97"/>
                    </a:lnTo>
                    <a:lnTo>
                      <a:pt x="1619" y="102"/>
                    </a:lnTo>
                    <a:lnTo>
                      <a:pt x="1637" y="106"/>
                    </a:lnTo>
                    <a:lnTo>
                      <a:pt x="1650" y="109"/>
                    </a:lnTo>
                    <a:lnTo>
                      <a:pt x="1650" y="109"/>
                    </a:lnTo>
                    <a:lnTo>
                      <a:pt x="1655" y="112"/>
                    </a:lnTo>
                    <a:lnTo>
                      <a:pt x="1656" y="113"/>
                    </a:lnTo>
                    <a:lnTo>
                      <a:pt x="1658" y="114"/>
                    </a:lnTo>
                    <a:lnTo>
                      <a:pt x="1658" y="114"/>
                    </a:lnTo>
                    <a:lnTo>
                      <a:pt x="1656" y="117"/>
                    </a:lnTo>
                    <a:lnTo>
                      <a:pt x="1655" y="119"/>
                    </a:lnTo>
                    <a:lnTo>
                      <a:pt x="1649" y="122"/>
                    </a:lnTo>
                    <a:lnTo>
                      <a:pt x="1640" y="125"/>
                    </a:lnTo>
                    <a:lnTo>
                      <a:pt x="1629" y="130"/>
                    </a:lnTo>
                    <a:lnTo>
                      <a:pt x="1598" y="136"/>
                    </a:lnTo>
                    <a:lnTo>
                      <a:pt x="1562" y="144"/>
                    </a:lnTo>
                    <a:lnTo>
                      <a:pt x="1482" y="158"/>
                    </a:lnTo>
                    <a:lnTo>
                      <a:pt x="1410" y="169"/>
                    </a:lnTo>
                    <a:lnTo>
                      <a:pt x="1410" y="169"/>
                    </a:lnTo>
                    <a:lnTo>
                      <a:pt x="1363" y="178"/>
                    </a:lnTo>
                    <a:lnTo>
                      <a:pt x="1318" y="188"/>
                    </a:lnTo>
                    <a:lnTo>
                      <a:pt x="1275" y="198"/>
                    </a:lnTo>
                    <a:lnTo>
                      <a:pt x="1237" y="209"/>
                    </a:lnTo>
                    <a:lnTo>
                      <a:pt x="1201" y="220"/>
                    </a:lnTo>
                    <a:lnTo>
                      <a:pt x="1185" y="227"/>
                    </a:lnTo>
                    <a:lnTo>
                      <a:pt x="1171" y="233"/>
                    </a:lnTo>
                    <a:lnTo>
                      <a:pt x="1156" y="241"/>
                    </a:lnTo>
                    <a:lnTo>
                      <a:pt x="1144" y="249"/>
                    </a:lnTo>
                    <a:lnTo>
                      <a:pt x="1134" y="256"/>
                    </a:lnTo>
                    <a:lnTo>
                      <a:pt x="1124" y="264"/>
                    </a:lnTo>
                    <a:lnTo>
                      <a:pt x="1124" y="264"/>
                    </a:lnTo>
                    <a:lnTo>
                      <a:pt x="1119" y="271"/>
                    </a:lnTo>
                    <a:lnTo>
                      <a:pt x="1116" y="276"/>
                    </a:lnTo>
                    <a:lnTo>
                      <a:pt x="1112" y="284"/>
                    </a:lnTo>
                    <a:lnTo>
                      <a:pt x="1111" y="291"/>
                    </a:lnTo>
                    <a:lnTo>
                      <a:pt x="1111" y="297"/>
                    </a:lnTo>
                    <a:lnTo>
                      <a:pt x="1111" y="301"/>
                    </a:lnTo>
                    <a:lnTo>
                      <a:pt x="1113" y="307"/>
                    </a:lnTo>
                    <a:lnTo>
                      <a:pt x="1116" y="312"/>
                    </a:lnTo>
                    <a:lnTo>
                      <a:pt x="1119" y="318"/>
                    </a:lnTo>
                    <a:lnTo>
                      <a:pt x="1123" y="324"/>
                    </a:lnTo>
                    <a:lnTo>
                      <a:pt x="1129" y="330"/>
                    </a:lnTo>
                    <a:lnTo>
                      <a:pt x="1137" y="337"/>
                    </a:lnTo>
                    <a:lnTo>
                      <a:pt x="1144" y="343"/>
                    </a:lnTo>
                    <a:lnTo>
                      <a:pt x="1154" y="350"/>
                    </a:lnTo>
                    <a:lnTo>
                      <a:pt x="1166" y="356"/>
                    </a:lnTo>
                    <a:lnTo>
                      <a:pt x="1179" y="363"/>
                    </a:lnTo>
                    <a:lnTo>
                      <a:pt x="1195" y="371"/>
                    </a:lnTo>
                    <a:lnTo>
                      <a:pt x="1212" y="377"/>
                    </a:lnTo>
                    <a:lnTo>
                      <a:pt x="1232" y="384"/>
                    </a:lnTo>
                    <a:lnTo>
                      <a:pt x="1254" y="391"/>
                    </a:lnTo>
                    <a:lnTo>
                      <a:pt x="1277" y="398"/>
                    </a:lnTo>
                    <a:lnTo>
                      <a:pt x="1304" y="406"/>
                    </a:lnTo>
                    <a:lnTo>
                      <a:pt x="1333" y="412"/>
                    </a:lnTo>
                    <a:lnTo>
                      <a:pt x="1365" y="419"/>
                    </a:lnTo>
                    <a:lnTo>
                      <a:pt x="1437" y="433"/>
                    </a:lnTo>
                    <a:lnTo>
                      <a:pt x="1437" y="433"/>
                    </a:ln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normAutofit/>
              </a:bodyPr>
              <a:lstStyle/>
              <a:p>
                <a:endParaRPr lang="en-US"/>
              </a:p>
            </p:txBody>
          </p:sp>
          <p:sp>
            <p:nvSpPr>
              <p:cNvPr id="55" name="ïśļiḓé">
                <a:extLst>
                  <a:ext uri="{FF2B5EF4-FFF2-40B4-BE49-F238E27FC236}">
                    <a16:creationId xmlns:a16="http://schemas.microsoft.com/office/drawing/2014/main" id="{1BB53DA0-1E2C-4A8D-90AF-B0F6F3F6FA69}"/>
                  </a:ext>
                </a:extLst>
              </p:cNvPr>
              <p:cNvSpPr/>
              <p:nvPr/>
            </p:nvSpPr>
            <p:spPr bwMode="auto">
              <a:xfrm>
                <a:off x="3899693" y="2428874"/>
                <a:ext cx="3375025" cy="3717925"/>
              </a:xfrm>
              <a:custGeom>
                <a:avLst/>
                <a:gdLst>
                  <a:gd name="T0" fmla="*/ 338 w 2126"/>
                  <a:gd name="T1" fmla="*/ 2178 h 2342"/>
                  <a:gd name="T2" fmla="*/ 960 w 2126"/>
                  <a:gd name="T3" fmla="*/ 1742 h 2342"/>
                  <a:gd name="T4" fmla="*/ 1561 w 2126"/>
                  <a:gd name="T5" fmla="*/ 1329 h 2342"/>
                  <a:gd name="T6" fmla="*/ 1855 w 2126"/>
                  <a:gd name="T7" fmla="*/ 1100 h 2342"/>
                  <a:gd name="T8" fmla="*/ 1994 w 2126"/>
                  <a:gd name="T9" fmla="*/ 976 h 2342"/>
                  <a:gd name="T10" fmla="*/ 2094 w 2126"/>
                  <a:gd name="T11" fmla="*/ 853 h 2342"/>
                  <a:gd name="T12" fmla="*/ 2118 w 2126"/>
                  <a:gd name="T13" fmla="*/ 799 h 2342"/>
                  <a:gd name="T14" fmla="*/ 2124 w 2126"/>
                  <a:gd name="T15" fmla="*/ 718 h 2342"/>
                  <a:gd name="T16" fmla="*/ 2099 w 2126"/>
                  <a:gd name="T17" fmla="*/ 645 h 2342"/>
                  <a:gd name="T18" fmla="*/ 2047 w 2126"/>
                  <a:gd name="T19" fmla="*/ 582 h 2342"/>
                  <a:gd name="T20" fmla="*/ 1982 w 2126"/>
                  <a:gd name="T21" fmla="*/ 538 h 2342"/>
                  <a:gd name="T22" fmla="*/ 1890 w 2126"/>
                  <a:gd name="T23" fmla="*/ 499 h 2342"/>
                  <a:gd name="T24" fmla="*/ 1739 w 2126"/>
                  <a:gd name="T25" fmla="*/ 452 h 2342"/>
                  <a:gd name="T26" fmla="*/ 1430 w 2126"/>
                  <a:gd name="T27" fmla="*/ 389 h 2342"/>
                  <a:gd name="T28" fmla="*/ 1236 w 2126"/>
                  <a:gd name="T29" fmla="*/ 348 h 2342"/>
                  <a:gd name="T30" fmla="*/ 1135 w 2126"/>
                  <a:gd name="T31" fmla="*/ 310 h 2342"/>
                  <a:gd name="T32" fmla="*/ 1092 w 2126"/>
                  <a:gd name="T33" fmla="*/ 281 h 2342"/>
                  <a:gd name="T34" fmla="*/ 1079 w 2126"/>
                  <a:gd name="T35" fmla="*/ 253 h 2342"/>
                  <a:gd name="T36" fmla="*/ 1097 w 2126"/>
                  <a:gd name="T37" fmla="*/ 226 h 2342"/>
                  <a:gd name="T38" fmla="*/ 1160 w 2126"/>
                  <a:gd name="T39" fmla="*/ 194 h 2342"/>
                  <a:gd name="T40" fmla="*/ 1300 w 2126"/>
                  <a:gd name="T41" fmla="*/ 153 h 2342"/>
                  <a:gd name="T42" fmla="*/ 1552 w 2126"/>
                  <a:gd name="T43" fmla="*/ 105 h 2342"/>
                  <a:gd name="T44" fmla="*/ 1607 w 2126"/>
                  <a:gd name="T45" fmla="*/ 89 h 2342"/>
                  <a:gd name="T46" fmla="*/ 1612 w 2126"/>
                  <a:gd name="T47" fmla="*/ 71 h 2342"/>
                  <a:gd name="T48" fmla="*/ 1551 w 2126"/>
                  <a:gd name="T49" fmla="*/ 58 h 2342"/>
                  <a:gd name="T50" fmla="*/ 1345 w 2126"/>
                  <a:gd name="T51" fmla="*/ 44 h 2342"/>
                  <a:gd name="T52" fmla="*/ 1208 w 2126"/>
                  <a:gd name="T53" fmla="*/ 29 h 2342"/>
                  <a:gd name="T54" fmla="*/ 1195 w 2126"/>
                  <a:gd name="T55" fmla="*/ 16 h 2342"/>
                  <a:gd name="T56" fmla="*/ 1241 w 2126"/>
                  <a:gd name="T57" fmla="*/ 5 h 2342"/>
                  <a:gd name="T58" fmla="*/ 1241 w 2126"/>
                  <a:gd name="T59" fmla="*/ 5 h 2342"/>
                  <a:gd name="T60" fmla="*/ 1194 w 2126"/>
                  <a:gd name="T61" fmla="*/ 16 h 2342"/>
                  <a:gd name="T62" fmla="*/ 1201 w 2126"/>
                  <a:gd name="T63" fmla="*/ 28 h 2342"/>
                  <a:gd name="T64" fmla="*/ 1275 w 2126"/>
                  <a:gd name="T65" fmla="*/ 39 h 2342"/>
                  <a:gd name="T66" fmla="*/ 1502 w 2126"/>
                  <a:gd name="T67" fmla="*/ 57 h 2342"/>
                  <a:gd name="T68" fmla="*/ 1604 w 2126"/>
                  <a:gd name="T69" fmla="*/ 71 h 2342"/>
                  <a:gd name="T70" fmla="*/ 1608 w 2126"/>
                  <a:gd name="T71" fmla="*/ 82 h 2342"/>
                  <a:gd name="T72" fmla="*/ 1579 w 2126"/>
                  <a:gd name="T73" fmla="*/ 94 h 2342"/>
                  <a:gd name="T74" fmla="*/ 1330 w 2126"/>
                  <a:gd name="T75" fmla="*/ 140 h 2342"/>
                  <a:gd name="T76" fmla="*/ 1195 w 2126"/>
                  <a:gd name="T77" fmla="*/ 172 h 2342"/>
                  <a:gd name="T78" fmla="*/ 1103 w 2126"/>
                  <a:gd name="T79" fmla="*/ 209 h 2342"/>
                  <a:gd name="T80" fmla="*/ 1070 w 2126"/>
                  <a:gd name="T81" fmla="*/ 244 h 2342"/>
                  <a:gd name="T82" fmla="*/ 1073 w 2126"/>
                  <a:gd name="T83" fmla="*/ 274 h 2342"/>
                  <a:gd name="T84" fmla="*/ 1103 w 2126"/>
                  <a:gd name="T85" fmla="*/ 303 h 2342"/>
                  <a:gd name="T86" fmla="*/ 1198 w 2126"/>
                  <a:gd name="T87" fmla="*/ 348 h 2342"/>
                  <a:gd name="T88" fmla="*/ 1335 w 2126"/>
                  <a:gd name="T89" fmla="*/ 381 h 2342"/>
                  <a:gd name="T90" fmla="*/ 1575 w 2126"/>
                  <a:gd name="T91" fmla="*/ 428 h 2342"/>
                  <a:gd name="T92" fmla="*/ 1735 w 2126"/>
                  <a:gd name="T93" fmla="*/ 469 h 2342"/>
                  <a:gd name="T94" fmla="*/ 1881 w 2126"/>
                  <a:gd name="T95" fmla="*/ 523 h 2342"/>
                  <a:gd name="T96" fmla="*/ 1999 w 2126"/>
                  <a:gd name="T97" fmla="*/ 585 h 2342"/>
                  <a:gd name="T98" fmla="*/ 2041 w 2126"/>
                  <a:gd name="T99" fmla="*/ 626 h 2342"/>
                  <a:gd name="T100" fmla="*/ 2076 w 2126"/>
                  <a:gd name="T101" fmla="*/ 683 h 2342"/>
                  <a:gd name="T102" fmla="*/ 2085 w 2126"/>
                  <a:gd name="T103" fmla="*/ 747 h 2342"/>
                  <a:gd name="T104" fmla="*/ 2073 w 2126"/>
                  <a:gd name="T105" fmla="*/ 798 h 2342"/>
                  <a:gd name="T106" fmla="*/ 2021 w 2126"/>
                  <a:gd name="T107" fmla="*/ 881 h 2342"/>
                  <a:gd name="T108" fmla="*/ 1916 w 2126"/>
                  <a:gd name="T109" fmla="*/ 991 h 2342"/>
                  <a:gd name="T110" fmla="*/ 1706 w 2126"/>
                  <a:gd name="T111" fmla="*/ 1167 h 2342"/>
                  <a:gd name="T112" fmla="*/ 1230 w 2126"/>
                  <a:gd name="T113" fmla="*/ 1500 h 2342"/>
                  <a:gd name="T114" fmla="*/ 423 w 2126"/>
                  <a:gd name="T115" fmla="*/ 2045 h 2342"/>
                  <a:gd name="T116" fmla="*/ 0 w 2126"/>
                  <a:gd name="T117" fmla="*/ 2342 h 2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6" h="2342">
                    <a:moveTo>
                      <a:pt x="112" y="2342"/>
                    </a:moveTo>
                    <a:lnTo>
                      <a:pt x="112" y="2342"/>
                    </a:lnTo>
                    <a:lnTo>
                      <a:pt x="190" y="2285"/>
                    </a:lnTo>
                    <a:lnTo>
                      <a:pt x="190" y="2285"/>
                    </a:lnTo>
                    <a:lnTo>
                      <a:pt x="338" y="2178"/>
                    </a:lnTo>
                    <a:lnTo>
                      <a:pt x="455" y="2095"/>
                    </a:lnTo>
                    <a:lnTo>
                      <a:pt x="569" y="2014"/>
                    </a:lnTo>
                    <a:lnTo>
                      <a:pt x="703" y="1922"/>
                    </a:lnTo>
                    <a:lnTo>
                      <a:pt x="960" y="1742"/>
                    </a:lnTo>
                    <a:lnTo>
                      <a:pt x="960" y="1742"/>
                    </a:lnTo>
                    <a:lnTo>
                      <a:pt x="1156" y="1607"/>
                    </a:lnTo>
                    <a:lnTo>
                      <a:pt x="1294" y="1512"/>
                    </a:lnTo>
                    <a:lnTo>
                      <a:pt x="1455" y="1403"/>
                    </a:lnTo>
                    <a:lnTo>
                      <a:pt x="1507" y="1367"/>
                    </a:lnTo>
                    <a:lnTo>
                      <a:pt x="1561" y="1329"/>
                    </a:lnTo>
                    <a:lnTo>
                      <a:pt x="1630" y="1276"/>
                    </a:lnTo>
                    <a:lnTo>
                      <a:pt x="1732" y="1199"/>
                    </a:lnTo>
                    <a:lnTo>
                      <a:pt x="1732" y="1199"/>
                    </a:lnTo>
                    <a:lnTo>
                      <a:pt x="1792" y="1150"/>
                    </a:lnTo>
                    <a:lnTo>
                      <a:pt x="1855" y="1100"/>
                    </a:lnTo>
                    <a:lnTo>
                      <a:pt x="1916" y="1048"/>
                    </a:lnTo>
                    <a:lnTo>
                      <a:pt x="1946" y="1022"/>
                    </a:lnTo>
                    <a:lnTo>
                      <a:pt x="1973" y="995"/>
                    </a:lnTo>
                    <a:lnTo>
                      <a:pt x="1973" y="995"/>
                    </a:lnTo>
                    <a:lnTo>
                      <a:pt x="1994" y="976"/>
                    </a:lnTo>
                    <a:lnTo>
                      <a:pt x="2016" y="953"/>
                    </a:lnTo>
                    <a:lnTo>
                      <a:pt x="2038" y="929"/>
                    </a:lnTo>
                    <a:lnTo>
                      <a:pt x="2059" y="904"/>
                    </a:lnTo>
                    <a:lnTo>
                      <a:pt x="2078" y="879"/>
                    </a:lnTo>
                    <a:lnTo>
                      <a:pt x="2094" y="853"/>
                    </a:lnTo>
                    <a:lnTo>
                      <a:pt x="2102" y="839"/>
                    </a:lnTo>
                    <a:lnTo>
                      <a:pt x="2109" y="825"/>
                    </a:lnTo>
                    <a:lnTo>
                      <a:pt x="2114" y="812"/>
                    </a:lnTo>
                    <a:lnTo>
                      <a:pt x="2118" y="799"/>
                    </a:lnTo>
                    <a:lnTo>
                      <a:pt x="2118" y="799"/>
                    </a:lnTo>
                    <a:lnTo>
                      <a:pt x="2123" y="782"/>
                    </a:lnTo>
                    <a:lnTo>
                      <a:pt x="2125" y="767"/>
                    </a:lnTo>
                    <a:lnTo>
                      <a:pt x="2126" y="750"/>
                    </a:lnTo>
                    <a:lnTo>
                      <a:pt x="2126" y="734"/>
                    </a:lnTo>
                    <a:lnTo>
                      <a:pt x="2124" y="718"/>
                    </a:lnTo>
                    <a:lnTo>
                      <a:pt x="2122" y="703"/>
                    </a:lnTo>
                    <a:lnTo>
                      <a:pt x="2117" y="688"/>
                    </a:lnTo>
                    <a:lnTo>
                      <a:pt x="2113" y="673"/>
                    </a:lnTo>
                    <a:lnTo>
                      <a:pt x="2106" y="659"/>
                    </a:lnTo>
                    <a:lnTo>
                      <a:pt x="2099" y="645"/>
                    </a:lnTo>
                    <a:lnTo>
                      <a:pt x="2090" y="630"/>
                    </a:lnTo>
                    <a:lnTo>
                      <a:pt x="2081" y="617"/>
                    </a:lnTo>
                    <a:lnTo>
                      <a:pt x="2070" y="605"/>
                    </a:lnTo>
                    <a:lnTo>
                      <a:pt x="2059" y="593"/>
                    </a:lnTo>
                    <a:lnTo>
                      <a:pt x="2047" y="582"/>
                    </a:lnTo>
                    <a:lnTo>
                      <a:pt x="2034" y="571"/>
                    </a:lnTo>
                    <a:lnTo>
                      <a:pt x="2034" y="571"/>
                    </a:lnTo>
                    <a:lnTo>
                      <a:pt x="2017" y="559"/>
                    </a:lnTo>
                    <a:lnTo>
                      <a:pt x="2000" y="548"/>
                    </a:lnTo>
                    <a:lnTo>
                      <a:pt x="1982" y="538"/>
                    </a:lnTo>
                    <a:lnTo>
                      <a:pt x="1963" y="529"/>
                    </a:lnTo>
                    <a:lnTo>
                      <a:pt x="1946" y="521"/>
                    </a:lnTo>
                    <a:lnTo>
                      <a:pt x="1927" y="513"/>
                    </a:lnTo>
                    <a:lnTo>
                      <a:pt x="1890" y="499"/>
                    </a:lnTo>
                    <a:lnTo>
                      <a:pt x="1890" y="499"/>
                    </a:lnTo>
                    <a:lnTo>
                      <a:pt x="1862" y="489"/>
                    </a:lnTo>
                    <a:lnTo>
                      <a:pt x="1829" y="478"/>
                    </a:lnTo>
                    <a:lnTo>
                      <a:pt x="1790" y="466"/>
                    </a:lnTo>
                    <a:lnTo>
                      <a:pt x="1739" y="452"/>
                    </a:lnTo>
                    <a:lnTo>
                      <a:pt x="1739" y="452"/>
                    </a:lnTo>
                    <a:lnTo>
                      <a:pt x="1646" y="430"/>
                    </a:lnTo>
                    <a:lnTo>
                      <a:pt x="1574" y="415"/>
                    </a:lnTo>
                    <a:lnTo>
                      <a:pt x="1507" y="402"/>
                    </a:lnTo>
                    <a:lnTo>
                      <a:pt x="1430" y="389"/>
                    </a:lnTo>
                    <a:lnTo>
                      <a:pt x="1430" y="389"/>
                    </a:lnTo>
                    <a:lnTo>
                      <a:pt x="1391" y="382"/>
                    </a:lnTo>
                    <a:lnTo>
                      <a:pt x="1336" y="371"/>
                    </a:lnTo>
                    <a:lnTo>
                      <a:pt x="1304" y="364"/>
                    </a:lnTo>
                    <a:lnTo>
                      <a:pt x="1271" y="357"/>
                    </a:lnTo>
                    <a:lnTo>
                      <a:pt x="1236" y="348"/>
                    </a:lnTo>
                    <a:lnTo>
                      <a:pt x="1202" y="337"/>
                    </a:lnTo>
                    <a:lnTo>
                      <a:pt x="1202" y="337"/>
                    </a:lnTo>
                    <a:lnTo>
                      <a:pt x="1175" y="328"/>
                    </a:lnTo>
                    <a:lnTo>
                      <a:pt x="1148" y="316"/>
                    </a:lnTo>
                    <a:lnTo>
                      <a:pt x="1135" y="310"/>
                    </a:lnTo>
                    <a:lnTo>
                      <a:pt x="1121" y="302"/>
                    </a:lnTo>
                    <a:lnTo>
                      <a:pt x="1109" y="294"/>
                    </a:lnTo>
                    <a:lnTo>
                      <a:pt x="1098" y="286"/>
                    </a:lnTo>
                    <a:lnTo>
                      <a:pt x="1098" y="286"/>
                    </a:lnTo>
                    <a:lnTo>
                      <a:pt x="1092" y="281"/>
                    </a:lnTo>
                    <a:lnTo>
                      <a:pt x="1087" y="275"/>
                    </a:lnTo>
                    <a:lnTo>
                      <a:pt x="1083" y="270"/>
                    </a:lnTo>
                    <a:lnTo>
                      <a:pt x="1081" y="264"/>
                    </a:lnTo>
                    <a:lnTo>
                      <a:pt x="1079" y="259"/>
                    </a:lnTo>
                    <a:lnTo>
                      <a:pt x="1079" y="253"/>
                    </a:lnTo>
                    <a:lnTo>
                      <a:pt x="1080" y="249"/>
                    </a:lnTo>
                    <a:lnTo>
                      <a:pt x="1081" y="245"/>
                    </a:lnTo>
                    <a:lnTo>
                      <a:pt x="1084" y="239"/>
                    </a:lnTo>
                    <a:lnTo>
                      <a:pt x="1087" y="235"/>
                    </a:lnTo>
                    <a:lnTo>
                      <a:pt x="1097" y="226"/>
                    </a:lnTo>
                    <a:lnTo>
                      <a:pt x="1110" y="217"/>
                    </a:lnTo>
                    <a:lnTo>
                      <a:pt x="1126" y="208"/>
                    </a:lnTo>
                    <a:lnTo>
                      <a:pt x="1126" y="208"/>
                    </a:lnTo>
                    <a:lnTo>
                      <a:pt x="1141" y="202"/>
                    </a:lnTo>
                    <a:lnTo>
                      <a:pt x="1160" y="194"/>
                    </a:lnTo>
                    <a:lnTo>
                      <a:pt x="1198" y="181"/>
                    </a:lnTo>
                    <a:lnTo>
                      <a:pt x="1238" y="169"/>
                    </a:lnTo>
                    <a:lnTo>
                      <a:pt x="1273" y="160"/>
                    </a:lnTo>
                    <a:lnTo>
                      <a:pt x="1273" y="160"/>
                    </a:lnTo>
                    <a:lnTo>
                      <a:pt x="1300" y="153"/>
                    </a:lnTo>
                    <a:lnTo>
                      <a:pt x="1330" y="148"/>
                    </a:lnTo>
                    <a:lnTo>
                      <a:pt x="1427" y="129"/>
                    </a:lnTo>
                    <a:lnTo>
                      <a:pt x="1504" y="115"/>
                    </a:lnTo>
                    <a:lnTo>
                      <a:pt x="1504" y="115"/>
                    </a:lnTo>
                    <a:lnTo>
                      <a:pt x="1552" y="105"/>
                    </a:lnTo>
                    <a:lnTo>
                      <a:pt x="1580" y="98"/>
                    </a:lnTo>
                    <a:lnTo>
                      <a:pt x="1592" y="95"/>
                    </a:lnTo>
                    <a:lnTo>
                      <a:pt x="1601" y="92"/>
                    </a:lnTo>
                    <a:lnTo>
                      <a:pt x="1601" y="92"/>
                    </a:lnTo>
                    <a:lnTo>
                      <a:pt x="1607" y="89"/>
                    </a:lnTo>
                    <a:lnTo>
                      <a:pt x="1612" y="84"/>
                    </a:lnTo>
                    <a:lnTo>
                      <a:pt x="1615" y="81"/>
                    </a:lnTo>
                    <a:lnTo>
                      <a:pt x="1616" y="78"/>
                    </a:lnTo>
                    <a:lnTo>
                      <a:pt x="1615" y="74"/>
                    </a:lnTo>
                    <a:lnTo>
                      <a:pt x="1612" y="71"/>
                    </a:lnTo>
                    <a:lnTo>
                      <a:pt x="1607" y="68"/>
                    </a:lnTo>
                    <a:lnTo>
                      <a:pt x="1600" y="65"/>
                    </a:lnTo>
                    <a:lnTo>
                      <a:pt x="1600" y="65"/>
                    </a:lnTo>
                    <a:lnTo>
                      <a:pt x="1579" y="61"/>
                    </a:lnTo>
                    <a:lnTo>
                      <a:pt x="1551" y="58"/>
                    </a:lnTo>
                    <a:lnTo>
                      <a:pt x="1502" y="53"/>
                    </a:lnTo>
                    <a:lnTo>
                      <a:pt x="1502" y="53"/>
                    </a:lnTo>
                    <a:lnTo>
                      <a:pt x="1424" y="48"/>
                    </a:lnTo>
                    <a:lnTo>
                      <a:pt x="1345" y="44"/>
                    </a:lnTo>
                    <a:lnTo>
                      <a:pt x="1345" y="44"/>
                    </a:lnTo>
                    <a:lnTo>
                      <a:pt x="1275" y="38"/>
                    </a:lnTo>
                    <a:lnTo>
                      <a:pt x="1237" y="35"/>
                    </a:lnTo>
                    <a:lnTo>
                      <a:pt x="1220" y="33"/>
                    </a:lnTo>
                    <a:lnTo>
                      <a:pt x="1208" y="29"/>
                    </a:lnTo>
                    <a:lnTo>
                      <a:pt x="1208" y="29"/>
                    </a:lnTo>
                    <a:lnTo>
                      <a:pt x="1195" y="25"/>
                    </a:lnTo>
                    <a:lnTo>
                      <a:pt x="1192" y="23"/>
                    </a:lnTo>
                    <a:lnTo>
                      <a:pt x="1191" y="20"/>
                    </a:lnTo>
                    <a:lnTo>
                      <a:pt x="1192" y="18"/>
                    </a:lnTo>
                    <a:lnTo>
                      <a:pt x="1195" y="16"/>
                    </a:lnTo>
                    <a:lnTo>
                      <a:pt x="1201" y="14"/>
                    </a:lnTo>
                    <a:lnTo>
                      <a:pt x="1208" y="12"/>
                    </a:lnTo>
                    <a:lnTo>
                      <a:pt x="1208" y="12"/>
                    </a:lnTo>
                    <a:lnTo>
                      <a:pt x="1224" y="8"/>
                    </a:lnTo>
                    <a:lnTo>
                      <a:pt x="1241" y="5"/>
                    </a:lnTo>
                    <a:lnTo>
                      <a:pt x="1275" y="1"/>
                    </a:lnTo>
                    <a:lnTo>
                      <a:pt x="1286" y="0"/>
                    </a:lnTo>
                    <a:lnTo>
                      <a:pt x="1275" y="1"/>
                    </a:lnTo>
                    <a:lnTo>
                      <a:pt x="1275" y="1"/>
                    </a:lnTo>
                    <a:lnTo>
                      <a:pt x="1241" y="5"/>
                    </a:lnTo>
                    <a:lnTo>
                      <a:pt x="1224" y="8"/>
                    </a:lnTo>
                    <a:lnTo>
                      <a:pt x="1208" y="12"/>
                    </a:lnTo>
                    <a:lnTo>
                      <a:pt x="1208" y="12"/>
                    </a:lnTo>
                    <a:lnTo>
                      <a:pt x="1201" y="14"/>
                    </a:lnTo>
                    <a:lnTo>
                      <a:pt x="1194" y="16"/>
                    </a:lnTo>
                    <a:lnTo>
                      <a:pt x="1191" y="18"/>
                    </a:lnTo>
                    <a:lnTo>
                      <a:pt x="1190" y="20"/>
                    </a:lnTo>
                    <a:lnTo>
                      <a:pt x="1191" y="23"/>
                    </a:lnTo>
                    <a:lnTo>
                      <a:pt x="1195" y="26"/>
                    </a:lnTo>
                    <a:lnTo>
                      <a:pt x="1201" y="28"/>
                    </a:lnTo>
                    <a:lnTo>
                      <a:pt x="1208" y="30"/>
                    </a:lnTo>
                    <a:lnTo>
                      <a:pt x="1208" y="30"/>
                    </a:lnTo>
                    <a:lnTo>
                      <a:pt x="1220" y="33"/>
                    </a:lnTo>
                    <a:lnTo>
                      <a:pt x="1237" y="35"/>
                    </a:lnTo>
                    <a:lnTo>
                      <a:pt x="1275" y="39"/>
                    </a:lnTo>
                    <a:lnTo>
                      <a:pt x="1345" y="45"/>
                    </a:lnTo>
                    <a:lnTo>
                      <a:pt x="1423" y="50"/>
                    </a:lnTo>
                    <a:lnTo>
                      <a:pt x="1423" y="50"/>
                    </a:lnTo>
                    <a:lnTo>
                      <a:pt x="1502" y="57"/>
                    </a:lnTo>
                    <a:lnTo>
                      <a:pt x="1502" y="57"/>
                    </a:lnTo>
                    <a:lnTo>
                      <a:pt x="1550" y="61"/>
                    </a:lnTo>
                    <a:lnTo>
                      <a:pt x="1578" y="65"/>
                    </a:lnTo>
                    <a:lnTo>
                      <a:pt x="1599" y="69"/>
                    </a:lnTo>
                    <a:lnTo>
                      <a:pt x="1599" y="69"/>
                    </a:lnTo>
                    <a:lnTo>
                      <a:pt x="1604" y="71"/>
                    </a:lnTo>
                    <a:lnTo>
                      <a:pt x="1608" y="73"/>
                    </a:lnTo>
                    <a:lnTo>
                      <a:pt x="1611" y="75"/>
                    </a:lnTo>
                    <a:lnTo>
                      <a:pt x="1612" y="78"/>
                    </a:lnTo>
                    <a:lnTo>
                      <a:pt x="1611" y="80"/>
                    </a:lnTo>
                    <a:lnTo>
                      <a:pt x="1608" y="82"/>
                    </a:lnTo>
                    <a:lnTo>
                      <a:pt x="1604" y="85"/>
                    </a:lnTo>
                    <a:lnTo>
                      <a:pt x="1599" y="87"/>
                    </a:lnTo>
                    <a:lnTo>
                      <a:pt x="1599" y="87"/>
                    </a:lnTo>
                    <a:lnTo>
                      <a:pt x="1590" y="91"/>
                    </a:lnTo>
                    <a:lnTo>
                      <a:pt x="1579" y="94"/>
                    </a:lnTo>
                    <a:lnTo>
                      <a:pt x="1551" y="101"/>
                    </a:lnTo>
                    <a:lnTo>
                      <a:pt x="1504" y="109"/>
                    </a:lnTo>
                    <a:lnTo>
                      <a:pt x="1426" y="123"/>
                    </a:lnTo>
                    <a:lnTo>
                      <a:pt x="1426" y="123"/>
                    </a:lnTo>
                    <a:lnTo>
                      <a:pt x="1330" y="140"/>
                    </a:lnTo>
                    <a:lnTo>
                      <a:pt x="1300" y="146"/>
                    </a:lnTo>
                    <a:lnTo>
                      <a:pt x="1272" y="152"/>
                    </a:lnTo>
                    <a:lnTo>
                      <a:pt x="1272" y="152"/>
                    </a:lnTo>
                    <a:lnTo>
                      <a:pt x="1235" y="161"/>
                    </a:lnTo>
                    <a:lnTo>
                      <a:pt x="1195" y="172"/>
                    </a:lnTo>
                    <a:lnTo>
                      <a:pt x="1156" y="185"/>
                    </a:lnTo>
                    <a:lnTo>
                      <a:pt x="1138" y="192"/>
                    </a:lnTo>
                    <a:lnTo>
                      <a:pt x="1121" y="200"/>
                    </a:lnTo>
                    <a:lnTo>
                      <a:pt x="1121" y="200"/>
                    </a:lnTo>
                    <a:lnTo>
                      <a:pt x="1103" y="209"/>
                    </a:lnTo>
                    <a:lnTo>
                      <a:pt x="1088" y="220"/>
                    </a:lnTo>
                    <a:lnTo>
                      <a:pt x="1082" y="226"/>
                    </a:lnTo>
                    <a:lnTo>
                      <a:pt x="1077" y="231"/>
                    </a:lnTo>
                    <a:lnTo>
                      <a:pt x="1073" y="237"/>
                    </a:lnTo>
                    <a:lnTo>
                      <a:pt x="1070" y="244"/>
                    </a:lnTo>
                    <a:lnTo>
                      <a:pt x="1069" y="249"/>
                    </a:lnTo>
                    <a:lnTo>
                      <a:pt x="1068" y="256"/>
                    </a:lnTo>
                    <a:lnTo>
                      <a:pt x="1069" y="262"/>
                    </a:lnTo>
                    <a:lnTo>
                      <a:pt x="1070" y="268"/>
                    </a:lnTo>
                    <a:lnTo>
                      <a:pt x="1073" y="274"/>
                    </a:lnTo>
                    <a:lnTo>
                      <a:pt x="1077" y="281"/>
                    </a:lnTo>
                    <a:lnTo>
                      <a:pt x="1084" y="288"/>
                    </a:lnTo>
                    <a:lnTo>
                      <a:pt x="1092" y="295"/>
                    </a:lnTo>
                    <a:lnTo>
                      <a:pt x="1092" y="295"/>
                    </a:lnTo>
                    <a:lnTo>
                      <a:pt x="1103" y="303"/>
                    </a:lnTo>
                    <a:lnTo>
                      <a:pt x="1115" y="311"/>
                    </a:lnTo>
                    <a:lnTo>
                      <a:pt x="1129" y="318"/>
                    </a:lnTo>
                    <a:lnTo>
                      <a:pt x="1143" y="326"/>
                    </a:lnTo>
                    <a:lnTo>
                      <a:pt x="1172" y="338"/>
                    </a:lnTo>
                    <a:lnTo>
                      <a:pt x="1198" y="348"/>
                    </a:lnTo>
                    <a:lnTo>
                      <a:pt x="1198" y="348"/>
                    </a:lnTo>
                    <a:lnTo>
                      <a:pt x="1232" y="358"/>
                    </a:lnTo>
                    <a:lnTo>
                      <a:pt x="1268" y="367"/>
                    </a:lnTo>
                    <a:lnTo>
                      <a:pt x="1302" y="374"/>
                    </a:lnTo>
                    <a:lnTo>
                      <a:pt x="1335" y="381"/>
                    </a:lnTo>
                    <a:lnTo>
                      <a:pt x="1391" y="392"/>
                    </a:lnTo>
                    <a:lnTo>
                      <a:pt x="1429" y="399"/>
                    </a:lnTo>
                    <a:lnTo>
                      <a:pt x="1429" y="399"/>
                    </a:lnTo>
                    <a:lnTo>
                      <a:pt x="1505" y="414"/>
                    </a:lnTo>
                    <a:lnTo>
                      <a:pt x="1575" y="428"/>
                    </a:lnTo>
                    <a:lnTo>
                      <a:pt x="1612" y="437"/>
                    </a:lnTo>
                    <a:lnTo>
                      <a:pt x="1649" y="446"/>
                    </a:lnTo>
                    <a:lnTo>
                      <a:pt x="1690" y="457"/>
                    </a:lnTo>
                    <a:lnTo>
                      <a:pt x="1735" y="469"/>
                    </a:lnTo>
                    <a:lnTo>
                      <a:pt x="1735" y="469"/>
                    </a:lnTo>
                    <a:lnTo>
                      <a:pt x="1781" y="483"/>
                    </a:lnTo>
                    <a:lnTo>
                      <a:pt x="1819" y="497"/>
                    </a:lnTo>
                    <a:lnTo>
                      <a:pt x="1851" y="510"/>
                    </a:lnTo>
                    <a:lnTo>
                      <a:pt x="1881" y="523"/>
                    </a:lnTo>
                    <a:lnTo>
                      <a:pt x="1881" y="523"/>
                    </a:lnTo>
                    <a:lnTo>
                      <a:pt x="1916" y="538"/>
                    </a:lnTo>
                    <a:lnTo>
                      <a:pt x="1950" y="556"/>
                    </a:lnTo>
                    <a:lnTo>
                      <a:pt x="1967" y="565"/>
                    </a:lnTo>
                    <a:lnTo>
                      <a:pt x="1983" y="574"/>
                    </a:lnTo>
                    <a:lnTo>
                      <a:pt x="1999" y="585"/>
                    </a:lnTo>
                    <a:lnTo>
                      <a:pt x="2013" y="598"/>
                    </a:lnTo>
                    <a:lnTo>
                      <a:pt x="2013" y="598"/>
                    </a:lnTo>
                    <a:lnTo>
                      <a:pt x="2023" y="606"/>
                    </a:lnTo>
                    <a:lnTo>
                      <a:pt x="2033" y="616"/>
                    </a:lnTo>
                    <a:lnTo>
                      <a:pt x="2041" y="626"/>
                    </a:lnTo>
                    <a:lnTo>
                      <a:pt x="2050" y="637"/>
                    </a:lnTo>
                    <a:lnTo>
                      <a:pt x="2058" y="648"/>
                    </a:lnTo>
                    <a:lnTo>
                      <a:pt x="2065" y="660"/>
                    </a:lnTo>
                    <a:lnTo>
                      <a:pt x="2070" y="671"/>
                    </a:lnTo>
                    <a:lnTo>
                      <a:pt x="2076" y="683"/>
                    </a:lnTo>
                    <a:lnTo>
                      <a:pt x="2079" y="695"/>
                    </a:lnTo>
                    <a:lnTo>
                      <a:pt x="2082" y="709"/>
                    </a:lnTo>
                    <a:lnTo>
                      <a:pt x="2084" y="721"/>
                    </a:lnTo>
                    <a:lnTo>
                      <a:pt x="2085" y="734"/>
                    </a:lnTo>
                    <a:lnTo>
                      <a:pt x="2085" y="747"/>
                    </a:lnTo>
                    <a:lnTo>
                      <a:pt x="2083" y="760"/>
                    </a:lnTo>
                    <a:lnTo>
                      <a:pt x="2081" y="773"/>
                    </a:lnTo>
                    <a:lnTo>
                      <a:pt x="2078" y="787"/>
                    </a:lnTo>
                    <a:lnTo>
                      <a:pt x="2078" y="787"/>
                    </a:lnTo>
                    <a:lnTo>
                      <a:pt x="2073" y="798"/>
                    </a:lnTo>
                    <a:lnTo>
                      <a:pt x="2068" y="810"/>
                    </a:lnTo>
                    <a:lnTo>
                      <a:pt x="2062" y="822"/>
                    </a:lnTo>
                    <a:lnTo>
                      <a:pt x="2055" y="834"/>
                    </a:lnTo>
                    <a:lnTo>
                      <a:pt x="2038" y="858"/>
                    </a:lnTo>
                    <a:lnTo>
                      <a:pt x="2021" y="881"/>
                    </a:lnTo>
                    <a:lnTo>
                      <a:pt x="2001" y="905"/>
                    </a:lnTo>
                    <a:lnTo>
                      <a:pt x="1981" y="927"/>
                    </a:lnTo>
                    <a:lnTo>
                      <a:pt x="1944" y="965"/>
                    </a:lnTo>
                    <a:lnTo>
                      <a:pt x="1944" y="965"/>
                    </a:lnTo>
                    <a:lnTo>
                      <a:pt x="1916" y="991"/>
                    </a:lnTo>
                    <a:lnTo>
                      <a:pt x="1888" y="1017"/>
                    </a:lnTo>
                    <a:lnTo>
                      <a:pt x="1828" y="1069"/>
                    </a:lnTo>
                    <a:lnTo>
                      <a:pt x="1768" y="1119"/>
                    </a:lnTo>
                    <a:lnTo>
                      <a:pt x="1706" y="1167"/>
                    </a:lnTo>
                    <a:lnTo>
                      <a:pt x="1706" y="1167"/>
                    </a:lnTo>
                    <a:lnTo>
                      <a:pt x="1608" y="1242"/>
                    </a:lnTo>
                    <a:lnTo>
                      <a:pt x="1531" y="1298"/>
                    </a:lnTo>
                    <a:lnTo>
                      <a:pt x="1466" y="1343"/>
                    </a:lnTo>
                    <a:lnTo>
                      <a:pt x="1401" y="1387"/>
                    </a:lnTo>
                    <a:lnTo>
                      <a:pt x="1230" y="1500"/>
                    </a:lnTo>
                    <a:lnTo>
                      <a:pt x="1102" y="1585"/>
                    </a:lnTo>
                    <a:lnTo>
                      <a:pt x="931" y="1700"/>
                    </a:lnTo>
                    <a:lnTo>
                      <a:pt x="672" y="1877"/>
                    </a:lnTo>
                    <a:lnTo>
                      <a:pt x="672" y="1877"/>
                    </a:lnTo>
                    <a:lnTo>
                      <a:pt x="423" y="2045"/>
                    </a:lnTo>
                    <a:lnTo>
                      <a:pt x="296" y="2133"/>
                    </a:lnTo>
                    <a:lnTo>
                      <a:pt x="153" y="2233"/>
                    </a:lnTo>
                    <a:lnTo>
                      <a:pt x="153" y="2233"/>
                    </a:lnTo>
                    <a:lnTo>
                      <a:pt x="86" y="2280"/>
                    </a:lnTo>
                    <a:lnTo>
                      <a:pt x="0" y="2342"/>
                    </a:lnTo>
                    <a:lnTo>
                      <a:pt x="112" y="23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p>
            </p:txBody>
          </p:sp>
          <p:sp>
            <p:nvSpPr>
              <p:cNvPr id="56" name="ïṡḷíḑé">
                <a:extLst>
                  <a:ext uri="{FF2B5EF4-FFF2-40B4-BE49-F238E27FC236}">
                    <a16:creationId xmlns:a16="http://schemas.microsoft.com/office/drawing/2014/main" id="{1139B3F4-7421-4BA6-8555-3162FEAF0C35}"/>
                  </a:ext>
                </a:extLst>
              </p:cNvPr>
              <p:cNvSpPr/>
              <p:nvPr/>
            </p:nvSpPr>
            <p:spPr bwMode="auto">
              <a:xfrm>
                <a:off x="5901531" y="2565399"/>
                <a:ext cx="719137" cy="236538"/>
              </a:xfrm>
              <a:custGeom>
                <a:avLst/>
                <a:gdLst>
                  <a:gd name="T0" fmla="*/ 0 w 453"/>
                  <a:gd name="T1" fmla="*/ 145 h 149"/>
                  <a:gd name="T2" fmla="*/ 10 w 453"/>
                  <a:gd name="T3" fmla="*/ 138 h 149"/>
                  <a:gd name="T4" fmla="*/ 39 w 453"/>
                  <a:gd name="T5" fmla="*/ 122 h 149"/>
                  <a:gd name="T6" fmla="*/ 41 w 453"/>
                  <a:gd name="T7" fmla="*/ 127 h 149"/>
                  <a:gd name="T8" fmla="*/ 13 w 453"/>
                  <a:gd name="T9" fmla="*/ 142 h 149"/>
                  <a:gd name="T10" fmla="*/ 4 w 453"/>
                  <a:gd name="T11" fmla="*/ 149 h 149"/>
                  <a:gd name="T12" fmla="*/ 61 w 453"/>
                  <a:gd name="T13" fmla="*/ 114 h 149"/>
                  <a:gd name="T14" fmla="*/ 77 w 453"/>
                  <a:gd name="T15" fmla="*/ 106 h 149"/>
                  <a:gd name="T16" fmla="*/ 97 w 453"/>
                  <a:gd name="T17" fmla="*/ 103 h 149"/>
                  <a:gd name="T18" fmla="*/ 79 w 453"/>
                  <a:gd name="T19" fmla="*/ 110 h 149"/>
                  <a:gd name="T20" fmla="*/ 61 w 453"/>
                  <a:gd name="T21" fmla="*/ 114 h 149"/>
                  <a:gd name="T22" fmla="*/ 118 w 453"/>
                  <a:gd name="T23" fmla="*/ 91 h 149"/>
                  <a:gd name="T24" fmla="*/ 155 w 453"/>
                  <a:gd name="T25" fmla="*/ 84 h 149"/>
                  <a:gd name="T26" fmla="*/ 119 w 453"/>
                  <a:gd name="T27" fmla="*/ 95 h 149"/>
                  <a:gd name="T28" fmla="*/ 177 w 453"/>
                  <a:gd name="T29" fmla="*/ 73 h 149"/>
                  <a:gd name="T30" fmla="*/ 213 w 453"/>
                  <a:gd name="T31" fmla="*/ 64 h 149"/>
                  <a:gd name="T32" fmla="*/ 214 w 453"/>
                  <a:gd name="T33" fmla="*/ 69 h 149"/>
                  <a:gd name="T34" fmla="*/ 177 w 453"/>
                  <a:gd name="T35" fmla="*/ 73 h 149"/>
                  <a:gd name="T36" fmla="*/ 236 w 453"/>
                  <a:gd name="T37" fmla="*/ 59 h 149"/>
                  <a:gd name="T38" fmla="*/ 275 w 453"/>
                  <a:gd name="T39" fmla="*/ 55 h 149"/>
                  <a:gd name="T40" fmla="*/ 237 w 453"/>
                  <a:gd name="T41" fmla="*/ 63 h 149"/>
                  <a:gd name="T42" fmla="*/ 297 w 453"/>
                  <a:gd name="T43" fmla="*/ 47 h 149"/>
                  <a:gd name="T44" fmla="*/ 314 w 453"/>
                  <a:gd name="T45" fmla="*/ 43 h 149"/>
                  <a:gd name="T46" fmla="*/ 334 w 453"/>
                  <a:gd name="T47" fmla="*/ 43 h 149"/>
                  <a:gd name="T48" fmla="*/ 316 w 453"/>
                  <a:gd name="T49" fmla="*/ 48 h 149"/>
                  <a:gd name="T50" fmla="*/ 297 w 453"/>
                  <a:gd name="T51" fmla="*/ 47 h 149"/>
                  <a:gd name="T52" fmla="*/ 356 w 453"/>
                  <a:gd name="T53" fmla="*/ 33 h 149"/>
                  <a:gd name="T54" fmla="*/ 395 w 453"/>
                  <a:gd name="T55" fmla="*/ 28 h 149"/>
                  <a:gd name="T56" fmla="*/ 357 w 453"/>
                  <a:gd name="T57" fmla="*/ 38 h 149"/>
                  <a:gd name="T58" fmla="*/ 416 w 453"/>
                  <a:gd name="T59" fmla="*/ 16 h 149"/>
                  <a:gd name="T60" fmla="*/ 435 w 453"/>
                  <a:gd name="T61" fmla="*/ 8 h 149"/>
                  <a:gd name="T62" fmla="*/ 450 w 453"/>
                  <a:gd name="T63" fmla="*/ 0 h 149"/>
                  <a:gd name="T64" fmla="*/ 453 w 453"/>
                  <a:gd name="T65" fmla="*/ 3 h 149"/>
                  <a:gd name="T66" fmla="*/ 438 w 453"/>
                  <a:gd name="T67" fmla="*/ 11 h 149"/>
                  <a:gd name="T68" fmla="*/ 416 w 453"/>
                  <a:gd name="T69" fmla="*/ 1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3" h="149">
                    <a:moveTo>
                      <a:pt x="0" y="145"/>
                    </a:moveTo>
                    <a:lnTo>
                      <a:pt x="0" y="145"/>
                    </a:lnTo>
                    <a:lnTo>
                      <a:pt x="2" y="143"/>
                    </a:lnTo>
                    <a:lnTo>
                      <a:pt x="10" y="138"/>
                    </a:lnTo>
                    <a:lnTo>
                      <a:pt x="22" y="130"/>
                    </a:lnTo>
                    <a:lnTo>
                      <a:pt x="39" y="122"/>
                    </a:lnTo>
                    <a:lnTo>
                      <a:pt x="41" y="127"/>
                    </a:lnTo>
                    <a:lnTo>
                      <a:pt x="41" y="127"/>
                    </a:lnTo>
                    <a:lnTo>
                      <a:pt x="25" y="136"/>
                    </a:lnTo>
                    <a:lnTo>
                      <a:pt x="13" y="142"/>
                    </a:lnTo>
                    <a:lnTo>
                      <a:pt x="7" y="147"/>
                    </a:lnTo>
                    <a:lnTo>
                      <a:pt x="4" y="149"/>
                    </a:lnTo>
                    <a:lnTo>
                      <a:pt x="0" y="145"/>
                    </a:lnTo>
                    <a:close/>
                    <a:moveTo>
                      <a:pt x="61" y="114"/>
                    </a:moveTo>
                    <a:lnTo>
                      <a:pt x="61" y="114"/>
                    </a:lnTo>
                    <a:lnTo>
                      <a:pt x="77" y="106"/>
                    </a:lnTo>
                    <a:lnTo>
                      <a:pt x="96" y="98"/>
                    </a:lnTo>
                    <a:lnTo>
                      <a:pt x="97" y="103"/>
                    </a:lnTo>
                    <a:lnTo>
                      <a:pt x="97" y="103"/>
                    </a:lnTo>
                    <a:lnTo>
                      <a:pt x="79" y="110"/>
                    </a:lnTo>
                    <a:lnTo>
                      <a:pt x="63" y="118"/>
                    </a:lnTo>
                    <a:lnTo>
                      <a:pt x="61" y="114"/>
                    </a:lnTo>
                    <a:close/>
                    <a:moveTo>
                      <a:pt x="118" y="91"/>
                    </a:moveTo>
                    <a:lnTo>
                      <a:pt x="118" y="91"/>
                    </a:lnTo>
                    <a:lnTo>
                      <a:pt x="154" y="80"/>
                    </a:lnTo>
                    <a:lnTo>
                      <a:pt x="155" y="84"/>
                    </a:lnTo>
                    <a:lnTo>
                      <a:pt x="155" y="84"/>
                    </a:lnTo>
                    <a:lnTo>
                      <a:pt x="119" y="95"/>
                    </a:lnTo>
                    <a:lnTo>
                      <a:pt x="118" y="91"/>
                    </a:lnTo>
                    <a:close/>
                    <a:moveTo>
                      <a:pt x="177" y="73"/>
                    </a:moveTo>
                    <a:lnTo>
                      <a:pt x="177" y="73"/>
                    </a:lnTo>
                    <a:lnTo>
                      <a:pt x="213" y="64"/>
                    </a:lnTo>
                    <a:lnTo>
                      <a:pt x="214" y="69"/>
                    </a:lnTo>
                    <a:lnTo>
                      <a:pt x="214" y="69"/>
                    </a:lnTo>
                    <a:lnTo>
                      <a:pt x="178" y="77"/>
                    </a:lnTo>
                    <a:lnTo>
                      <a:pt x="177" y="73"/>
                    </a:lnTo>
                    <a:close/>
                    <a:moveTo>
                      <a:pt x="236" y="59"/>
                    </a:moveTo>
                    <a:lnTo>
                      <a:pt x="236" y="59"/>
                    </a:lnTo>
                    <a:lnTo>
                      <a:pt x="274" y="51"/>
                    </a:lnTo>
                    <a:lnTo>
                      <a:pt x="275" y="55"/>
                    </a:lnTo>
                    <a:lnTo>
                      <a:pt x="275" y="55"/>
                    </a:lnTo>
                    <a:lnTo>
                      <a:pt x="237" y="63"/>
                    </a:lnTo>
                    <a:lnTo>
                      <a:pt x="236" y="59"/>
                    </a:lnTo>
                    <a:close/>
                    <a:moveTo>
                      <a:pt x="297" y="47"/>
                    </a:moveTo>
                    <a:lnTo>
                      <a:pt x="297" y="47"/>
                    </a:lnTo>
                    <a:lnTo>
                      <a:pt x="314" y="43"/>
                    </a:lnTo>
                    <a:lnTo>
                      <a:pt x="333" y="39"/>
                    </a:lnTo>
                    <a:lnTo>
                      <a:pt x="334" y="43"/>
                    </a:lnTo>
                    <a:lnTo>
                      <a:pt x="316" y="48"/>
                    </a:lnTo>
                    <a:lnTo>
                      <a:pt x="316" y="48"/>
                    </a:lnTo>
                    <a:lnTo>
                      <a:pt x="298" y="51"/>
                    </a:lnTo>
                    <a:lnTo>
                      <a:pt x="297" y="47"/>
                    </a:lnTo>
                    <a:close/>
                    <a:moveTo>
                      <a:pt x="356" y="33"/>
                    </a:moveTo>
                    <a:lnTo>
                      <a:pt x="356" y="33"/>
                    </a:lnTo>
                    <a:lnTo>
                      <a:pt x="394" y="23"/>
                    </a:lnTo>
                    <a:lnTo>
                      <a:pt x="395" y="28"/>
                    </a:lnTo>
                    <a:lnTo>
                      <a:pt x="395" y="28"/>
                    </a:lnTo>
                    <a:lnTo>
                      <a:pt x="357" y="38"/>
                    </a:lnTo>
                    <a:lnTo>
                      <a:pt x="356" y="33"/>
                    </a:lnTo>
                    <a:close/>
                    <a:moveTo>
                      <a:pt x="416" y="16"/>
                    </a:moveTo>
                    <a:lnTo>
                      <a:pt x="416" y="16"/>
                    </a:lnTo>
                    <a:lnTo>
                      <a:pt x="435" y="8"/>
                    </a:lnTo>
                    <a:lnTo>
                      <a:pt x="443" y="4"/>
                    </a:lnTo>
                    <a:lnTo>
                      <a:pt x="450" y="0"/>
                    </a:lnTo>
                    <a:lnTo>
                      <a:pt x="453" y="3"/>
                    </a:lnTo>
                    <a:lnTo>
                      <a:pt x="453" y="3"/>
                    </a:lnTo>
                    <a:lnTo>
                      <a:pt x="446" y="7"/>
                    </a:lnTo>
                    <a:lnTo>
                      <a:pt x="438" y="11"/>
                    </a:lnTo>
                    <a:lnTo>
                      <a:pt x="417" y="20"/>
                    </a:lnTo>
                    <a:lnTo>
                      <a:pt x="416" y="16"/>
                    </a:lnTo>
                    <a:close/>
                  </a:path>
                </a:pathLst>
              </a:custGeom>
              <a:solidFill>
                <a:srgbClr val="C5CC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92500" lnSpcReduction="10000"/>
              </a:bodyPr>
              <a:lstStyle/>
              <a:p>
                <a:endParaRPr lang="en-US"/>
              </a:p>
            </p:txBody>
          </p:sp>
          <p:grpSp>
            <p:nvGrpSpPr>
              <p:cNvPr id="57" name="ï$ļidê">
                <a:extLst>
                  <a:ext uri="{FF2B5EF4-FFF2-40B4-BE49-F238E27FC236}">
                    <a16:creationId xmlns:a16="http://schemas.microsoft.com/office/drawing/2014/main" id="{1503B9A6-5F0D-4C59-A460-13339AEAF3F2}"/>
                  </a:ext>
                </a:extLst>
              </p:cNvPr>
              <p:cNvGrpSpPr/>
              <p:nvPr/>
            </p:nvGrpSpPr>
            <p:grpSpPr>
              <a:xfrm>
                <a:off x="5353843" y="2827337"/>
                <a:ext cx="2441575" cy="3319463"/>
                <a:chOff x="4803141" y="2824162"/>
                <a:chExt cx="2441575" cy="3319463"/>
              </a:xfrm>
              <a:solidFill>
                <a:schemeClr val="bg1">
                  <a:lumMod val="75000"/>
                </a:schemeClr>
              </a:solidFill>
            </p:grpSpPr>
            <p:sp>
              <p:nvSpPr>
                <p:cNvPr id="59" name="î$ľïḓè">
                  <a:extLst>
                    <a:ext uri="{FF2B5EF4-FFF2-40B4-BE49-F238E27FC236}">
                      <a16:creationId xmlns:a16="http://schemas.microsoft.com/office/drawing/2014/main" id="{74E23B88-5629-40C6-B666-3F1692F6E952}"/>
                    </a:ext>
                  </a:extLst>
                </p:cNvPr>
                <p:cNvSpPr/>
                <p:nvPr/>
              </p:nvSpPr>
              <p:spPr bwMode="auto">
                <a:xfrm>
                  <a:off x="7158991" y="3649662"/>
                  <a:ext cx="85725" cy="271463"/>
                </a:xfrm>
                <a:custGeom>
                  <a:avLst/>
                  <a:gdLst>
                    <a:gd name="T0" fmla="*/ 31 w 54"/>
                    <a:gd name="T1" fmla="*/ 171 h 171"/>
                    <a:gd name="T2" fmla="*/ 31 w 54"/>
                    <a:gd name="T3" fmla="*/ 171 h 171"/>
                    <a:gd name="T4" fmla="*/ 40 w 54"/>
                    <a:gd name="T5" fmla="*/ 147 h 171"/>
                    <a:gd name="T6" fmla="*/ 48 w 54"/>
                    <a:gd name="T7" fmla="*/ 126 h 171"/>
                    <a:gd name="T8" fmla="*/ 50 w 54"/>
                    <a:gd name="T9" fmla="*/ 115 h 171"/>
                    <a:gd name="T10" fmla="*/ 53 w 54"/>
                    <a:gd name="T11" fmla="*/ 104 h 171"/>
                    <a:gd name="T12" fmla="*/ 54 w 54"/>
                    <a:gd name="T13" fmla="*/ 93 h 171"/>
                    <a:gd name="T14" fmla="*/ 54 w 54"/>
                    <a:gd name="T15" fmla="*/ 82 h 171"/>
                    <a:gd name="T16" fmla="*/ 54 w 54"/>
                    <a:gd name="T17" fmla="*/ 82 h 171"/>
                    <a:gd name="T18" fmla="*/ 54 w 54"/>
                    <a:gd name="T19" fmla="*/ 60 h 171"/>
                    <a:gd name="T20" fmla="*/ 53 w 54"/>
                    <a:gd name="T21" fmla="*/ 50 h 171"/>
                    <a:gd name="T22" fmla="*/ 50 w 54"/>
                    <a:gd name="T23" fmla="*/ 41 h 171"/>
                    <a:gd name="T24" fmla="*/ 47 w 54"/>
                    <a:gd name="T25" fmla="*/ 31 h 171"/>
                    <a:gd name="T26" fmla="*/ 44 w 54"/>
                    <a:gd name="T27" fmla="*/ 22 h 171"/>
                    <a:gd name="T28" fmla="*/ 33 w 54"/>
                    <a:gd name="T29" fmla="*/ 0 h 171"/>
                    <a:gd name="T30" fmla="*/ 6 w 54"/>
                    <a:gd name="T31" fmla="*/ 11 h 171"/>
                    <a:gd name="T32" fmla="*/ 6 w 54"/>
                    <a:gd name="T33" fmla="*/ 11 h 171"/>
                    <a:gd name="T34" fmla="*/ 15 w 54"/>
                    <a:gd name="T35" fmla="*/ 30 h 171"/>
                    <a:gd name="T36" fmla="*/ 19 w 54"/>
                    <a:gd name="T37" fmla="*/ 39 h 171"/>
                    <a:gd name="T38" fmla="*/ 21 w 54"/>
                    <a:gd name="T39" fmla="*/ 47 h 171"/>
                    <a:gd name="T40" fmla="*/ 22 w 54"/>
                    <a:gd name="T41" fmla="*/ 55 h 171"/>
                    <a:gd name="T42" fmla="*/ 23 w 54"/>
                    <a:gd name="T43" fmla="*/ 63 h 171"/>
                    <a:gd name="T44" fmla="*/ 23 w 54"/>
                    <a:gd name="T45" fmla="*/ 82 h 171"/>
                    <a:gd name="T46" fmla="*/ 23 w 54"/>
                    <a:gd name="T47" fmla="*/ 82 h 171"/>
                    <a:gd name="T48" fmla="*/ 23 w 54"/>
                    <a:gd name="T49" fmla="*/ 90 h 171"/>
                    <a:gd name="T50" fmla="*/ 21 w 54"/>
                    <a:gd name="T51" fmla="*/ 99 h 171"/>
                    <a:gd name="T52" fmla="*/ 16 w 54"/>
                    <a:gd name="T53" fmla="*/ 116 h 171"/>
                    <a:gd name="T54" fmla="*/ 10 w 54"/>
                    <a:gd name="T55" fmla="*/ 134 h 171"/>
                    <a:gd name="T56" fmla="*/ 0 w 54"/>
                    <a:gd name="T57" fmla="*/ 154 h 171"/>
                    <a:gd name="T58" fmla="*/ 31 w 54"/>
                    <a:gd name="T59" fmla="*/ 17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 h="171">
                      <a:moveTo>
                        <a:pt x="31" y="171"/>
                      </a:moveTo>
                      <a:lnTo>
                        <a:pt x="31" y="171"/>
                      </a:lnTo>
                      <a:lnTo>
                        <a:pt x="40" y="147"/>
                      </a:lnTo>
                      <a:lnTo>
                        <a:pt x="48" y="126"/>
                      </a:lnTo>
                      <a:lnTo>
                        <a:pt x="50" y="115"/>
                      </a:lnTo>
                      <a:lnTo>
                        <a:pt x="53" y="104"/>
                      </a:lnTo>
                      <a:lnTo>
                        <a:pt x="54" y="93"/>
                      </a:lnTo>
                      <a:lnTo>
                        <a:pt x="54" y="82"/>
                      </a:lnTo>
                      <a:lnTo>
                        <a:pt x="54" y="82"/>
                      </a:lnTo>
                      <a:lnTo>
                        <a:pt x="54" y="60"/>
                      </a:lnTo>
                      <a:lnTo>
                        <a:pt x="53" y="50"/>
                      </a:lnTo>
                      <a:lnTo>
                        <a:pt x="50" y="41"/>
                      </a:lnTo>
                      <a:lnTo>
                        <a:pt x="47" y="31"/>
                      </a:lnTo>
                      <a:lnTo>
                        <a:pt x="44" y="22"/>
                      </a:lnTo>
                      <a:lnTo>
                        <a:pt x="33" y="0"/>
                      </a:lnTo>
                      <a:lnTo>
                        <a:pt x="6" y="11"/>
                      </a:lnTo>
                      <a:lnTo>
                        <a:pt x="6" y="11"/>
                      </a:lnTo>
                      <a:lnTo>
                        <a:pt x="15" y="30"/>
                      </a:lnTo>
                      <a:lnTo>
                        <a:pt x="19" y="39"/>
                      </a:lnTo>
                      <a:lnTo>
                        <a:pt x="21" y="47"/>
                      </a:lnTo>
                      <a:lnTo>
                        <a:pt x="22" y="55"/>
                      </a:lnTo>
                      <a:lnTo>
                        <a:pt x="23" y="63"/>
                      </a:lnTo>
                      <a:lnTo>
                        <a:pt x="23" y="82"/>
                      </a:lnTo>
                      <a:lnTo>
                        <a:pt x="23" y="82"/>
                      </a:lnTo>
                      <a:lnTo>
                        <a:pt x="23" y="90"/>
                      </a:lnTo>
                      <a:lnTo>
                        <a:pt x="21" y="99"/>
                      </a:lnTo>
                      <a:lnTo>
                        <a:pt x="16" y="116"/>
                      </a:lnTo>
                      <a:lnTo>
                        <a:pt x="10" y="134"/>
                      </a:lnTo>
                      <a:lnTo>
                        <a:pt x="0" y="154"/>
                      </a:lnTo>
                      <a:lnTo>
                        <a:pt x="31" y="1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p>
              </p:txBody>
            </p:sp>
            <p:sp>
              <p:nvSpPr>
                <p:cNvPr id="60" name="íšḷiḋè">
                  <a:extLst>
                    <a:ext uri="{FF2B5EF4-FFF2-40B4-BE49-F238E27FC236}">
                      <a16:creationId xmlns:a16="http://schemas.microsoft.com/office/drawing/2014/main" id="{36A79912-778F-4F5F-9C5B-39AEE036CE0C}"/>
                    </a:ext>
                  </a:extLst>
                </p:cNvPr>
                <p:cNvSpPr/>
                <p:nvPr/>
              </p:nvSpPr>
              <p:spPr bwMode="auto">
                <a:xfrm>
                  <a:off x="7003416" y="3405187"/>
                  <a:ext cx="160337" cy="142875"/>
                </a:xfrm>
                <a:custGeom>
                  <a:avLst/>
                  <a:gdLst>
                    <a:gd name="T0" fmla="*/ 84 w 101"/>
                    <a:gd name="T1" fmla="*/ 90 h 90"/>
                    <a:gd name="T2" fmla="*/ 101 w 101"/>
                    <a:gd name="T3" fmla="*/ 73 h 90"/>
                    <a:gd name="T4" fmla="*/ 101 w 101"/>
                    <a:gd name="T5" fmla="*/ 73 h 90"/>
                    <a:gd name="T6" fmla="*/ 82 w 101"/>
                    <a:gd name="T7" fmla="*/ 56 h 90"/>
                    <a:gd name="T8" fmla="*/ 59 w 101"/>
                    <a:gd name="T9" fmla="*/ 37 h 90"/>
                    <a:gd name="T10" fmla="*/ 34 w 101"/>
                    <a:gd name="T11" fmla="*/ 18 h 90"/>
                    <a:gd name="T12" fmla="*/ 11 w 101"/>
                    <a:gd name="T13" fmla="*/ 0 h 90"/>
                    <a:gd name="T14" fmla="*/ 0 w 101"/>
                    <a:gd name="T15" fmla="*/ 17 h 90"/>
                    <a:gd name="T16" fmla="*/ 0 w 101"/>
                    <a:gd name="T17" fmla="*/ 17 h 90"/>
                    <a:gd name="T18" fmla="*/ 22 w 101"/>
                    <a:gd name="T19" fmla="*/ 33 h 90"/>
                    <a:gd name="T20" fmla="*/ 45 w 101"/>
                    <a:gd name="T21" fmla="*/ 54 h 90"/>
                    <a:gd name="T22" fmla="*/ 67 w 101"/>
                    <a:gd name="T23" fmla="*/ 73 h 90"/>
                    <a:gd name="T24" fmla="*/ 84 w 101"/>
                    <a:gd name="T25" fmla="*/ 90 h 90"/>
                    <a:gd name="T26" fmla="*/ 84 w 101"/>
                    <a:gd name="T2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90">
                      <a:moveTo>
                        <a:pt x="84" y="90"/>
                      </a:moveTo>
                      <a:lnTo>
                        <a:pt x="101" y="73"/>
                      </a:lnTo>
                      <a:lnTo>
                        <a:pt x="101" y="73"/>
                      </a:lnTo>
                      <a:lnTo>
                        <a:pt x="82" y="56"/>
                      </a:lnTo>
                      <a:lnTo>
                        <a:pt x="59" y="37"/>
                      </a:lnTo>
                      <a:lnTo>
                        <a:pt x="34" y="18"/>
                      </a:lnTo>
                      <a:lnTo>
                        <a:pt x="11" y="0"/>
                      </a:lnTo>
                      <a:lnTo>
                        <a:pt x="0" y="17"/>
                      </a:lnTo>
                      <a:lnTo>
                        <a:pt x="0" y="17"/>
                      </a:lnTo>
                      <a:lnTo>
                        <a:pt x="22" y="33"/>
                      </a:lnTo>
                      <a:lnTo>
                        <a:pt x="45" y="54"/>
                      </a:lnTo>
                      <a:lnTo>
                        <a:pt x="67" y="73"/>
                      </a:lnTo>
                      <a:lnTo>
                        <a:pt x="84" y="90"/>
                      </a:lnTo>
                      <a:lnTo>
                        <a:pt x="84"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47500" lnSpcReduction="20000"/>
                </a:bodyPr>
                <a:lstStyle/>
                <a:p>
                  <a:endParaRPr lang="en-US"/>
                </a:p>
              </p:txBody>
            </p:sp>
            <p:sp>
              <p:nvSpPr>
                <p:cNvPr id="61" name="îs1iḑè">
                  <a:extLst>
                    <a:ext uri="{FF2B5EF4-FFF2-40B4-BE49-F238E27FC236}">
                      <a16:creationId xmlns:a16="http://schemas.microsoft.com/office/drawing/2014/main" id="{F01DD8A6-467D-4B2A-AE1D-559DCFC18AAB}"/>
                    </a:ext>
                  </a:extLst>
                </p:cNvPr>
                <p:cNvSpPr/>
                <p:nvPr/>
              </p:nvSpPr>
              <p:spPr bwMode="auto">
                <a:xfrm>
                  <a:off x="5344479" y="2824162"/>
                  <a:ext cx="1574800" cy="519113"/>
                </a:xfrm>
                <a:custGeom>
                  <a:avLst/>
                  <a:gdLst>
                    <a:gd name="T0" fmla="*/ 925 w 992"/>
                    <a:gd name="T1" fmla="*/ 276 h 327"/>
                    <a:gd name="T2" fmla="*/ 955 w 992"/>
                    <a:gd name="T3" fmla="*/ 292 h 327"/>
                    <a:gd name="T4" fmla="*/ 992 w 992"/>
                    <a:gd name="T5" fmla="*/ 314 h 327"/>
                    <a:gd name="T6" fmla="*/ 981 w 992"/>
                    <a:gd name="T7" fmla="*/ 327 h 327"/>
                    <a:gd name="T8" fmla="*/ 947 w 992"/>
                    <a:gd name="T9" fmla="*/ 304 h 327"/>
                    <a:gd name="T10" fmla="*/ 919 w 992"/>
                    <a:gd name="T11" fmla="*/ 289 h 327"/>
                    <a:gd name="T12" fmla="*/ 790 w 992"/>
                    <a:gd name="T13" fmla="*/ 221 h 327"/>
                    <a:gd name="T14" fmla="*/ 825 w 992"/>
                    <a:gd name="T15" fmla="*/ 234 h 327"/>
                    <a:gd name="T16" fmla="*/ 855 w 992"/>
                    <a:gd name="T17" fmla="*/ 260 h 327"/>
                    <a:gd name="T18" fmla="*/ 821 w 992"/>
                    <a:gd name="T19" fmla="*/ 246 h 327"/>
                    <a:gd name="T20" fmla="*/ 786 w 992"/>
                    <a:gd name="T21" fmla="*/ 233 h 327"/>
                    <a:gd name="T22" fmla="*/ 653 w 992"/>
                    <a:gd name="T23" fmla="*/ 181 h 327"/>
                    <a:gd name="T24" fmla="*/ 722 w 992"/>
                    <a:gd name="T25" fmla="*/ 200 h 327"/>
                    <a:gd name="T26" fmla="*/ 720 w 992"/>
                    <a:gd name="T27" fmla="*/ 210 h 327"/>
                    <a:gd name="T28" fmla="*/ 650 w 992"/>
                    <a:gd name="T29" fmla="*/ 190 h 327"/>
                    <a:gd name="T30" fmla="*/ 512 w 992"/>
                    <a:gd name="T31" fmla="*/ 146 h 327"/>
                    <a:gd name="T32" fmla="*/ 583 w 992"/>
                    <a:gd name="T33" fmla="*/ 163 h 327"/>
                    <a:gd name="T34" fmla="*/ 580 w 992"/>
                    <a:gd name="T35" fmla="*/ 172 h 327"/>
                    <a:gd name="T36" fmla="*/ 511 w 992"/>
                    <a:gd name="T37" fmla="*/ 156 h 327"/>
                    <a:gd name="T38" fmla="*/ 370 w 992"/>
                    <a:gd name="T39" fmla="*/ 120 h 327"/>
                    <a:gd name="T40" fmla="*/ 442 w 992"/>
                    <a:gd name="T41" fmla="*/ 132 h 327"/>
                    <a:gd name="T42" fmla="*/ 439 w 992"/>
                    <a:gd name="T43" fmla="*/ 142 h 327"/>
                    <a:gd name="T44" fmla="*/ 369 w 992"/>
                    <a:gd name="T45" fmla="*/ 129 h 327"/>
                    <a:gd name="T46" fmla="*/ 278 w 992"/>
                    <a:gd name="T47" fmla="*/ 115 h 327"/>
                    <a:gd name="T48" fmla="*/ 227 w 992"/>
                    <a:gd name="T49" fmla="*/ 98 h 327"/>
                    <a:gd name="T50" fmla="*/ 279 w 992"/>
                    <a:gd name="T51" fmla="*/ 106 h 327"/>
                    <a:gd name="T52" fmla="*/ 299 w 992"/>
                    <a:gd name="T53" fmla="*/ 108 h 327"/>
                    <a:gd name="T54" fmla="*/ 298 w 992"/>
                    <a:gd name="T55" fmla="*/ 118 h 327"/>
                    <a:gd name="T56" fmla="*/ 278 w 992"/>
                    <a:gd name="T57" fmla="*/ 115 h 327"/>
                    <a:gd name="T58" fmla="*/ 88 w 992"/>
                    <a:gd name="T59" fmla="*/ 64 h 327"/>
                    <a:gd name="T60" fmla="*/ 119 w 992"/>
                    <a:gd name="T61" fmla="*/ 74 h 327"/>
                    <a:gd name="T62" fmla="*/ 155 w 992"/>
                    <a:gd name="T63" fmla="*/ 93 h 327"/>
                    <a:gd name="T64" fmla="*/ 117 w 992"/>
                    <a:gd name="T65" fmla="*/ 84 h 327"/>
                    <a:gd name="T66" fmla="*/ 84 w 992"/>
                    <a:gd name="T67" fmla="*/ 73 h 327"/>
                    <a:gd name="T68" fmla="*/ 0 w 992"/>
                    <a:gd name="T69" fmla="*/ 2 h 327"/>
                    <a:gd name="T70" fmla="*/ 7 w 992"/>
                    <a:gd name="T71" fmla="*/ 1 h 327"/>
                    <a:gd name="T72" fmla="*/ 7 w 992"/>
                    <a:gd name="T73" fmla="*/ 2 h 327"/>
                    <a:gd name="T74" fmla="*/ 12 w 992"/>
                    <a:gd name="T75" fmla="*/ 17 h 327"/>
                    <a:gd name="T76" fmla="*/ 26 w 992"/>
                    <a:gd name="T77" fmla="*/ 32 h 327"/>
                    <a:gd name="T78" fmla="*/ 19 w 992"/>
                    <a:gd name="T79" fmla="*/ 40 h 327"/>
                    <a:gd name="T80" fmla="*/ 4 w 992"/>
                    <a:gd name="T81" fmla="*/ 21 h 327"/>
                    <a:gd name="T82" fmla="*/ 0 w 992"/>
                    <a:gd name="T83" fmla="*/ 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92" h="327">
                      <a:moveTo>
                        <a:pt x="919" y="289"/>
                      </a:moveTo>
                      <a:lnTo>
                        <a:pt x="925" y="276"/>
                      </a:lnTo>
                      <a:lnTo>
                        <a:pt x="925" y="276"/>
                      </a:lnTo>
                      <a:lnTo>
                        <a:pt x="955" y="292"/>
                      </a:lnTo>
                      <a:lnTo>
                        <a:pt x="975" y="303"/>
                      </a:lnTo>
                      <a:lnTo>
                        <a:pt x="992" y="314"/>
                      </a:lnTo>
                      <a:lnTo>
                        <a:pt x="981" y="327"/>
                      </a:lnTo>
                      <a:lnTo>
                        <a:pt x="981" y="327"/>
                      </a:lnTo>
                      <a:lnTo>
                        <a:pt x="966" y="316"/>
                      </a:lnTo>
                      <a:lnTo>
                        <a:pt x="947" y="304"/>
                      </a:lnTo>
                      <a:lnTo>
                        <a:pt x="919" y="289"/>
                      </a:lnTo>
                      <a:lnTo>
                        <a:pt x="919" y="289"/>
                      </a:lnTo>
                      <a:close/>
                      <a:moveTo>
                        <a:pt x="786" y="233"/>
                      </a:moveTo>
                      <a:lnTo>
                        <a:pt x="790" y="221"/>
                      </a:lnTo>
                      <a:lnTo>
                        <a:pt x="790" y="221"/>
                      </a:lnTo>
                      <a:lnTo>
                        <a:pt x="825" y="234"/>
                      </a:lnTo>
                      <a:lnTo>
                        <a:pt x="859" y="248"/>
                      </a:lnTo>
                      <a:lnTo>
                        <a:pt x="855" y="260"/>
                      </a:lnTo>
                      <a:lnTo>
                        <a:pt x="855" y="260"/>
                      </a:lnTo>
                      <a:lnTo>
                        <a:pt x="821" y="246"/>
                      </a:lnTo>
                      <a:lnTo>
                        <a:pt x="786" y="233"/>
                      </a:lnTo>
                      <a:lnTo>
                        <a:pt x="786" y="233"/>
                      </a:lnTo>
                      <a:close/>
                      <a:moveTo>
                        <a:pt x="650" y="190"/>
                      </a:moveTo>
                      <a:lnTo>
                        <a:pt x="653" y="181"/>
                      </a:lnTo>
                      <a:lnTo>
                        <a:pt x="653" y="181"/>
                      </a:lnTo>
                      <a:lnTo>
                        <a:pt x="722" y="200"/>
                      </a:lnTo>
                      <a:lnTo>
                        <a:pt x="720" y="210"/>
                      </a:lnTo>
                      <a:lnTo>
                        <a:pt x="720" y="210"/>
                      </a:lnTo>
                      <a:lnTo>
                        <a:pt x="650" y="190"/>
                      </a:lnTo>
                      <a:lnTo>
                        <a:pt x="650" y="190"/>
                      </a:lnTo>
                      <a:close/>
                      <a:moveTo>
                        <a:pt x="511" y="156"/>
                      </a:moveTo>
                      <a:lnTo>
                        <a:pt x="512" y="146"/>
                      </a:lnTo>
                      <a:lnTo>
                        <a:pt x="512" y="146"/>
                      </a:lnTo>
                      <a:lnTo>
                        <a:pt x="583" y="163"/>
                      </a:lnTo>
                      <a:lnTo>
                        <a:pt x="580" y="172"/>
                      </a:lnTo>
                      <a:lnTo>
                        <a:pt x="580" y="172"/>
                      </a:lnTo>
                      <a:lnTo>
                        <a:pt x="511" y="156"/>
                      </a:lnTo>
                      <a:lnTo>
                        <a:pt x="511" y="156"/>
                      </a:lnTo>
                      <a:close/>
                      <a:moveTo>
                        <a:pt x="369" y="129"/>
                      </a:moveTo>
                      <a:lnTo>
                        <a:pt x="370" y="120"/>
                      </a:lnTo>
                      <a:lnTo>
                        <a:pt x="370" y="120"/>
                      </a:lnTo>
                      <a:lnTo>
                        <a:pt x="442" y="132"/>
                      </a:lnTo>
                      <a:lnTo>
                        <a:pt x="439" y="142"/>
                      </a:lnTo>
                      <a:lnTo>
                        <a:pt x="439" y="142"/>
                      </a:lnTo>
                      <a:lnTo>
                        <a:pt x="369" y="129"/>
                      </a:lnTo>
                      <a:lnTo>
                        <a:pt x="369" y="129"/>
                      </a:lnTo>
                      <a:close/>
                      <a:moveTo>
                        <a:pt x="278" y="115"/>
                      </a:moveTo>
                      <a:lnTo>
                        <a:pt x="278" y="115"/>
                      </a:lnTo>
                      <a:lnTo>
                        <a:pt x="226" y="107"/>
                      </a:lnTo>
                      <a:lnTo>
                        <a:pt x="227" y="98"/>
                      </a:lnTo>
                      <a:lnTo>
                        <a:pt x="227" y="98"/>
                      </a:lnTo>
                      <a:lnTo>
                        <a:pt x="279" y="106"/>
                      </a:lnTo>
                      <a:lnTo>
                        <a:pt x="279" y="106"/>
                      </a:lnTo>
                      <a:lnTo>
                        <a:pt x="299" y="108"/>
                      </a:lnTo>
                      <a:lnTo>
                        <a:pt x="298" y="118"/>
                      </a:lnTo>
                      <a:lnTo>
                        <a:pt x="298" y="118"/>
                      </a:lnTo>
                      <a:lnTo>
                        <a:pt x="278" y="115"/>
                      </a:lnTo>
                      <a:lnTo>
                        <a:pt x="278" y="115"/>
                      </a:lnTo>
                      <a:close/>
                      <a:moveTo>
                        <a:pt x="84" y="73"/>
                      </a:moveTo>
                      <a:lnTo>
                        <a:pt x="88" y="64"/>
                      </a:lnTo>
                      <a:lnTo>
                        <a:pt x="88" y="64"/>
                      </a:lnTo>
                      <a:lnTo>
                        <a:pt x="119" y="74"/>
                      </a:lnTo>
                      <a:lnTo>
                        <a:pt x="157" y="84"/>
                      </a:lnTo>
                      <a:lnTo>
                        <a:pt x="155" y="93"/>
                      </a:lnTo>
                      <a:lnTo>
                        <a:pt x="155" y="93"/>
                      </a:lnTo>
                      <a:lnTo>
                        <a:pt x="117" y="84"/>
                      </a:lnTo>
                      <a:lnTo>
                        <a:pt x="84" y="73"/>
                      </a:lnTo>
                      <a:lnTo>
                        <a:pt x="84" y="73"/>
                      </a:lnTo>
                      <a:close/>
                      <a:moveTo>
                        <a:pt x="0" y="2"/>
                      </a:moveTo>
                      <a:lnTo>
                        <a:pt x="0" y="2"/>
                      </a:lnTo>
                      <a:lnTo>
                        <a:pt x="0" y="0"/>
                      </a:lnTo>
                      <a:lnTo>
                        <a:pt x="7" y="1"/>
                      </a:lnTo>
                      <a:lnTo>
                        <a:pt x="7" y="2"/>
                      </a:lnTo>
                      <a:lnTo>
                        <a:pt x="7" y="2"/>
                      </a:lnTo>
                      <a:lnTo>
                        <a:pt x="8" y="10"/>
                      </a:lnTo>
                      <a:lnTo>
                        <a:pt x="12" y="17"/>
                      </a:lnTo>
                      <a:lnTo>
                        <a:pt x="18" y="24"/>
                      </a:lnTo>
                      <a:lnTo>
                        <a:pt x="26" y="32"/>
                      </a:lnTo>
                      <a:lnTo>
                        <a:pt x="19" y="40"/>
                      </a:lnTo>
                      <a:lnTo>
                        <a:pt x="19" y="40"/>
                      </a:lnTo>
                      <a:lnTo>
                        <a:pt x="11" y="31"/>
                      </a:lnTo>
                      <a:lnTo>
                        <a:pt x="4" y="21"/>
                      </a:lnTo>
                      <a:lnTo>
                        <a:pt x="1" y="12"/>
                      </a:lnTo>
                      <a:lnTo>
                        <a:pt x="0"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p>
              </p:txBody>
            </p:sp>
            <p:sp>
              <p:nvSpPr>
                <p:cNvPr id="62" name="íśḻïḋe">
                  <a:extLst>
                    <a:ext uri="{FF2B5EF4-FFF2-40B4-BE49-F238E27FC236}">
                      <a16:creationId xmlns:a16="http://schemas.microsoft.com/office/drawing/2014/main" id="{FC8C7E83-D04C-4170-9A33-92C135DD5FCF}"/>
                    </a:ext>
                  </a:extLst>
                </p:cNvPr>
                <p:cNvSpPr/>
                <p:nvPr/>
              </p:nvSpPr>
              <p:spPr bwMode="auto">
                <a:xfrm>
                  <a:off x="5309554" y="5429249"/>
                  <a:ext cx="317500" cy="296863"/>
                </a:xfrm>
                <a:custGeom>
                  <a:avLst/>
                  <a:gdLst>
                    <a:gd name="T0" fmla="*/ 25 w 200"/>
                    <a:gd name="T1" fmla="*/ 187 h 187"/>
                    <a:gd name="T2" fmla="*/ 25 w 200"/>
                    <a:gd name="T3" fmla="*/ 187 h 187"/>
                    <a:gd name="T4" fmla="*/ 200 w 200"/>
                    <a:gd name="T5" fmla="*/ 28 h 187"/>
                    <a:gd name="T6" fmla="*/ 174 w 200"/>
                    <a:gd name="T7" fmla="*/ 0 h 187"/>
                    <a:gd name="T8" fmla="*/ 174 w 200"/>
                    <a:gd name="T9" fmla="*/ 0 h 187"/>
                    <a:gd name="T10" fmla="*/ 0 w 200"/>
                    <a:gd name="T11" fmla="*/ 160 h 187"/>
                    <a:gd name="T12" fmla="*/ 25 w 200"/>
                    <a:gd name="T13" fmla="*/ 187 h 187"/>
                  </a:gdLst>
                  <a:ahLst/>
                  <a:cxnLst>
                    <a:cxn ang="0">
                      <a:pos x="T0" y="T1"/>
                    </a:cxn>
                    <a:cxn ang="0">
                      <a:pos x="T2" y="T3"/>
                    </a:cxn>
                    <a:cxn ang="0">
                      <a:pos x="T4" y="T5"/>
                    </a:cxn>
                    <a:cxn ang="0">
                      <a:pos x="T6" y="T7"/>
                    </a:cxn>
                    <a:cxn ang="0">
                      <a:pos x="T8" y="T9"/>
                    </a:cxn>
                    <a:cxn ang="0">
                      <a:pos x="T10" y="T11"/>
                    </a:cxn>
                    <a:cxn ang="0">
                      <a:pos x="T12" y="T13"/>
                    </a:cxn>
                  </a:cxnLst>
                  <a:rect l="0" t="0" r="r" b="b"/>
                  <a:pathLst>
                    <a:path w="200" h="187">
                      <a:moveTo>
                        <a:pt x="25" y="187"/>
                      </a:moveTo>
                      <a:lnTo>
                        <a:pt x="25" y="187"/>
                      </a:lnTo>
                      <a:lnTo>
                        <a:pt x="200" y="28"/>
                      </a:lnTo>
                      <a:lnTo>
                        <a:pt x="174" y="0"/>
                      </a:lnTo>
                      <a:lnTo>
                        <a:pt x="174" y="0"/>
                      </a:lnTo>
                      <a:lnTo>
                        <a:pt x="0" y="160"/>
                      </a:lnTo>
                      <a:lnTo>
                        <a:pt x="25"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p>
              </p:txBody>
            </p:sp>
            <p:sp>
              <p:nvSpPr>
                <p:cNvPr id="63" name="i$ḷïḍe">
                  <a:extLst>
                    <a:ext uri="{FF2B5EF4-FFF2-40B4-BE49-F238E27FC236}">
                      <a16:creationId xmlns:a16="http://schemas.microsoft.com/office/drawing/2014/main" id="{8BD1FA54-A36F-4C82-8E63-E00AB6B4E095}"/>
                    </a:ext>
                  </a:extLst>
                </p:cNvPr>
                <p:cNvSpPr/>
                <p:nvPr/>
              </p:nvSpPr>
              <p:spPr bwMode="auto">
                <a:xfrm>
                  <a:off x="5806441" y="4972049"/>
                  <a:ext cx="315912" cy="298450"/>
                </a:xfrm>
                <a:custGeom>
                  <a:avLst/>
                  <a:gdLst>
                    <a:gd name="T0" fmla="*/ 25 w 199"/>
                    <a:gd name="T1" fmla="*/ 188 h 188"/>
                    <a:gd name="T2" fmla="*/ 25 w 199"/>
                    <a:gd name="T3" fmla="*/ 188 h 188"/>
                    <a:gd name="T4" fmla="*/ 199 w 199"/>
                    <a:gd name="T5" fmla="*/ 28 h 188"/>
                    <a:gd name="T6" fmla="*/ 174 w 199"/>
                    <a:gd name="T7" fmla="*/ 0 h 188"/>
                    <a:gd name="T8" fmla="*/ 174 w 199"/>
                    <a:gd name="T9" fmla="*/ 0 h 188"/>
                    <a:gd name="T10" fmla="*/ 0 w 199"/>
                    <a:gd name="T11" fmla="*/ 161 h 188"/>
                    <a:gd name="T12" fmla="*/ 25 w 199"/>
                    <a:gd name="T13" fmla="*/ 188 h 188"/>
                  </a:gdLst>
                  <a:ahLst/>
                  <a:cxnLst>
                    <a:cxn ang="0">
                      <a:pos x="T0" y="T1"/>
                    </a:cxn>
                    <a:cxn ang="0">
                      <a:pos x="T2" y="T3"/>
                    </a:cxn>
                    <a:cxn ang="0">
                      <a:pos x="T4" y="T5"/>
                    </a:cxn>
                    <a:cxn ang="0">
                      <a:pos x="T6" y="T7"/>
                    </a:cxn>
                    <a:cxn ang="0">
                      <a:pos x="T8" y="T9"/>
                    </a:cxn>
                    <a:cxn ang="0">
                      <a:pos x="T10" y="T11"/>
                    </a:cxn>
                    <a:cxn ang="0">
                      <a:pos x="T12" y="T13"/>
                    </a:cxn>
                  </a:cxnLst>
                  <a:rect l="0" t="0" r="r" b="b"/>
                  <a:pathLst>
                    <a:path w="199" h="188">
                      <a:moveTo>
                        <a:pt x="25" y="188"/>
                      </a:moveTo>
                      <a:lnTo>
                        <a:pt x="25" y="188"/>
                      </a:lnTo>
                      <a:lnTo>
                        <a:pt x="199" y="28"/>
                      </a:lnTo>
                      <a:lnTo>
                        <a:pt x="174" y="0"/>
                      </a:lnTo>
                      <a:lnTo>
                        <a:pt x="174" y="0"/>
                      </a:lnTo>
                      <a:lnTo>
                        <a:pt x="0" y="161"/>
                      </a:lnTo>
                      <a:lnTo>
                        <a:pt x="25" y="1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p>
              </p:txBody>
            </p:sp>
            <p:sp>
              <p:nvSpPr>
                <p:cNvPr id="64" name="í$1íde">
                  <a:extLst>
                    <a:ext uri="{FF2B5EF4-FFF2-40B4-BE49-F238E27FC236}">
                      <a16:creationId xmlns:a16="http://schemas.microsoft.com/office/drawing/2014/main" id="{69484CE3-BF19-4447-BBA8-2B31571B5CE6}"/>
                    </a:ext>
                  </a:extLst>
                </p:cNvPr>
                <p:cNvSpPr/>
                <p:nvPr/>
              </p:nvSpPr>
              <p:spPr bwMode="auto">
                <a:xfrm>
                  <a:off x="6301741" y="4510087"/>
                  <a:ext cx="314325" cy="301625"/>
                </a:xfrm>
                <a:custGeom>
                  <a:avLst/>
                  <a:gdLst>
                    <a:gd name="T0" fmla="*/ 25 w 198"/>
                    <a:gd name="T1" fmla="*/ 190 h 190"/>
                    <a:gd name="T2" fmla="*/ 25 w 198"/>
                    <a:gd name="T3" fmla="*/ 190 h 190"/>
                    <a:gd name="T4" fmla="*/ 198 w 198"/>
                    <a:gd name="T5" fmla="*/ 28 h 190"/>
                    <a:gd name="T6" fmla="*/ 173 w 198"/>
                    <a:gd name="T7" fmla="*/ 0 h 190"/>
                    <a:gd name="T8" fmla="*/ 173 w 198"/>
                    <a:gd name="T9" fmla="*/ 0 h 190"/>
                    <a:gd name="T10" fmla="*/ 0 w 198"/>
                    <a:gd name="T11" fmla="*/ 162 h 190"/>
                    <a:gd name="T12" fmla="*/ 25 w 198"/>
                    <a:gd name="T13" fmla="*/ 190 h 190"/>
                  </a:gdLst>
                  <a:ahLst/>
                  <a:cxnLst>
                    <a:cxn ang="0">
                      <a:pos x="T0" y="T1"/>
                    </a:cxn>
                    <a:cxn ang="0">
                      <a:pos x="T2" y="T3"/>
                    </a:cxn>
                    <a:cxn ang="0">
                      <a:pos x="T4" y="T5"/>
                    </a:cxn>
                    <a:cxn ang="0">
                      <a:pos x="T6" y="T7"/>
                    </a:cxn>
                    <a:cxn ang="0">
                      <a:pos x="T8" y="T9"/>
                    </a:cxn>
                    <a:cxn ang="0">
                      <a:pos x="T10" y="T11"/>
                    </a:cxn>
                    <a:cxn ang="0">
                      <a:pos x="T12" y="T13"/>
                    </a:cxn>
                  </a:cxnLst>
                  <a:rect l="0" t="0" r="r" b="b"/>
                  <a:pathLst>
                    <a:path w="198" h="190">
                      <a:moveTo>
                        <a:pt x="25" y="190"/>
                      </a:moveTo>
                      <a:lnTo>
                        <a:pt x="25" y="190"/>
                      </a:lnTo>
                      <a:lnTo>
                        <a:pt x="198" y="28"/>
                      </a:lnTo>
                      <a:lnTo>
                        <a:pt x="173" y="0"/>
                      </a:lnTo>
                      <a:lnTo>
                        <a:pt x="173" y="0"/>
                      </a:lnTo>
                      <a:lnTo>
                        <a:pt x="0" y="162"/>
                      </a:lnTo>
                      <a:lnTo>
                        <a:pt x="25"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p>
              </p:txBody>
            </p:sp>
            <p:sp>
              <p:nvSpPr>
                <p:cNvPr id="65" name="îṩļiḓe">
                  <a:extLst>
                    <a:ext uri="{FF2B5EF4-FFF2-40B4-BE49-F238E27FC236}">
                      <a16:creationId xmlns:a16="http://schemas.microsoft.com/office/drawing/2014/main" id="{7515A900-C04D-4848-A8D8-58C882E4A310}"/>
                    </a:ext>
                  </a:extLst>
                </p:cNvPr>
                <p:cNvSpPr/>
                <p:nvPr/>
              </p:nvSpPr>
              <p:spPr bwMode="auto">
                <a:xfrm>
                  <a:off x="4803141" y="5881687"/>
                  <a:ext cx="320675" cy="261938"/>
                </a:xfrm>
                <a:custGeom>
                  <a:avLst/>
                  <a:gdLst>
                    <a:gd name="T0" fmla="*/ 46 w 202"/>
                    <a:gd name="T1" fmla="*/ 165 h 165"/>
                    <a:gd name="T2" fmla="*/ 46 w 202"/>
                    <a:gd name="T3" fmla="*/ 165 h 165"/>
                    <a:gd name="T4" fmla="*/ 120 w 202"/>
                    <a:gd name="T5" fmla="*/ 101 h 165"/>
                    <a:gd name="T6" fmla="*/ 202 w 202"/>
                    <a:gd name="T7" fmla="*/ 29 h 165"/>
                    <a:gd name="T8" fmla="*/ 178 w 202"/>
                    <a:gd name="T9" fmla="*/ 0 h 165"/>
                    <a:gd name="T10" fmla="*/ 178 w 202"/>
                    <a:gd name="T11" fmla="*/ 0 h 165"/>
                    <a:gd name="T12" fmla="*/ 81 w 202"/>
                    <a:gd name="T13" fmla="*/ 85 h 165"/>
                    <a:gd name="T14" fmla="*/ 0 w 202"/>
                    <a:gd name="T15" fmla="*/ 155 h 165"/>
                    <a:gd name="T16" fmla="*/ 8 w 202"/>
                    <a:gd name="T17" fmla="*/ 165 h 165"/>
                    <a:gd name="T18" fmla="*/ 46 w 202"/>
                    <a:gd name="T19"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2" h="165">
                      <a:moveTo>
                        <a:pt x="46" y="165"/>
                      </a:moveTo>
                      <a:lnTo>
                        <a:pt x="46" y="165"/>
                      </a:lnTo>
                      <a:lnTo>
                        <a:pt x="120" y="101"/>
                      </a:lnTo>
                      <a:lnTo>
                        <a:pt x="202" y="29"/>
                      </a:lnTo>
                      <a:lnTo>
                        <a:pt x="178" y="0"/>
                      </a:lnTo>
                      <a:lnTo>
                        <a:pt x="178" y="0"/>
                      </a:lnTo>
                      <a:lnTo>
                        <a:pt x="81" y="85"/>
                      </a:lnTo>
                      <a:lnTo>
                        <a:pt x="0" y="155"/>
                      </a:lnTo>
                      <a:lnTo>
                        <a:pt x="8" y="165"/>
                      </a:lnTo>
                      <a:lnTo>
                        <a:pt x="46"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p>
              </p:txBody>
            </p:sp>
            <p:sp>
              <p:nvSpPr>
                <p:cNvPr id="66" name="îŝ1iḑé">
                  <a:extLst>
                    <a:ext uri="{FF2B5EF4-FFF2-40B4-BE49-F238E27FC236}">
                      <a16:creationId xmlns:a16="http://schemas.microsoft.com/office/drawing/2014/main" id="{F1AECE60-481F-4C53-9D6C-A27215CA0E93}"/>
                    </a:ext>
                  </a:extLst>
                </p:cNvPr>
                <p:cNvSpPr/>
                <p:nvPr/>
              </p:nvSpPr>
              <p:spPr bwMode="auto">
                <a:xfrm>
                  <a:off x="6774816" y="4044949"/>
                  <a:ext cx="320675" cy="323850"/>
                </a:xfrm>
                <a:custGeom>
                  <a:avLst/>
                  <a:gdLst>
                    <a:gd name="T0" fmla="*/ 31 w 202"/>
                    <a:gd name="T1" fmla="*/ 204 h 204"/>
                    <a:gd name="T2" fmla="*/ 31 w 202"/>
                    <a:gd name="T3" fmla="*/ 204 h 204"/>
                    <a:gd name="T4" fmla="*/ 77 w 202"/>
                    <a:gd name="T5" fmla="*/ 161 h 204"/>
                    <a:gd name="T6" fmla="*/ 99 w 202"/>
                    <a:gd name="T7" fmla="*/ 140 h 204"/>
                    <a:gd name="T8" fmla="*/ 121 w 202"/>
                    <a:gd name="T9" fmla="*/ 117 h 204"/>
                    <a:gd name="T10" fmla="*/ 143 w 202"/>
                    <a:gd name="T11" fmla="*/ 94 h 204"/>
                    <a:gd name="T12" fmla="*/ 163 w 202"/>
                    <a:gd name="T13" fmla="*/ 71 h 204"/>
                    <a:gd name="T14" fmla="*/ 182 w 202"/>
                    <a:gd name="T15" fmla="*/ 47 h 204"/>
                    <a:gd name="T16" fmla="*/ 202 w 202"/>
                    <a:gd name="T17" fmla="*/ 22 h 204"/>
                    <a:gd name="T18" fmla="*/ 202 w 202"/>
                    <a:gd name="T19" fmla="*/ 22 h 204"/>
                    <a:gd name="T20" fmla="*/ 171 w 202"/>
                    <a:gd name="T21" fmla="*/ 0 h 204"/>
                    <a:gd name="T22" fmla="*/ 171 w 202"/>
                    <a:gd name="T23" fmla="*/ 0 h 204"/>
                    <a:gd name="T24" fmla="*/ 152 w 202"/>
                    <a:gd name="T25" fmla="*/ 24 h 204"/>
                    <a:gd name="T26" fmla="*/ 132 w 202"/>
                    <a:gd name="T27" fmla="*/ 48 h 204"/>
                    <a:gd name="T28" fmla="*/ 111 w 202"/>
                    <a:gd name="T29" fmla="*/ 71 h 204"/>
                    <a:gd name="T30" fmla="*/ 90 w 202"/>
                    <a:gd name="T31" fmla="*/ 93 h 204"/>
                    <a:gd name="T32" fmla="*/ 68 w 202"/>
                    <a:gd name="T33" fmla="*/ 115 h 204"/>
                    <a:gd name="T34" fmla="*/ 46 w 202"/>
                    <a:gd name="T35" fmla="*/ 136 h 204"/>
                    <a:gd name="T36" fmla="*/ 0 w 202"/>
                    <a:gd name="T37" fmla="*/ 178 h 204"/>
                    <a:gd name="T38" fmla="*/ 0 w 202"/>
                    <a:gd name="T39" fmla="*/ 178 h 204"/>
                    <a:gd name="T40" fmla="*/ 31 w 202"/>
                    <a:gd name="T41" fmla="*/ 204 h 204"/>
                    <a:gd name="T42" fmla="*/ 31 w 202"/>
                    <a:gd name="T43"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2" h="204">
                      <a:moveTo>
                        <a:pt x="31" y="204"/>
                      </a:moveTo>
                      <a:lnTo>
                        <a:pt x="31" y="204"/>
                      </a:lnTo>
                      <a:lnTo>
                        <a:pt x="77" y="161"/>
                      </a:lnTo>
                      <a:lnTo>
                        <a:pt x="99" y="140"/>
                      </a:lnTo>
                      <a:lnTo>
                        <a:pt x="121" y="117"/>
                      </a:lnTo>
                      <a:lnTo>
                        <a:pt x="143" y="94"/>
                      </a:lnTo>
                      <a:lnTo>
                        <a:pt x="163" y="71"/>
                      </a:lnTo>
                      <a:lnTo>
                        <a:pt x="182" y="47"/>
                      </a:lnTo>
                      <a:lnTo>
                        <a:pt x="202" y="22"/>
                      </a:lnTo>
                      <a:lnTo>
                        <a:pt x="202" y="22"/>
                      </a:lnTo>
                      <a:lnTo>
                        <a:pt x="171" y="0"/>
                      </a:lnTo>
                      <a:lnTo>
                        <a:pt x="171" y="0"/>
                      </a:lnTo>
                      <a:lnTo>
                        <a:pt x="152" y="24"/>
                      </a:lnTo>
                      <a:lnTo>
                        <a:pt x="132" y="48"/>
                      </a:lnTo>
                      <a:lnTo>
                        <a:pt x="111" y="71"/>
                      </a:lnTo>
                      <a:lnTo>
                        <a:pt x="90" y="93"/>
                      </a:lnTo>
                      <a:lnTo>
                        <a:pt x="68" y="115"/>
                      </a:lnTo>
                      <a:lnTo>
                        <a:pt x="46" y="136"/>
                      </a:lnTo>
                      <a:lnTo>
                        <a:pt x="0" y="178"/>
                      </a:lnTo>
                      <a:lnTo>
                        <a:pt x="0" y="178"/>
                      </a:lnTo>
                      <a:lnTo>
                        <a:pt x="31" y="204"/>
                      </a:lnTo>
                      <a:lnTo>
                        <a:pt x="31" y="2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p>
              </p:txBody>
            </p:sp>
          </p:grpSp>
          <p:sp>
            <p:nvSpPr>
              <p:cNvPr id="58" name="îŝḷíḓè">
                <a:extLst>
                  <a:ext uri="{FF2B5EF4-FFF2-40B4-BE49-F238E27FC236}">
                    <a16:creationId xmlns:a16="http://schemas.microsoft.com/office/drawing/2014/main" id="{02F99401-685C-4DD0-86BC-3DE634BFE368}"/>
                  </a:ext>
                </a:extLst>
              </p:cNvPr>
              <p:cNvSpPr/>
              <p:nvPr/>
            </p:nvSpPr>
            <p:spPr bwMode="auto">
              <a:xfrm>
                <a:off x="6034881" y="2368549"/>
                <a:ext cx="2316162" cy="3778250"/>
              </a:xfrm>
              <a:custGeom>
                <a:avLst/>
                <a:gdLst>
                  <a:gd name="T0" fmla="*/ 257 w 1459"/>
                  <a:gd name="T1" fmla="*/ 88 h 2380"/>
                  <a:gd name="T2" fmla="*/ 449 w 1459"/>
                  <a:gd name="T3" fmla="*/ 113 h 2380"/>
                  <a:gd name="T4" fmla="*/ 472 w 1459"/>
                  <a:gd name="T5" fmla="*/ 124 h 2380"/>
                  <a:gd name="T6" fmla="*/ 437 w 1459"/>
                  <a:gd name="T7" fmla="*/ 141 h 2380"/>
                  <a:gd name="T8" fmla="*/ 248 w 1459"/>
                  <a:gd name="T9" fmla="*/ 186 h 2380"/>
                  <a:gd name="T10" fmla="*/ 72 w 1459"/>
                  <a:gd name="T11" fmla="*/ 237 h 2380"/>
                  <a:gd name="T12" fmla="*/ 41 w 1459"/>
                  <a:gd name="T13" fmla="*/ 271 h 2380"/>
                  <a:gd name="T14" fmla="*/ 56 w 1459"/>
                  <a:gd name="T15" fmla="*/ 301 h 2380"/>
                  <a:gd name="T16" fmla="*/ 192 w 1459"/>
                  <a:gd name="T17" fmla="*/ 342 h 2380"/>
                  <a:gd name="T18" fmla="*/ 579 w 1459"/>
                  <a:gd name="T19" fmla="*/ 406 h 2380"/>
                  <a:gd name="T20" fmla="*/ 950 w 1459"/>
                  <a:gd name="T21" fmla="*/ 494 h 2380"/>
                  <a:gd name="T22" fmla="*/ 1146 w 1459"/>
                  <a:gd name="T23" fmla="*/ 571 h 2380"/>
                  <a:gd name="T24" fmla="*/ 1264 w 1459"/>
                  <a:gd name="T25" fmla="*/ 644 h 2380"/>
                  <a:gd name="T26" fmla="*/ 1379 w 1459"/>
                  <a:gd name="T27" fmla="*/ 772 h 2380"/>
                  <a:gd name="T28" fmla="*/ 1411 w 1459"/>
                  <a:gd name="T29" fmla="*/ 842 h 2380"/>
                  <a:gd name="T30" fmla="*/ 1422 w 1459"/>
                  <a:gd name="T31" fmla="*/ 920 h 2380"/>
                  <a:gd name="T32" fmla="*/ 1401 w 1459"/>
                  <a:gd name="T33" fmla="*/ 1022 h 2380"/>
                  <a:gd name="T34" fmla="*/ 1329 w 1459"/>
                  <a:gd name="T35" fmla="*/ 1140 h 2380"/>
                  <a:gd name="T36" fmla="*/ 1041 w 1459"/>
                  <a:gd name="T37" fmla="*/ 1480 h 2380"/>
                  <a:gd name="T38" fmla="*/ 462 w 1459"/>
                  <a:gd name="T39" fmla="*/ 2074 h 2380"/>
                  <a:gd name="T40" fmla="*/ 139 w 1459"/>
                  <a:gd name="T41" fmla="*/ 2380 h 2380"/>
                  <a:gd name="T42" fmla="*/ 557 w 1459"/>
                  <a:gd name="T43" fmla="*/ 2068 h 2380"/>
                  <a:gd name="T44" fmla="*/ 1045 w 1459"/>
                  <a:gd name="T45" fmla="*/ 1542 h 2380"/>
                  <a:gd name="T46" fmla="*/ 1358 w 1459"/>
                  <a:gd name="T47" fmla="*/ 1168 h 2380"/>
                  <a:gd name="T48" fmla="*/ 1430 w 1459"/>
                  <a:gd name="T49" fmla="*/ 1055 h 2380"/>
                  <a:gd name="T50" fmla="*/ 1457 w 1459"/>
                  <a:gd name="T51" fmla="*/ 950 h 2380"/>
                  <a:gd name="T52" fmla="*/ 1453 w 1459"/>
                  <a:gd name="T53" fmla="*/ 862 h 2380"/>
                  <a:gd name="T54" fmla="*/ 1418 w 1459"/>
                  <a:gd name="T55" fmla="*/ 770 h 2380"/>
                  <a:gd name="T56" fmla="*/ 1331 w 1459"/>
                  <a:gd name="T57" fmla="*/ 659 h 2380"/>
                  <a:gd name="T58" fmla="*/ 1210 w 1459"/>
                  <a:gd name="T59" fmla="*/ 571 h 2380"/>
                  <a:gd name="T60" fmla="*/ 1028 w 1459"/>
                  <a:gd name="T61" fmla="*/ 492 h 2380"/>
                  <a:gd name="T62" fmla="*/ 666 w 1459"/>
                  <a:gd name="T63" fmla="*/ 401 h 2380"/>
                  <a:gd name="T64" fmla="*/ 235 w 1459"/>
                  <a:gd name="T65" fmla="*/ 335 h 2380"/>
                  <a:gd name="T66" fmla="*/ 69 w 1459"/>
                  <a:gd name="T67" fmla="*/ 297 h 2380"/>
                  <a:gd name="T68" fmla="*/ 50 w 1459"/>
                  <a:gd name="T69" fmla="*/ 276 h 2380"/>
                  <a:gd name="T70" fmla="*/ 68 w 1459"/>
                  <a:gd name="T71" fmla="*/ 250 h 2380"/>
                  <a:gd name="T72" fmla="*/ 211 w 1459"/>
                  <a:gd name="T73" fmla="*/ 200 h 2380"/>
                  <a:gd name="T74" fmla="*/ 438 w 1459"/>
                  <a:gd name="T75" fmla="*/ 144 h 2380"/>
                  <a:gd name="T76" fmla="*/ 473 w 1459"/>
                  <a:gd name="T77" fmla="*/ 127 h 2380"/>
                  <a:gd name="T78" fmla="*/ 461 w 1459"/>
                  <a:gd name="T79" fmla="*/ 114 h 2380"/>
                  <a:gd name="T80" fmla="*/ 340 w 1459"/>
                  <a:gd name="T81" fmla="*/ 95 h 2380"/>
                  <a:gd name="T82" fmla="*/ 67 w 1459"/>
                  <a:gd name="T83" fmla="*/ 72 h 2380"/>
                  <a:gd name="T84" fmla="*/ 1 w 1459"/>
                  <a:gd name="T85" fmla="*/ 60 h 2380"/>
                  <a:gd name="T86" fmla="*/ 18 w 1459"/>
                  <a:gd name="T87" fmla="*/ 49 h 2380"/>
                  <a:gd name="T88" fmla="*/ 141 w 1459"/>
                  <a:gd name="T89" fmla="*/ 31 h 2380"/>
                  <a:gd name="T90" fmla="*/ 202 w 1459"/>
                  <a:gd name="T91" fmla="*/ 27 h 2380"/>
                  <a:gd name="T92" fmla="*/ 234 w 1459"/>
                  <a:gd name="T93" fmla="*/ 17 h 2380"/>
                  <a:gd name="T94" fmla="*/ 200 w 1459"/>
                  <a:gd name="T95" fmla="*/ 7 h 2380"/>
                  <a:gd name="T96" fmla="*/ 145 w 1459"/>
                  <a:gd name="T97" fmla="*/ 1 h 2380"/>
                  <a:gd name="T98" fmla="*/ 126 w 1459"/>
                  <a:gd name="T99" fmla="*/ 0 h 2380"/>
                  <a:gd name="T100" fmla="*/ 200 w 1459"/>
                  <a:gd name="T101" fmla="*/ 7 h 2380"/>
                  <a:gd name="T102" fmla="*/ 233 w 1459"/>
                  <a:gd name="T103" fmla="*/ 16 h 2380"/>
                  <a:gd name="T104" fmla="*/ 213 w 1459"/>
                  <a:gd name="T105" fmla="*/ 24 h 2380"/>
                  <a:gd name="T106" fmla="*/ 141 w 1459"/>
                  <a:gd name="T107" fmla="*/ 31 h 2380"/>
                  <a:gd name="T108" fmla="*/ 18 w 1459"/>
                  <a:gd name="T109" fmla="*/ 49 h 2380"/>
                  <a:gd name="T110" fmla="*/ 1 w 1459"/>
                  <a:gd name="T111" fmla="*/ 60 h 2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59" h="2380">
                    <a:moveTo>
                      <a:pt x="33" y="69"/>
                    </a:moveTo>
                    <a:lnTo>
                      <a:pt x="33" y="69"/>
                    </a:lnTo>
                    <a:lnTo>
                      <a:pt x="102" y="75"/>
                    </a:lnTo>
                    <a:lnTo>
                      <a:pt x="102" y="75"/>
                    </a:lnTo>
                    <a:lnTo>
                      <a:pt x="178" y="82"/>
                    </a:lnTo>
                    <a:lnTo>
                      <a:pt x="257" y="88"/>
                    </a:lnTo>
                    <a:lnTo>
                      <a:pt x="257" y="88"/>
                    </a:lnTo>
                    <a:lnTo>
                      <a:pt x="338" y="96"/>
                    </a:lnTo>
                    <a:lnTo>
                      <a:pt x="382" y="101"/>
                    </a:lnTo>
                    <a:lnTo>
                      <a:pt x="427" y="108"/>
                    </a:lnTo>
                    <a:lnTo>
                      <a:pt x="427" y="108"/>
                    </a:lnTo>
                    <a:lnTo>
                      <a:pt x="449" y="113"/>
                    </a:lnTo>
                    <a:lnTo>
                      <a:pt x="460" y="117"/>
                    </a:lnTo>
                    <a:lnTo>
                      <a:pt x="466" y="119"/>
                    </a:lnTo>
                    <a:lnTo>
                      <a:pt x="469" y="121"/>
                    </a:lnTo>
                    <a:lnTo>
                      <a:pt x="469" y="121"/>
                    </a:lnTo>
                    <a:lnTo>
                      <a:pt x="471" y="122"/>
                    </a:lnTo>
                    <a:lnTo>
                      <a:pt x="472" y="124"/>
                    </a:lnTo>
                    <a:lnTo>
                      <a:pt x="471" y="125"/>
                    </a:lnTo>
                    <a:lnTo>
                      <a:pt x="469" y="128"/>
                    </a:lnTo>
                    <a:lnTo>
                      <a:pt x="469" y="128"/>
                    </a:lnTo>
                    <a:lnTo>
                      <a:pt x="462" y="132"/>
                    </a:lnTo>
                    <a:lnTo>
                      <a:pt x="454" y="135"/>
                    </a:lnTo>
                    <a:lnTo>
                      <a:pt x="437" y="141"/>
                    </a:lnTo>
                    <a:lnTo>
                      <a:pt x="437" y="141"/>
                    </a:lnTo>
                    <a:lnTo>
                      <a:pt x="415" y="149"/>
                    </a:lnTo>
                    <a:lnTo>
                      <a:pt x="392" y="154"/>
                    </a:lnTo>
                    <a:lnTo>
                      <a:pt x="346" y="165"/>
                    </a:lnTo>
                    <a:lnTo>
                      <a:pt x="346" y="165"/>
                    </a:lnTo>
                    <a:lnTo>
                      <a:pt x="248" y="186"/>
                    </a:lnTo>
                    <a:lnTo>
                      <a:pt x="204" y="196"/>
                    </a:lnTo>
                    <a:lnTo>
                      <a:pt x="163" y="205"/>
                    </a:lnTo>
                    <a:lnTo>
                      <a:pt x="127" y="215"/>
                    </a:lnTo>
                    <a:lnTo>
                      <a:pt x="97" y="226"/>
                    </a:lnTo>
                    <a:lnTo>
                      <a:pt x="84" y="231"/>
                    </a:lnTo>
                    <a:lnTo>
                      <a:pt x="72" y="237"/>
                    </a:lnTo>
                    <a:lnTo>
                      <a:pt x="62" y="243"/>
                    </a:lnTo>
                    <a:lnTo>
                      <a:pt x="53" y="250"/>
                    </a:lnTo>
                    <a:lnTo>
                      <a:pt x="53" y="250"/>
                    </a:lnTo>
                    <a:lnTo>
                      <a:pt x="47" y="256"/>
                    </a:lnTo>
                    <a:lnTo>
                      <a:pt x="44" y="263"/>
                    </a:lnTo>
                    <a:lnTo>
                      <a:pt x="41" y="271"/>
                    </a:lnTo>
                    <a:lnTo>
                      <a:pt x="41" y="277"/>
                    </a:lnTo>
                    <a:lnTo>
                      <a:pt x="42" y="284"/>
                    </a:lnTo>
                    <a:lnTo>
                      <a:pt x="46" y="290"/>
                    </a:lnTo>
                    <a:lnTo>
                      <a:pt x="50" y="297"/>
                    </a:lnTo>
                    <a:lnTo>
                      <a:pt x="56" y="301"/>
                    </a:lnTo>
                    <a:lnTo>
                      <a:pt x="56" y="301"/>
                    </a:lnTo>
                    <a:lnTo>
                      <a:pt x="63" y="306"/>
                    </a:lnTo>
                    <a:lnTo>
                      <a:pt x="72" y="310"/>
                    </a:lnTo>
                    <a:lnTo>
                      <a:pt x="94" y="319"/>
                    </a:lnTo>
                    <a:lnTo>
                      <a:pt x="123" y="327"/>
                    </a:lnTo>
                    <a:lnTo>
                      <a:pt x="155" y="334"/>
                    </a:lnTo>
                    <a:lnTo>
                      <a:pt x="192" y="342"/>
                    </a:lnTo>
                    <a:lnTo>
                      <a:pt x="233" y="349"/>
                    </a:lnTo>
                    <a:lnTo>
                      <a:pt x="324" y="364"/>
                    </a:lnTo>
                    <a:lnTo>
                      <a:pt x="324" y="364"/>
                    </a:lnTo>
                    <a:lnTo>
                      <a:pt x="414" y="378"/>
                    </a:lnTo>
                    <a:lnTo>
                      <a:pt x="521" y="396"/>
                    </a:lnTo>
                    <a:lnTo>
                      <a:pt x="579" y="406"/>
                    </a:lnTo>
                    <a:lnTo>
                      <a:pt x="639" y="418"/>
                    </a:lnTo>
                    <a:lnTo>
                      <a:pt x="701" y="430"/>
                    </a:lnTo>
                    <a:lnTo>
                      <a:pt x="764" y="444"/>
                    </a:lnTo>
                    <a:lnTo>
                      <a:pt x="826" y="460"/>
                    </a:lnTo>
                    <a:lnTo>
                      <a:pt x="889" y="476"/>
                    </a:lnTo>
                    <a:lnTo>
                      <a:pt x="950" y="494"/>
                    </a:lnTo>
                    <a:lnTo>
                      <a:pt x="1010" y="514"/>
                    </a:lnTo>
                    <a:lnTo>
                      <a:pt x="1038" y="524"/>
                    </a:lnTo>
                    <a:lnTo>
                      <a:pt x="1066" y="535"/>
                    </a:lnTo>
                    <a:lnTo>
                      <a:pt x="1093" y="546"/>
                    </a:lnTo>
                    <a:lnTo>
                      <a:pt x="1120" y="559"/>
                    </a:lnTo>
                    <a:lnTo>
                      <a:pt x="1146" y="571"/>
                    </a:lnTo>
                    <a:lnTo>
                      <a:pt x="1170" y="584"/>
                    </a:lnTo>
                    <a:lnTo>
                      <a:pt x="1193" y="597"/>
                    </a:lnTo>
                    <a:lnTo>
                      <a:pt x="1216" y="610"/>
                    </a:lnTo>
                    <a:lnTo>
                      <a:pt x="1216" y="610"/>
                    </a:lnTo>
                    <a:lnTo>
                      <a:pt x="1241" y="627"/>
                    </a:lnTo>
                    <a:lnTo>
                      <a:pt x="1264" y="644"/>
                    </a:lnTo>
                    <a:lnTo>
                      <a:pt x="1286" y="662"/>
                    </a:lnTo>
                    <a:lnTo>
                      <a:pt x="1308" y="682"/>
                    </a:lnTo>
                    <a:lnTo>
                      <a:pt x="1327" y="703"/>
                    </a:lnTo>
                    <a:lnTo>
                      <a:pt x="1346" y="725"/>
                    </a:lnTo>
                    <a:lnTo>
                      <a:pt x="1364" y="748"/>
                    </a:lnTo>
                    <a:lnTo>
                      <a:pt x="1379" y="772"/>
                    </a:lnTo>
                    <a:lnTo>
                      <a:pt x="1379" y="772"/>
                    </a:lnTo>
                    <a:lnTo>
                      <a:pt x="1387" y="786"/>
                    </a:lnTo>
                    <a:lnTo>
                      <a:pt x="1394" y="800"/>
                    </a:lnTo>
                    <a:lnTo>
                      <a:pt x="1400" y="815"/>
                    </a:lnTo>
                    <a:lnTo>
                      <a:pt x="1405" y="828"/>
                    </a:lnTo>
                    <a:lnTo>
                      <a:pt x="1411" y="842"/>
                    </a:lnTo>
                    <a:lnTo>
                      <a:pt x="1414" y="855"/>
                    </a:lnTo>
                    <a:lnTo>
                      <a:pt x="1418" y="869"/>
                    </a:lnTo>
                    <a:lnTo>
                      <a:pt x="1420" y="882"/>
                    </a:lnTo>
                    <a:lnTo>
                      <a:pt x="1421" y="895"/>
                    </a:lnTo>
                    <a:lnTo>
                      <a:pt x="1422" y="908"/>
                    </a:lnTo>
                    <a:lnTo>
                      <a:pt x="1422" y="920"/>
                    </a:lnTo>
                    <a:lnTo>
                      <a:pt x="1421" y="933"/>
                    </a:lnTo>
                    <a:lnTo>
                      <a:pt x="1418" y="960"/>
                    </a:lnTo>
                    <a:lnTo>
                      <a:pt x="1412" y="985"/>
                    </a:lnTo>
                    <a:lnTo>
                      <a:pt x="1412" y="985"/>
                    </a:lnTo>
                    <a:lnTo>
                      <a:pt x="1405" y="1010"/>
                    </a:lnTo>
                    <a:lnTo>
                      <a:pt x="1401" y="1022"/>
                    </a:lnTo>
                    <a:lnTo>
                      <a:pt x="1396" y="1036"/>
                    </a:lnTo>
                    <a:lnTo>
                      <a:pt x="1389" y="1049"/>
                    </a:lnTo>
                    <a:lnTo>
                      <a:pt x="1381" y="1063"/>
                    </a:lnTo>
                    <a:lnTo>
                      <a:pt x="1371" y="1080"/>
                    </a:lnTo>
                    <a:lnTo>
                      <a:pt x="1359" y="1097"/>
                    </a:lnTo>
                    <a:lnTo>
                      <a:pt x="1329" y="1140"/>
                    </a:lnTo>
                    <a:lnTo>
                      <a:pt x="1285" y="1194"/>
                    </a:lnTo>
                    <a:lnTo>
                      <a:pt x="1227" y="1264"/>
                    </a:lnTo>
                    <a:lnTo>
                      <a:pt x="1154" y="1351"/>
                    </a:lnTo>
                    <a:lnTo>
                      <a:pt x="1154" y="1351"/>
                    </a:lnTo>
                    <a:lnTo>
                      <a:pt x="1098" y="1416"/>
                    </a:lnTo>
                    <a:lnTo>
                      <a:pt x="1041" y="1480"/>
                    </a:lnTo>
                    <a:lnTo>
                      <a:pt x="968" y="1559"/>
                    </a:lnTo>
                    <a:lnTo>
                      <a:pt x="862" y="1668"/>
                    </a:lnTo>
                    <a:lnTo>
                      <a:pt x="862" y="1668"/>
                    </a:lnTo>
                    <a:lnTo>
                      <a:pt x="627" y="1908"/>
                    </a:lnTo>
                    <a:lnTo>
                      <a:pt x="538" y="1999"/>
                    </a:lnTo>
                    <a:lnTo>
                      <a:pt x="462" y="2074"/>
                    </a:lnTo>
                    <a:lnTo>
                      <a:pt x="394" y="2141"/>
                    </a:lnTo>
                    <a:lnTo>
                      <a:pt x="327" y="2206"/>
                    </a:lnTo>
                    <a:lnTo>
                      <a:pt x="257" y="2271"/>
                    </a:lnTo>
                    <a:lnTo>
                      <a:pt x="179" y="2344"/>
                    </a:lnTo>
                    <a:lnTo>
                      <a:pt x="179" y="2344"/>
                    </a:lnTo>
                    <a:lnTo>
                      <a:pt x="139" y="2380"/>
                    </a:lnTo>
                    <a:lnTo>
                      <a:pt x="237" y="2380"/>
                    </a:lnTo>
                    <a:lnTo>
                      <a:pt x="237" y="2380"/>
                    </a:lnTo>
                    <a:lnTo>
                      <a:pt x="332" y="2291"/>
                    </a:lnTo>
                    <a:lnTo>
                      <a:pt x="413" y="2213"/>
                    </a:lnTo>
                    <a:lnTo>
                      <a:pt x="487" y="2139"/>
                    </a:lnTo>
                    <a:lnTo>
                      <a:pt x="557" y="2068"/>
                    </a:lnTo>
                    <a:lnTo>
                      <a:pt x="629" y="1992"/>
                    </a:lnTo>
                    <a:lnTo>
                      <a:pt x="707" y="1908"/>
                    </a:lnTo>
                    <a:lnTo>
                      <a:pt x="899" y="1702"/>
                    </a:lnTo>
                    <a:lnTo>
                      <a:pt x="899" y="1702"/>
                    </a:lnTo>
                    <a:lnTo>
                      <a:pt x="978" y="1617"/>
                    </a:lnTo>
                    <a:lnTo>
                      <a:pt x="1045" y="1542"/>
                    </a:lnTo>
                    <a:lnTo>
                      <a:pt x="1111" y="1467"/>
                    </a:lnTo>
                    <a:lnTo>
                      <a:pt x="1186" y="1379"/>
                    </a:lnTo>
                    <a:lnTo>
                      <a:pt x="1186" y="1379"/>
                    </a:lnTo>
                    <a:lnTo>
                      <a:pt x="1258" y="1293"/>
                    </a:lnTo>
                    <a:lnTo>
                      <a:pt x="1315" y="1223"/>
                    </a:lnTo>
                    <a:lnTo>
                      <a:pt x="1358" y="1168"/>
                    </a:lnTo>
                    <a:lnTo>
                      <a:pt x="1376" y="1144"/>
                    </a:lnTo>
                    <a:lnTo>
                      <a:pt x="1391" y="1124"/>
                    </a:lnTo>
                    <a:lnTo>
                      <a:pt x="1403" y="1104"/>
                    </a:lnTo>
                    <a:lnTo>
                      <a:pt x="1414" y="1086"/>
                    </a:lnTo>
                    <a:lnTo>
                      <a:pt x="1423" y="1071"/>
                    </a:lnTo>
                    <a:lnTo>
                      <a:pt x="1430" y="1055"/>
                    </a:lnTo>
                    <a:lnTo>
                      <a:pt x="1436" y="1040"/>
                    </a:lnTo>
                    <a:lnTo>
                      <a:pt x="1442" y="1026"/>
                    </a:lnTo>
                    <a:lnTo>
                      <a:pt x="1449" y="995"/>
                    </a:lnTo>
                    <a:lnTo>
                      <a:pt x="1449" y="995"/>
                    </a:lnTo>
                    <a:lnTo>
                      <a:pt x="1456" y="965"/>
                    </a:lnTo>
                    <a:lnTo>
                      <a:pt x="1457" y="950"/>
                    </a:lnTo>
                    <a:lnTo>
                      <a:pt x="1458" y="936"/>
                    </a:lnTo>
                    <a:lnTo>
                      <a:pt x="1459" y="921"/>
                    </a:lnTo>
                    <a:lnTo>
                      <a:pt x="1459" y="906"/>
                    </a:lnTo>
                    <a:lnTo>
                      <a:pt x="1457" y="892"/>
                    </a:lnTo>
                    <a:lnTo>
                      <a:pt x="1456" y="876"/>
                    </a:lnTo>
                    <a:lnTo>
                      <a:pt x="1453" y="862"/>
                    </a:lnTo>
                    <a:lnTo>
                      <a:pt x="1449" y="847"/>
                    </a:lnTo>
                    <a:lnTo>
                      <a:pt x="1445" y="831"/>
                    </a:lnTo>
                    <a:lnTo>
                      <a:pt x="1440" y="816"/>
                    </a:lnTo>
                    <a:lnTo>
                      <a:pt x="1433" y="800"/>
                    </a:lnTo>
                    <a:lnTo>
                      <a:pt x="1426" y="785"/>
                    </a:lnTo>
                    <a:lnTo>
                      <a:pt x="1418" y="770"/>
                    </a:lnTo>
                    <a:lnTo>
                      <a:pt x="1409" y="754"/>
                    </a:lnTo>
                    <a:lnTo>
                      <a:pt x="1409" y="754"/>
                    </a:lnTo>
                    <a:lnTo>
                      <a:pt x="1391" y="728"/>
                    </a:lnTo>
                    <a:lnTo>
                      <a:pt x="1372" y="704"/>
                    </a:lnTo>
                    <a:lnTo>
                      <a:pt x="1353" y="681"/>
                    </a:lnTo>
                    <a:lnTo>
                      <a:pt x="1331" y="659"/>
                    </a:lnTo>
                    <a:lnTo>
                      <a:pt x="1308" y="639"/>
                    </a:lnTo>
                    <a:lnTo>
                      <a:pt x="1283" y="619"/>
                    </a:lnTo>
                    <a:lnTo>
                      <a:pt x="1258" y="601"/>
                    </a:lnTo>
                    <a:lnTo>
                      <a:pt x="1232" y="585"/>
                    </a:lnTo>
                    <a:lnTo>
                      <a:pt x="1232" y="585"/>
                    </a:lnTo>
                    <a:lnTo>
                      <a:pt x="1210" y="571"/>
                    </a:lnTo>
                    <a:lnTo>
                      <a:pt x="1187" y="559"/>
                    </a:lnTo>
                    <a:lnTo>
                      <a:pt x="1163" y="546"/>
                    </a:lnTo>
                    <a:lnTo>
                      <a:pt x="1137" y="534"/>
                    </a:lnTo>
                    <a:lnTo>
                      <a:pt x="1111" y="523"/>
                    </a:lnTo>
                    <a:lnTo>
                      <a:pt x="1084" y="512"/>
                    </a:lnTo>
                    <a:lnTo>
                      <a:pt x="1028" y="492"/>
                    </a:lnTo>
                    <a:lnTo>
                      <a:pt x="971" y="473"/>
                    </a:lnTo>
                    <a:lnTo>
                      <a:pt x="912" y="456"/>
                    </a:lnTo>
                    <a:lnTo>
                      <a:pt x="850" y="441"/>
                    </a:lnTo>
                    <a:lnTo>
                      <a:pt x="789" y="427"/>
                    </a:lnTo>
                    <a:lnTo>
                      <a:pt x="727" y="413"/>
                    </a:lnTo>
                    <a:lnTo>
                      <a:pt x="666" y="401"/>
                    </a:lnTo>
                    <a:lnTo>
                      <a:pt x="604" y="391"/>
                    </a:lnTo>
                    <a:lnTo>
                      <a:pt x="545" y="382"/>
                    </a:lnTo>
                    <a:lnTo>
                      <a:pt x="430" y="364"/>
                    </a:lnTo>
                    <a:lnTo>
                      <a:pt x="326" y="350"/>
                    </a:lnTo>
                    <a:lnTo>
                      <a:pt x="326" y="350"/>
                    </a:lnTo>
                    <a:lnTo>
                      <a:pt x="235" y="335"/>
                    </a:lnTo>
                    <a:lnTo>
                      <a:pt x="194" y="329"/>
                    </a:lnTo>
                    <a:lnTo>
                      <a:pt x="157" y="322"/>
                    </a:lnTo>
                    <a:lnTo>
                      <a:pt x="125" y="316"/>
                    </a:lnTo>
                    <a:lnTo>
                      <a:pt x="99" y="309"/>
                    </a:lnTo>
                    <a:lnTo>
                      <a:pt x="77" y="301"/>
                    </a:lnTo>
                    <a:lnTo>
                      <a:pt x="69" y="297"/>
                    </a:lnTo>
                    <a:lnTo>
                      <a:pt x="61" y="294"/>
                    </a:lnTo>
                    <a:lnTo>
                      <a:pt x="61" y="294"/>
                    </a:lnTo>
                    <a:lnTo>
                      <a:pt x="57" y="289"/>
                    </a:lnTo>
                    <a:lnTo>
                      <a:pt x="53" y="285"/>
                    </a:lnTo>
                    <a:lnTo>
                      <a:pt x="51" y="280"/>
                    </a:lnTo>
                    <a:lnTo>
                      <a:pt x="50" y="276"/>
                    </a:lnTo>
                    <a:lnTo>
                      <a:pt x="50" y="271"/>
                    </a:lnTo>
                    <a:lnTo>
                      <a:pt x="52" y="266"/>
                    </a:lnTo>
                    <a:lnTo>
                      <a:pt x="56" y="261"/>
                    </a:lnTo>
                    <a:lnTo>
                      <a:pt x="60" y="255"/>
                    </a:lnTo>
                    <a:lnTo>
                      <a:pt x="60" y="255"/>
                    </a:lnTo>
                    <a:lnTo>
                      <a:pt x="68" y="250"/>
                    </a:lnTo>
                    <a:lnTo>
                      <a:pt x="78" y="243"/>
                    </a:lnTo>
                    <a:lnTo>
                      <a:pt x="90" y="238"/>
                    </a:lnTo>
                    <a:lnTo>
                      <a:pt x="103" y="231"/>
                    </a:lnTo>
                    <a:lnTo>
                      <a:pt x="134" y="220"/>
                    </a:lnTo>
                    <a:lnTo>
                      <a:pt x="170" y="210"/>
                    </a:lnTo>
                    <a:lnTo>
                      <a:pt x="211" y="200"/>
                    </a:lnTo>
                    <a:lnTo>
                      <a:pt x="254" y="190"/>
                    </a:lnTo>
                    <a:lnTo>
                      <a:pt x="347" y="168"/>
                    </a:lnTo>
                    <a:lnTo>
                      <a:pt x="347" y="168"/>
                    </a:lnTo>
                    <a:lnTo>
                      <a:pt x="393" y="157"/>
                    </a:lnTo>
                    <a:lnTo>
                      <a:pt x="416" y="151"/>
                    </a:lnTo>
                    <a:lnTo>
                      <a:pt x="438" y="144"/>
                    </a:lnTo>
                    <a:lnTo>
                      <a:pt x="438" y="144"/>
                    </a:lnTo>
                    <a:lnTo>
                      <a:pt x="455" y="138"/>
                    </a:lnTo>
                    <a:lnTo>
                      <a:pt x="463" y="134"/>
                    </a:lnTo>
                    <a:lnTo>
                      <a:pt x="470" y="130"/>
                    </a:lnTo>
                    <a:lnTo>
                      <a:pt x="470" y="130"/>
                    </a:lnTo>
                    <a:lnTo>
                      <a:pt x="473" y="127"/>
                    </a:lnTo>
                    <a:lnTo>
                      <a:pt x="474" y="124"/>
                    </a:lnTo>
                    <a:lnTo>
                      <a:pt x="473" y="121"/>
                    </a:lnTo>
                    <a:lnTo>
                      <a:pt x="471" y="119"/>
                    </a:lnTo>
                    <a:lnTo>
                      <a:pt x="471" y="119"/>
                    </a:lnTo>
                    <a:lnTo>
                      <a:pt x="467" y="117"/>
                    </a:lnTo>
                    <a:lnTo>
                      <a:pt x="461" y="114"/>
                    </a:lnTo>
                    <a:lnTo>
                      <a:pt x="450" y="110"/>
                    </a:lnTo>
                    <a:lnTo>
                      <a:pt x="438" y="108"/>
                    </a:lnTo>
                    <a:lnTo>
                      <a:pt x="427" y="106"/>
                    </a:lnTo>
                    <a:lnTo>
                      <a:pt x="427" y="106"/>
                    </a:lnTo>
                    <a:lnTo>
                      <a:pt x="383" y="99"/>
                    </a:lnTo>
                    <a:lnTo>
                      <a:pt x="340" y="95"/>
                    </a:lnTo>
                    <a:lnTo>
                      <a:pt x="257" y="87"/>
                    </a:lnTo>
                    <a:lnTo>
                      <a:pt x="257" y="87"/>
                    </a:lnTo>
                    <a:lnTo>
                      <a:pt x="178" y="80"/>
                    </a:lnTo>
                    <a:lnTo>
                      <a:pt x="103" y="75"/>
                    </a:lnTo>
                    <a:lnTo>
                      <a:pt x="103" y="75"/>
                    </a:lnTo>
                    <a:lnTo>
                      <a:pt x="67" y="72"/>
                    </a:lnTo>
                    <a:lnTo>
                      <a:pt x="33" y="68"/>
                    </a:lnTo>
                    <a:lnTo>
                      <a:pt x="33" y="68"/>
                    </a:lnTo>
                    <a:lnTo>
                      <a:pt x="14" y="66"/>
                    </a:lnTo>
                    <a:lnTo>
                      <a:pt x="6" y="63"/>
                    </a:lnTo>
                    <a:lnTo>
                      <a:pt x="3" y="62"/>
                    </a:lnTo>
                    <a:lnTo>
                      <a:pt x="1" y="60"/>
                    </a:lnTo>
                    <a:lnTo>
                      <a:pt x="1" y="60"/>
                    </a:lnTo>
                    <a:lnTo>
                      <a:pt x="0" y="57"/>
                    </a:lnTo>
                    <a:lnTo>
                      <a:pt x="2" y="55"/>
                    </a:lnTo>
                    <a:lnTo>
                      <a:pt x="5" y="53"/>
                    </a:lnTo>
                    <a:lnTo>
                      <a:pt x="9" y="52"/>
                    </a:lnTo>
                    <a:lnTo>
                      <a:pt x="18" y="49"/>
                    </a:lnTo>
                    <a:lnTo>
                      <a:pt x="27" y="46"/>
                    </a:lnTo>
                    <a:lnTo>
                      <a:pt x="27" y="46"/>
                    </a:lnTo>
                    <a:lnTo>
                      <a:pt x="57" y="41"/>
                    </a:lnTo>
                    <a:lnTo>
                      <a:pt x="86" y="38"/>
                    </a:lnTo>
                    <a:lnTo>
                      <a:pt x="86" y="38"/>
                    </a:lnTo>
                    <a:lnTo>
                      <a:pt x="141" y="31"/>
                    </a:lnTo>
                    <a:lnTo>
                      <a:pt x="141" y="31"/>
                    </a:lnTo>
                    <a:lnTo>
                      <a:pt x="167" y="29"/>
                    </a:lnTo>
                    <a:lnTo>
                      <a:pt x="167" y="29"/>
                    </a:lnTo>
                    <a:lnTo>
                      <a:pt x="191" y="28"/>
                    </a:lnTo>
                    <a:lnTo>
                      <a:pt x="191" y="28"/>
                    </a:lnTo>
                    <a:lnTo>
                      <a:pt x="202" y="27"/>
                    </a:lnTo>
                    <a:lnTo>
                      <a:pt x="215" y="24"/>
                    </a:lnTo>
                    <a:lnTo>
                      <a:pt x="226" y="22"/>
                    </a:lnTo>
                    <a:lnTo>
                      <a:pt x="230" y="20"/>
                    </a:lnTo>
                    <a:lnTo>
                      <a:pt x="233" y="19"/>
                    </a:lnTo>
                    <a:lnTo>
                      <a:pt x="233" y="19"/>
                    </a:lnTo>
                    <a:lnTo>
                      <a:pt x="234" y="17"/>
                    </a:lnTo>
                    <a:lnTo>
                      <a:pt x="233" y="16"/>
                    </a:lnTo>
                    <a:lnTo>
                      <a:pt x="232" y="14"/>
                    </a:lnTo>
                    <a:lnTo>
                      <a:pt x="232" y="14"/>
                    </a:lnTo>
                    <a:lnTo>
                      <a:pt x="225" y="11"/>
                    </a:lnTo>
                    <a:lnTo>
                      <a:pt x="216" y="9"/>
                    </a:lnTo>
                    <a:lnTo>
                      <a:pt x="200" y="7"/>
                    </a:lnTo>
                    <a:lnTo>
                      <a:pt x="200" y="7"/>
                    </a:lnTo>
                    <a:lnTo>
                      <a:pt x="183" y="5"/>
                    </a:lnTo>
                    <a:lnTo>
                      <a:pt x="183" y="5"/>
                    </a:lnTo>
                    <a:lnTo>
                      <a:pt x="169" y="2"/>
                    </a:lnTo>
                    <a:lnTo>
                      <a:pt x="169" y="2"/>
                    </a:lnTo>
                    <a:lnTo>
                      <a:pt x="145" y="1"/>
                    </a:lnTo>
                    <a:lnTo>
                      <a:pt x="126" y="0"/>
                    </a:lnTo>
                    <a:lnTo>
                      <a:pt x="126" y="0"/>
                    </a:lnTo>
                    <a:lnTo>
                      <a:pt x="113" y="0"/>
                    </a:lnTo>
                    <a:lnTo>
                      <a:pt x="113" y="0"/>
                    </a:lnTo>
                    <a:lnTo>
                      <a:pt x="126" y="0"/>
                    </a:lnTo>
                    <a:lnTo>
                      <a:pt x="126" y="0"/>
                    </a:lnTo>
                    <a:lnTo>
                      <a:pt x="145" y="1"/>
                    </a:lnTo>
                    <a:lnTo>
                      <a:pt x="169" y="2"/>
                    </a:lnTo>
                    <a:lnTo>
                      <a:pt x="169" y="2"/>
                    </a:lnTo>
                    <a:lnTo>
                      <a:pt x="183" y="5"/>
                    </a:lnTo>
                    <a:lnTo>
                      <a:pt x="183" y="5"/>
                    </a:lnTo>
                    <a:lnTo>
                      <a:pt x="200" y="7"/>
                    </a:lnTo>
                    <a:lnTo>
                      <a:pt x="200" y="7"/>
                    </a:lnTo>
                    <a:lnTo>
                      <a:pt x="216" y="9"/>
                    </a:lnTo>
                    <a:lnTo>
                      <a:pt x="225" y="11"/>
                    </a:lnTo>
                    <a:lnTo>
                      <a:pt x="232" y="14"/>
                    </a:lnTo>
                    <a:lnTo>
                      <a:pt x="232" y="14"/>
                    </a:lnTo>
                    <a:lnTo>
                      <a:pt x="233" y="16"/>
                    </a:lnTo>
                    <a:lnTo>
                      <a:pt x="234" y="17"/>
                    </a:lnTo>
                    <a:lnTo>
                      <a:pt x="233" y="19"/>
                    </a:lnTo>
                    <a:lnTo>
                      <a:pt x="233" y="19"/>
                    </a:lnTo>
                    <a:lnTo>
                      <a:pt x="229" y="20"/>
                    </a:lnTo>
                    <a:lnTo>
                      <a:pt x="225" y="22"/>
                    </a:lnTo>
                    <a:lnTo>
                      <a:pt x="213" y="24"/>
                    </a:lnTo>
                    <a:lnTo>
                      <a:pt x="191" y="28"/>
                    </a:lnTo>
                    <a:lnTo>
                      <a:pt x="191" y="28"/>
                    </a:lnTo>
                    <a:lnTo>
                      <a:pt x="167" y="29"/>
                    </a:lnTo>
                    <a:lnTo>
                      <a:pt x="167" y="29"/>
                    </a:lnTo>
                    <a:lnTo>
                      <a:pt x="141" y="31"/>
                    </a:lnTo>
                    <a:lnTo>
                      <a:pt x="141" y="31"/>
                    </a:lnTo>
                    <a:lnTo>
                      <a:pt x="86" y="36"/>
                    </a:lnTo>
                    <a:lnTo>
                      <a:pt x="86" y="36"/>
                    </a:lnTo>
                    <a:lnTo>
                      <a:pt x="57" y="41"/>
                    </a:lnTo>
                    <a:lnTo>
                      <a:pt x="27" y="46"/>
                    </a:lnTo>
                    <a:lnTo>
                      <a:pt x="27" y="46"/>
                    </a:lnTo>
                    <a:lnTo>
                      <a:pt x="18" y="49"/>
                    </a:lnTo>
                    <a:lnTo>
                      <a:pt x="8" y="51"/>
                    </a:lnTo>
                    <a:lnTo>
                      <a:pt x="4" y="53"/>
                    </a:lnTo>
                    <a:lnTo>
                      <a:pt x="1" y="55"/>
                    </a:lnTo>
                    <a:lnTo>
                      <a:pt x="0" y="57"/>
                    </a:lnTo>
                    <a:lnTo>
                      <a:pt x="1" y="60"/>
                    </a:lnTo>
                    <a:lnTo>
                      <a:pt x="1" y="60"/>
                    </a:lnTo>
                    <a:lnTo>
                      <a:pt x="3" y="62"/>
                    </a:lnTo>
                    <a:lnTo>
                      <a:pt x="6" y="64"/>
                    </a:lnTo>
                    <a:lnTo>
                      <a:pt x="15" y="66"/>
                    </a:lnTo>
                    <a:lnTo>
                      <a:pt x="33" y="69"/>
                    </a:lnTo>
                    <a:lnTo>
                      <a:pt x="33" y="6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p>
            </p:txBody>
          </p:sp>
        </p:grpSp>
        <p:grpSp>
          <p:nvGrpSpPr>
            <p:cNvPr id="7" name="ïṥļíḑé"/>
            <p:cNvGrpSpPr/>
            <p:nvPr/>
          </p:nvGrpSpPr>
          <p:grpSpPr>
            <a:xfrm>
              <a:off x="1959474" y="5140886"/>
              <a:ext cx="2240908" cy="1005914"/>
              <a:chOff x="3134941" y="3541240"/>
              <a:chExt cx="2240908" cy="1005914"/>
            </a:xfrm>
          </p:grpSpPr>
          <p:grpSp>
            <p:nvGrpSpPr>
              <p:cNvPr id="43" name="işľîďè"/>
              <p:cNvGrpSpPr/>
              <p:nvPr/>
            </p:nvGrpSpPr>
            <p:grpSpPr>
              <a:xfrm>
                <a:off x="3134941" y="3541240"/>
                <a:ext cx="1475629" cy="1005914"/>
                <a:chOff x="4243853" y="2741333"/>
                <a:chExt cx="1475629" cy="1005914"/>
              </a:xfrm>
            </p:grpSpPr>
            <p:sp>
              <p:nvSpPr>
                <p:cNvPr id="47" name="ïṧḻiďè">
                  <a:extLst>
                    <a:ext uri="{FF2B5EF4-FFF2-40B4-BE49-F238E27FC236}">
                      <a16:creationId xmlns:a16="http://schemas.microsoft.com/office/drawing/2014/main" id="{73DA5CA1-A22D-45FF-B355-18D3880E7B99}"/>
                    </a:ext>
                  </a:extLst>
                </p:cNvPr>
                <p:cNvSpPr/>
                <p:nvPr/>
              </p:nvSpPr>
              <p:spPr>
                <a:xfrm>
                  <a:off x="4243855" y="2741333"/>
                  <a:ext cx="1475627" cy="410188"/>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r">
                    <a:lnSpc>
                      <a:spcPct val="120000"/>
                    </a:lnSpc>
                  </a:pPr>
                  <a:r>
                    <a:rPr lang="en-US" altLang="zh-CN" sz="1400" b="1">
                      <a:solidFill>
                        <a:schemeClr val="tx1"/>
                      </a:solidFill>
                    </a:rPr>
                    <a:t>Text h</a:t>
                  </a:r>
                  <a:r>
                    <a:rPr lang="en-US" altLang="zh-CN" sz="100" b="1">
                      <a:solidFill>
                        <a:schemeClr val="tx1"/>
                      </a:solidFill>
                    </a:rPr>
                    <a:t> </a:t>
                  </a:r>
                  <a:r>
                    <a:rPr lang="en-US" altLang="zh-CN" sz="1400" b="1">
                      <a:solidFill>
                        <a:schemeClr val="tx1"/>
                      </a:solidFill>
                    </a:rPr>
                    <a:t>ere</a:t>
                  </a:r>
                  <a:endParaRPr lang="zh-CN" altLang="en-US" sz="1400" b="1" dirty="0">
                    <a:solidFill>
                      <a:schemeClr val="tx1"/>
                    </a:solidFill>
                  </a:endParaRPr>
                </a:p>
              </p:txBody>
            </p:sp>
            <p:sp>
              <p:nvSpPr>
                <p:cNvPr id="48" name="ïṣľîḓê">
                  <a:extLst>
                    <a:ext uri="{FF2B5EF4-FFF2-40B4-BE49-F238E27FC236}">
                      <a16:creationId xmlns:a16="http://schemas.microsoft.com/office/drawing/2014/main" id="{B40F5E8D-FBEB-4054-86D5-66BEF7C4392C}"/>
                    </a:ext>
                  </a:extLst>
                </p:cNvPr>
                <p:cNvSpPr txBox="1"/>
                <p:nvPr/>
              </p:nvSpPr>
              <p:spPr>
                <a:xfrm>
                  <a:off x="4243853" y="3151522"/>
                  <a:ext cx="1475628" cy="595725"/>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50000"/>
                    </a:lnSpc>
                    <a:spcBef>
                      <a:spcPct val="0"/>
                    </a:spcBef>
                  </a:pPr>
                  <a:r>
                    <a:rPr lang="en-US" altLang="zh-CN" sz="1000" dirty="0"/>
                    <a:t>Supporting </a:t>
                  </a:r>
                  <a:r>
                    <a:rPr lang="en-US" altLang="zh-CN" sz="1000"/>
                    <a:t>text h</a:t>
                  </a:r>
                  <a:r>
                    <a:rPr lang="en-US" altLang="zh-CN" sz="100"/>
                    <a:t> </a:t>
                  </a:r>
                  <a:r>
                    <a:rPr lang="en-US" altLang="zh-CN" sz="1000"/>
                    <a:t>ere</a:t>
                  </a:r>
                  <a:r>
                    <a:rPr lang="en-US" altLang="zh-CN" sz="1000" dirty="0"/>
                    <a:t>.</a:t>
                  </a:r>
                </a:p>
                <a:p>
                  <a:pPr algn="r">
                    <a:lnSpc>
                      <a:spcPct val="150000"/>
                    </a:lnSpc>
                    <a:spcBef>
                      <a:spcPct val="0"/>
                    </a:spcBef>
                  </a:pPr>
                  <a:r>
                    <a:rPr lang="en-US" altLang="zh-CN" sz="1000" dirty="0"/>
                    <a:t>……</a:t>
                  </a:r>
                </a:p>
              </p:txBody>
            </p:sp>
          </p:grpSp>
          <p:grpSp>
            <p:nvGrpSpPr>
              <p:cNvPr id="44" name="íŝliḋê"/>
              <p:cNvGrpSpPr/>
              <p:nvPr/>
            </p:nvGrpSpPr>
            <p:grpSpPr>
              <a:xfrm>
                <a:off x="4804337" y="3758441"/>
                <a:ext cx="571512" cy="571512"/>
                <a:chOff x="4123765" y="2164043"/>
                <a:chExt cx="457200" cy="457200"/>
              </a:xfrm>
            </p:grpSpPr>
            <p:sp>
              <p:nvSpPr>
                <p:cNvPr id="45" name="íś1iḑe"/>
                <p:cNvSpPr/>
                <p:nvPr/>
              </p:nvSpPr>
              <p:spPr>
                <a:xfrm>
                  <a:off x="4123765" y="2164043"/>
                  <a:ext cx="457200" cy="457200"/>
                </a:xfrm>
                <a:prstGeom prst="ellipse">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sp>
              <p:nvSpPr>
                <p:cNvPr id="46" name="ï$ļïdé"/>
                <p:cNvSpPr/>
                <p:nvPr/>
              </p:nvSpPr>
              <p:spPr>
                <a:xfrm>
                  <a:off x="4243855" y="2308048"/>
                  <a:ext cx="217020" cy="169187"/>
                </a:xfrm>
                <a:custGeom>
                  <a:avLst/>
                  <a:gdLst>
                    <a:gd name="connsiteX0" fmla="*/ 427673 w 608989"/>
                    <a:gd name="connsiteY0" fmla="*/ 372781 h 474764"/>
                    <a:gd name="connsiteX1" fmla="*/ 393797 w 608989"/>
                    <a:gd name="connsiteY1" fmla="*/ 406614 h 474764"/>
                    <a:gd name="connsiteX2" fmla="*/ 427673 w 608989"/>
                    <a:gd name="connsiteY2" fmla="*/ 440448 h 474764"/>
                    <a:gd name="connsiteX3" fmla="*/ 461549 w 608989"/>
                    <a:gd name="connsiteY3" fmla="*/ 406614 h 474764"/>
                    <a:gd name="connsiteX4" fmla="*/ 427673 w 608989"/>
                    <a:gd name="connsiteY4" fmla="*/ 372781 h 474764"/>
                    <a:gd name="connsiteX5" fmla="*/ 149568 w 608989"/>
                    <a:gd name="connsiteY5" fmla="*/ 372781 h 474764"/>
                    <a:gd name="connsiteX6" fmla="*/ 115692 w 608989"/>
                    <a:gd name="connsiteY6" fmla="*/ 406614 h 474764"/>
                    <a:gd name="connsiteX7" fmla="*/ 149568 w 608989"/>
                    <a:gd name="connsiteY7" fmla="*/ 440448 h 474764"/>
                    <a:gd name="connsiteX8" fmla="*/ 183444 w 608989"/>
                    <a:gd name="connsiteY8" fmla="*/ 406614 h 474764"/>
                    <a:gd name="connsiteX9" fmla="*/ 149568 w 608989"/>
                    <a:gd name="connsiteY9" fmla="*/ 372781 h 474764"/>
                    <a:gd name="connsiteX10" fmla="*/ 413316 w 608989"/>
                    <a:gd name="connsiteY10" fmla="*/ 194754 h 474764"/>
                    <a:gd name="connsiteX11" fmla="*/ 413316 w 608989"/>
                    <a:gd name="connsiteY11" fmla="*/ 269348 h 474764"/>
                    <a:gd name="connsiteX12" fmla="*/ 477196 w 608989"/>
                    <a:gd name="connsiteY12" fmla="*/ 269348 h 474764"/>
                    <a:gd name="connsiteX13" fmla="*/ 483971 w 608989"/>
                    <a:gd name="connsiteY13" fmla="*/ 256137 h 474764"/>
                    <a:gd name="connsiteX14" fmla="*/ 449611 w 608989"/>
                    <a:gd name="connsiteY14" fmla="*/ 207965 h 474764"/>
                    <a:gd name="connsiteX15" fmla="*/ 424124 w 608989"/>
                    <a:gd name="connsiteY15" fmla="*/ 194754 h 474764"/>
                    <a:gd name="connsiteX16" fmla="*/ 231999 w 608989"/>
                    <a:gd name="connsiteY16" fmla="*/ 194754 h 474764"/>
                    <a:gd name="connsiteX17" fmla="*/ 205705 w 608989"/>
                    <a:gd name="connsiteY17" fmla="*/ 207321 h 474764"/>
                    <a:gd name="connsiteX18" fmla="*/ 165860 w 608989"/>
                    <a:gd name="connsiteY18" fmla="*/ 256782 h 474764"/>
                    <a:gd name="connsiteX19" fmla="*/ 171990 w 608989"/>
                    <a:gd name="connsiteY19" fmla="*/ 269348 h 474764"/>
                    <a:gd name="connsiteX20" fmla="*/ 374439 w 608989"/>
                    <a:gd name="connsiteY20" fmla="*/ 269348 h 474764"/>
                    <a:gd name="connsiteX21" fmla="*/ 374439 w 608989"/>
                    <a:gd name="connsiteY21" fmla="*/ 194754 h 474764"/>
                    <a:gd name="connsiteX22" fmla="*/ 217965 w 608989"/>
                    <a:gd name="connsiteY22" fmla="*/ 162371 h 474764"/>
                    <a:gd name="connsiteX23" fmla="*/ 442030 w 608989"/>
                    <a:gd name="connsiteY23" fmla="*/ 162371 h 474764"/>
                    <a:gd name="connsiteX24" fmla="*/ 477196 w 608989"/>
                    <a:gd name="connsiteY24" fmla="*/ 180577 h 474764"/>
                    <a:gd name="connsiteX25" fmla="*/ 524783 w 608989"/>
                    <a:gd name="connsiteY25" fmla="*/ 248243 h 474764"/>
                    <a:gd name="connsiteX26" fmla="*/ 544625 w 608989"/>
                    <a:gd name="connsiteY26" fmla="*/ 257910 h 474764"/>
                    <a:gd name="connsiteX27" fmla="*/ 550594 w 608989"/>
                    <a:gd name="connsiteY27" fmla="*/ 257104 h 474764"/>
                    <a:gd name="connsiteX28" fmla="*/ 586728 w 608989"/>
                    <a:gd name="connsiteY28" fmla="*/ 245826 h 474764"/>
                    <a:gd name="connsiteX29" fmla="*/ 605118 w 608989"/>
                    <a:gd name="connsiteY29" fmla="*/ 249693 h 474764"/>
                    <a:gd name="connsiteX30" fmla="*/ 608828 w 608989"/>
                    <a:gd name="connsiteY30" fmla="*/ 264354 h 474764"/>
                    <a:gd name="connsiteX31" fmla="*/ 590277 w 608989"/>
                    <a:gd name="connsiteY31" fmla="*/ 401942 h 474764"/>
                    <a:gd name="connsiteX32" fmla="*/ 563337 w 608989"/>
                    <a:gd name="connsiteY32" fmla="*/ 425625 h 474764"/>
                    <a:gd name="connsiteX33" fmla="*/ 493166 w 608989"/>
                    <a:gd name="connsiteY33" fmla="*/ 425625 h 474764"/>
                    <a:gd name="connsiteX34" fmla="*/ 427673 w 608989"/>
                    <a:gd name="connsiteY34" fmla="*/ 474764 h 474764"/>
                    <a:gd name="connsiteX35" fmla="*/ 362341 w 608989"/>
                    <a:gd name="connsiteY35" fmla="*/ 425625 h 474764"/>
                    <a:gd name="connsiteX36" fmla="*/ 215061 w 608989"/>
                    <a:gd name="connsiteY36" fmla="*/ 425625 h 474764"/>
                    <a:gd name="connsiteX37" fmla="*/ 149568 w 608989"/>
                    <a:gd name="connsiteY37" fmla="*/ 474764 h 474764"/>
                    <a:gd name="connsiteX38" fmla="*/ 84074 w 608989"/>
                    <a:gd name="connsiteY38" fmla="*/ 425625 h 474764"/>
                    <a:gd name="connsiteX39" fmla="*/ 21485 w 608989"/>
                    <a:gd name="connsiteY39" fmla="*/ 425625 h 474764"/>
                    <a:gd name="connsiteX40" fmla="*/ 4869 w 608989"/>
                    <a:gd name="connsiteY40" fmla="*/ 418214 h 474764"/>
                    <a:gd name="connsiteX41" fmla="*/ 352 w 608989"/>
                    <a:gd name="connsiteY41" fmla="*/ 400814 h 474764"/>
                    <a:gd name="connsiteX42" fmla="*/ 15516 w 608989"/>
                    <a:gd name="connsiteY42" fmla="*/ 309304 h 474764"/>
                    <a:gd name="connsiteX43" fmla="*/ 41649 w 608989"/>
                    <a:gd name="connsiteY43" fmla="*/ 281593 h 474764"/>
                    <a:gd name="connsiteX44" fmla="*/ 95850 w 608989"/>
                    <a:gd name="connsiteY44" fmla="*/ 269348 h 474764"/>
                    <a:gd name="connsiteX45" fmla="*/ 125532 w 608989"/>
                    <a:gd name="connsiteY45" fmla="*/ 250660 h 474764"/>
                    <a:gd name="connsiteX46" fmla="*/ 181992 w 608989"/>
                    <a:gd name="connsiteY46" fmla="*/ 179771 h 474764"/>
                    <a:gd name="connsiteX47" fmla="*/ 217965 w 608989"/>
                    <a:gd name="connsiteY47" fmla="*/ 162371 h 474764"/>
                    <a:gd name="connsiteX48" fmla="*/ 168447 w 608989"/>
                    <a:gd name="connsiteY48" fmla="*/ 0 h 474764"/>
                    <a:gd name="connsiteX49" fmla="*/ 238143 w 608989"/>
                    <a:gd name="connsiteY49" fmla="*/ 47040 h 474764"/>
                    <a:gd name="connsiteX50" fmla="*/ 416257 w 608989"/>
                    <a:gd name="connsiteY50" fmla="*/ 47040 h 474764"/>
                    <a:gd name="connsiteX51" fmla="*/ 421743 w 608989"/>
                    <a:gd name="connsiteY51" fmla="*/ 47524 h 474764"/>
                    <a:gd name="connsiteX52" fmla="*/ 491762 w 608989"/>
                    <a:gd name="connsiteY52" fmla="*/ 0 h 474764"/>
                    <a:gd name="connsiteX53" fmla="*/ 556941 w 608989"/>
                    <a:gd name="connsiteY53" fmla="*/ 37858 h 474764"/>
                    <a:gd name="connsiteX54" fmla="*/ 557103 w 608989"/>
                    <a:gd name="connsiteY54" fmla="*/ 46396 h 474764"/>
                    <a:gd name="connsiteX55" fmla="*/ 549520 w 608989"/>
                    <a:gd name="connsiteY55" fmla="*/ 50262 h 474764"/>
                    <a:gd name="connsiteX56" fmla="*/ 500635 w 608989"/>
                    <a:gd name="connsiteY56" fmla="*/ 50423 h 474764"/>
                    <a:gd name="connsiteX57" fmla="*/ 496279 w 608989"/>
                    <a:gd name="connsiteY57" fmla="*/ 52357 h 474764"/>
                    <a:gd name="connsiteX58" fmla="*/ 495957 w 608989"/>
                    <a:gd name="connsiteY58" fmla="*/ 52840 h 474764"/>
                    <a:gd name="connsiteX59" fmla="*/ 479823 w 608989"/>
                    <a:gd name="connsiteY59" fmla="*/ 75071 h 474764"/>
                    <a:gd name="connsiteX60" fmla="*/ 495634 w 608989"/>
                    <a:gd name="connsiteY60" fmla="*/ 97142 h 474764"/>
                    <a:gd name="connsiteX61" fmla="*/ 495957 w 608989"/>
                    <a:gd name="connsiteY61" fmla="*/ 97625 h 474764"/>
                    <a:gd name="connsiteX62" fmla="*/ 499345 w 608989"/>
                    <a:gd name="connsiteY62" fmla="*/ 99719 h 474764"/>
                    <a:gd name="connsiteX63" fmla="*/ 549520 w 608989"/>
                    <a:gd name="connsiteY63" fmla="*/ 99880 h 474764"/>
                    <a:gd name="connsiteX64" fmla="*/ 556941 w 608989"/>
                    <a:gd name="connsiteY64" fmla="*/ 104069 h 474764"/>
                    <a:gd name="connsiteX65" fmla="*/ 556941 w 608989"/>
                    <a:gd name="connsiteY65" fmla="*/ 112285 h 474764"/>
                    <a:gd name="connsiteX66" fmla="*/ 491762 w 608989"/>
                    <a:gd name="connsiteY66" fmla="*/ 150304 h 474764"/>
                    <a:gd name="connsiteX67" fmla="*/ 421743 w 608989"/>
                    <a:gd name="connsiteY67" fmla="*/ 102780 h 474764"/>
                    <a:gd name="connsiteX68" fmla="*/ 416257 w 608989"/>
                    <a:gd name="connsiteY68" fmla="*/ 103263 h 474764"/>
                    <a:gd name="connsiteX69" fmla="*/ 238143 w 608989"/>
                    <a:gd name="connsiteY69" fmla="*/ 103263 h 474764"/>
                    <a:gd name="connsiteX70" fmla="*/ 168447 w 608989"/>
                    <a:gd name="connsiteY70" fmla="*/ 150304 h 474764"/>
                    <a:gd name="connsiteX71" fmla="*/ 103267 w 608989"/>
                    <a:gd name="connsiteY71" fmla="*/ 112446 h 474764"/>
                    <a:gd name="connsiteX72" fmla="*/ 103106 w 608989"/>
                    <a:gd name="connsiteY72" fmla="*/ 103908 h 474764"/>
                    <a:gd name="connsiteX73" fmla="*/ 110689 w 608989"/>
                    <a:gd name="connsiteY73" fmla="*/ 99880 h 474764"/>
                    <a:gd name="connsiteX74" fmla="*/ 159573 w 608989"/>
                    <a:gd name="connsiteY74" fmla="*/ 99880 h 474764"/>
                    <a:gd name="connsiteX75" fmla="*/ 164091 w 608989"/>
                    <a:gd name="connsiteY75" fmla="*/ 97786 h 474764"/>
                    <a:gd name="connsiteX76" fmla="*/ 164252 w 608989"/>
                    <a:gd name="connsiteY76" fmla="*/ 97464 h 474764"/>
                    <a:gd name="connsiteX77" fmla="*/ 180385 w 608989"/>
                    <a:gd name="connsiteY77" fmla="*/ 75232 h 474764"/>
                    <a:gd name="connsiteX78" fmla="*/ 164575 w 608989"/>
                    <a:gd name="connsiteY78" fmla="*/ 53162 h 474764"/>
                    <a:gd name="connsiteX79" fmla="*/ 164252 w 608989"/>
                    <a:gd name="connsiteY79" fmla="*/ 52679 h 474764"/>
                    <a:gd name="connsiteX80" fmla="*/ 160864 w 608989"/>
                    <a:gd name="connsiteY80" fmla="*/ 50423 h 474764"/>
                    <a:gd name="connsiteX81" fmla="*/ 160541 w 608989"/>
                    <a:gd name="connsiteY81" fmla="*/ 50423 h 474764"/>
                    <a:gd name="connsiteX82" fmla="*/ 110689 w 608989"/>
                    <a:gd name="connsiteY82" fmla="*/ 50262 h 474764"/>
                    <a:gd name="connsiteX83" fmla="*/ 103267 w 608989"/>
                    <a:gd name="connsiteY83" fmla="*/ 46235 h 474764"/>
                    <a:gd name="connsiteX84" fmla="*/ 103267 w 608989"/>
                    <a:gd name="connsiteY84" fmla="*/ 37858 h 474764"/>
                    <a:gd name="connsiteX85" fmla="*/ 168447 w 608989"/>
                    <a:gd name="connsiteY85" fmla="*/ 0 h 474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608989" h="474764">
                      <a:moveTo>
                        <a:pt x="427673" y="372781"/>
                      </a:moveTo>
                      <a:cubicBezTo>
                        <a:pt x="408960" y="372781"/>
                        <a:pt x="393797" y="387926"/>
                        <a:pt x="393797" y="406614"/>
                      </a:cubicBezTo>
                      <a:cubicBezTo>
                        <a:pt x="393797" y="425303"/>
                        <a:pt x="408960" y="440448"/>
                        <a:pt x="427673" y="440448"/>
                      </a:cubicBezTo>
                      <a:cubicBezTo>
                        <a:pt x="446385" y="440448"/>
                        <a:pt x="461549" y="425303"/>
                        <a:pt x="461549" y="406614"/>
                      </a:cubicBezTo>
                      <a:cubicBezTo>
                        <a:pt x="461549" y="387926"/>
                        <a:pt x="446385" y="372781"/>
                        <a:pt x="427673" y="372781"/>
                      </a:cubicBezTo>
                      <a:close/>
                      <a:moveTo>
                        <a:pt x="149568" y="372781"/>
                      </a:moveTo>
                      <a:cubicBezTo>
                        <a:pt x="130855" y="372781"/>
                        <a:pt x="115692" y="387926"/>
                        <a:pt x="115692" y="406614"/>
                      </a:cubicBezTo>
                      <a:cubicBezTo>
                        <a:pt x="115692" y="425303"/>
                        <a:pt x="130855" y="440448"/>
                        <a:pt x="149568" y="440448"/>
                      </a:cubicBezTo>
                      <a:cubicBezTo>
                        <a:pt x="168280" y="440448"/>
                        <a:pt x="183444" y="425303"/>
                        <a:pt x="183444" y="406614"/>
                      </a:cubicBezTo>
                      <a:cubicBezTo>
                        <a:pt x="183444" y="387926"/>
                        <a:pt x="168280" y="372781"/>
                        <a:pt x="149568" y="372781"/>
                      </a:cubicBezTo>
                      <a:close/>
                      <a:moveTo>
                        <a:pt x="413316" y="194754"/>
                      </a:moveTo>
                      <a:lnTo>
                        <a:pt x="413316" y="269348"/>
                      </a:lnTo>
                      <a:lnTo>
                        <a:pt x="477196" y="269348"/>
                      </a:lnTo>
                      <a:cubicBezTo>
                        <a:pt x="486068" y="269348"/>
                        <a:pt x="489133" y="263387"/>
                        <a:pt x="483971" y="256137"/>
                      </a:cubicBezTo>
                      <a:lnTo>
                        <a:pt x="449611" y="207965"/>
                      </a:lnTo>
                      <a:cubicBezTo>
                        <a:pt x="444449" y="200715"/>
                        <a:pt x="432996" y="194754"/>
                        <a:pt x="424124" y="194754"/>
                      </a:cubicBezTo>
                      <a:close/>
                      <a:moveTo>
                        <a:pt x="231999" y="194754"/>
                      </a:moveTo>
                      <a:cubicBezTo>
                        <a:pt x="223127" y="194754"/>
                        <a:pt x="211351" y="200393"/>
                        <a:pt x="205705" y="207321"/>
                      </a:cubicBezTo>
                      <a:lnTo>
                        <a:pt x="165860" y="256782"/>
                      </a:lnTo>
                      <a:cubicBezTo>
                        <a:pt x="160376" y="263709"/>
                        <a:pt x="163118" y="269348"/>
                        <a:pt x="171990" y="269348"/>
                      </a:cubicBezTo>
                      <a:lnTo>
                        <a:pt x="374439" y="269348"/>
                      </a:lnTo>
                      <a:lnTo>
                        <a:pt x="374439" y="194754"/>
                      </a:lnTo>
                      <a:close/>
                      <a:moveTo>
                        <a:pt x="217965" y="162371"/>
                      </a:moveTo>
                      <a:lnTo>
                        <a:pt x="442030" y="162371"/>
                      </a:lnTo>
                      <a:cubicBezTo>
                        <a:pt x="454612" y="162371"/>
                        <a:pt x="470098" y="170427"/>
                        <a:pt x="477196" y="180577"/>
                      </a:cubicBezTo>
                      <a:lnTo>
                        <a:pt x="524783" y="248243"/>
                      </a:lnTo>
                      <a:cubicBezTo>
                        <a:pt x="528816" y="254043"/>
                        <a:pt x="536882" y="257910"/>
                        <a:pt x="544625" y="257910"/>
                      </a:cubicBezTo>
                      <a:cubicBezTo>
                        <a:pt x="546883" y="257910"/>
                        <a:pt x="548819" y="257748"/>
                        <a:pt x="550594" y="257104"/>
                      </a:cubicBezTo>
                      <a:lnTo>
                        <a:pt x="586728" y="245826"/>
                      </a:lnTo>
                      <a:cubicBezTo>
                        <a:pt x="593987" y="243571"/>
                        <a:pt x="600924" y="245021"/>
                        <a:pt x="605118" y="249693"/>
                      </a:cubicBezTo>
                      <a:cubicBezTo>
                        <a:pt x="608183" y="253398"/>
                        <a:pt x="609473" y="258554"/>
                        <a:pt x="608828" y="264354"/>
                      </a:cubicBezTo>
                      <a:lnTo>
                        <a:pt x="590277" y="401942"/>
                      </a:lnTo>
                      <a:cubicBezTo>
                        <a:pt x="588664" y="414992"/>
                        <a:pt x="576565" y="425625"/>
                        <a:pt x="563337" y="425625"/>
                      </a:cubicBezTo>
                      <a:lnTo>
                        <a:pt x="493166" y="425625"/>
                      </a:lnTo>
                      <a:cubicBezTo>
                        <a:pt x="484939" y="453981"/>
                        <a:pt x="458806" y="474764"/>
                        <a:pt x="427673" y="474764"/>
                      </a:cubicBezTo>
                      <a:cubicBezTo>
                        <a:pt x="396700" y="474764"/>
                        <a:pt x="370568" y="453981"/>
                        <a:pt x="362341" y="425625"/>
                      </a:cubicBezTo>
                      <a:lnTo>
                        <a:pt x="215061" y="425625"/>
                      </a:lnTo>
                      <a:cubicBezTo>
                        <a:pt x="206834" y="453981"/>
                        <a:pt x="180540" y="474764"/>
                        <a:pt x="149568" y="474764"/>
                      </a:cubicBezTo>
                      <a:cubicBezTo>
                        <a:pt x="118595" y="474764"/>
                        <a:pt x="92301" y="453981"/>
                        <a:pt x="84074" y="425625"/>
                      </a:cubicBezTo>
                      <a:lnTo>
                        <a:pt x="21485" y="425625"/>
                      </a:lnTo>
                      <a:cubicBezTo>
                        <a:pt x="14871" y="425625"/>
                        <a:pt x="8902" y="423048"/>
                        <a:pt x="4869" y="418214"/>
                      </a:cubicBezTo>
                      <a:cubicBezTo>
                        <a:pt x="836" y="413542"/>
                        <a:pt x="-777" y="407420"/>
                        <a:pt x="352" y="400814"/>
                      </a:cubicBezTo>
                      <a:lnTo>
                        <a:pt x="15516" y="309304"/>
                      </a:lnTo>
                      <a:cubicBezTo>
                        <a:pt x="17613" y="296576"/>
                        <a:pt x="29066" y="284332"/>
                        <a:pt x="41649" y="281593"/>
                      </a:cubicBezTo>
                      <a:lnTo>
                        <a:pt x="95850" y="269348"/>
                      </a:lnTo>
                      <a:cubicBezTo>
                        <a:pt x="105690" y="267093"/>
                        <a:pt x="119241" y="258554"/>
                        <a:pt x="125532" y="250660"/>
                      </a:cubicBezTo>
                      <a:lnTo>
                        <a:pt x="181992" y="179771"/>
                      </a:lnTo>
                      <a:cubicBezTo>
                        <a:pt x="189735" y="169943"/>
                        <a:pt x="205544" y="162371"/>
                        <a:pt x="217965" y="162371"/>
                      </a:cubicBezTo>
                      <a:close/>
                      <a:moveTo>
                        <a:pt x="168447" y="0"/>
                      </a:moveTo>
                      <a:cubicBezTo>
                        <a:pt x="200068" y="0"/>
                        <a:pt x="227011" y="19493"/>
                        <a:pt x="238143" y="47040"/>
                      </a:cubicBezTo>
                      <a:lnTo>
                        <a:pt x="416257" y="47040"/>
                      </a:lnTo>
                      <a:cubicBezTo>
                        <a:pt x="418193" y="47040"/>
                        <a:pt x="419968" y="47202"/>
                        <a:pt x="421743" y="47524"/>
                      </a:cubicBezTo>
                      <a:cubicBezTo>
                        <a:pt x="432875" y="19815"/>
                        <a:pt x="459979" y="0"/>
                        <a:pt x="491762" y="0"/>
                      </a:cubicBezTo>
                      <a:cubicBezTo>
                        <a:pt x="518543" y="0"/>
                        <a:pt x="543550" y="14499"/>
                        <a:pt x="556941" y="37858"/>
                      </a:cubicBezTo>
                      <a:cubicBezTo>
                        <a:pt x="558232" y="39952"/>
                        <a:pt x="558877" y="43335"/>
                        <a:pt x="557103" y="46396"/>
                      </a:cubicBezTo>
                      <a:cubicBezTo>
                        <a:pt x="555651" y="48812"/>
                        <a:pt x="552908" y="50262"/>
                        <a:pt x="549520" y="50262"/>
                      </a:cubicBezTo>
                      <a:cubicBezTo>
                        <a:pt x="549520" y="50262"/>
                        <a:pt x="513703" y="50423"/>
                        <a:pt x="500635" y="50423"/>
                      </a:cubicBezTo>
                      <a:cubicBezTo>
                        <a:pt x="497731" y="50423"/>
                        <a:pt x="496279" y="52357"/>
                        <a:pt x="496279" y="52357"/>
                      </a:cubicBezTo>
                      <a:lnTo>
                        <a:pt x="495957" y="52840"/>
                      </a:lnTo>
                      <a:cubicBezTo>
                        <a:pt x="489019" y="60895"/>
                        <a:pt x="481275" y="71366"/>
                        <a:pt x="479823" y="75071"/>
                      </a:cubicBezTo>
                      <a:cubicBezTo>
                        <a:pt x="481275" y="78777"/>
                        <a:pt x="489019" y="89087"/>
                        <a:pt x="495634" y="97142"/>
                      </a:cubicBezTo>
                      <a:lnTo>
                        <a:pt x="495957" y="97625"/>
                      </a:lnTo>
                      <a:cubicBezTo>
                        <a:pt x="496441" y="98269"/>
                        <a:pt x="498054" y="99719"/>
                        <a:pt x="499345" y="99719"/>
                      </a:cubicBezTo>
                      <a:cubicBezTo>
                        <a:pt x="511929" y="99719"/>
                        <a:pt x="549520" y="99880"/>
                        <a:pt x="549520" y="99880"/>
                      </a:cubicBezTo>
                      <a:cubicBezTo>
                        <a:pt x="552747" y="99880"/>
                        <a:pt x="555489" y="101491"/>
                        <a:pt x="556941" y="104069"/>
                      </a:cubicBezTo>
                      <a:cubicBezTo>
                        <a:pt x="558393" y="106485"/>
                        <a:pt x="558393" y="109868"/>
                        <a:pt x="556941" y="112285"/>
                      </a:cubicBezTo>
                      <a:cubicBezTo>
                        <a:pt x="543550" y="135644"/>
                        <a:pt x="518543" y="150304"/>
                        <a:pt x="491762" y="150304"/>
                      </a:cubicBezTo>
                      <a:cubicBezTo>
                        <a:pt x="459979" y="150304"/>
                        <a:pt x="432875" y="130489"/>
                        <a:pt x="421743" y="102780"/>
                      </a:cubicBezTo>
                      <a:cubicBezTo>
                        <a:pt x="419968" y="103102"/>
                        <a:pt x="418193" y="103263"/>
                        <a:pt x="416257" y="103263"/>
                      </a:cubicBezTo>
                      <a:lnTo>
                        <a:pt x="238143" y="103263"/>
                      </a:lnTo>
                      <a:cubicBezTo>
                        <a:pt x="227011" y="130811"/>
                        <a:pt x="200068" y="150304"/>
                        <a:pt x="168447" y="150304"/>
                      </a:cubicBezTo>
                      <a:cubicBezTo>
                        <a:pt x="141665" y="150304"/>
                        <a:pt x="116658" y="135805"/>
                        <a:pt x="103267" y="112446"/>
                      </a:cubicBezTo>
                      <a:cubicBezTo>
                        <a:pt x="101977" y="110352"/>
                        <a:pt x="101331" y="106969"/>
                        <a:pt x="103106" y="103908"/>
                      </a:cubicBezTo>
                      <a:cubicBezTo>
                        <a:pt x="104558" y="101330"/>
                        <a:pt x="107301" y="99880"/>
                        <a:pt x="110689" y="99880"/>
                      </a:cubicBezTo>
                      <a:cubicBezTo>
                        <a:pt x="110689" y="99880"/>
                        <a:pt x="146505" y="99880"/>
                        <a:pt x="159573" y="99880"/>
                      </a:cubicBezTo>
                      <a:cubicBezTo>
                        <a:pt x="162477" y="99880"/>
                        <a:pt x="163929" y="98108"/>
                        <a:pt x="164091" y="97786"/>
                      </a:cubicBezTo>
                      <a:lnTo>
                        <a:pt x="164252" y="97464"/>
                      </a:lnTo>
                      <a:cubicBezTo>
                        <a:pt x="171189" y="89248"/>
                        <a:pt x="178933" y="78777"/>
                        <a:pt x="180385" y="75232"/>
                      </a:cubicBezTo>
                      <a:cubicBezTo>
                        <a:pt x="178933" y="71527"/>
                        <a:pt x="171189" y="61217"/>
                        <a:pt x="164575" y="53162"/>
                      </a:cubicBezTo>
                      <a:lnTo>
                        <a:pt x="164252" y="52679"/>
                      </a:lnTo>
                      <a:cubicBezTo>
                        <a:pt x="163768" y="52034"/>
                        <a:pt x="162155" y="50423"/>
                        <a:pt x="160864" y="50423"/>
                      </a:cubicBezTo>
                      <a:lnTo>
                        <a:pt x="160541" y="50423"/>
                      </a:lnTo>
                      <a:cubicBezTo>
                        <a:pt x="147796" y="50423"/>
                        <a:pt x="110689" y="50262"/>
                        <a:pt x="110689" y="50262"/>
                      </a:cubicBezTo>
                      <a:cubicBezTo>
                        <a:pt x="107462" y="50262"/>
                        <a:pt x="104719" y="48812"/>
                        <a:pt x="103267" y="46235"/>
                      </a:cubicBezTo>
                      <a:cubicBezTo>
                        <a:pt x="101815" y="43657"/>
                        <a:pt x="101654" y="40435"/>
                        <a:pt x="103267" y="37858"/>
                      </a:cubicBezTo>
                      <a:cubicBezTo>
                        <a:pt x="116497" y="14499"/>
                        <a:pt x="141665" y="0"/>
                        <a:pt x="168447" y="0"/>
                      </a:cubicBez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grpSp>
        </p:grpSp>
        <p:grpSp>
          <p:nvGrpSpPr>
            <p:cNvPr id="8" name="îSḷîdê"/>
            <p:cNvGrpSpPr/>
            <p:nvPr/>
          </p:nvGrpSpPr>
          <p:grpSpPr>
            <a:xfrm>
              <a:off x="4007390" y="3606106"/>
              <a:ext cx="2240908" cy="1005914"/>
              <a:chOff x="3134941" y="3541240"/>
              <a:chExt cx="2240908" cy="1005914"/>
            </a:xfrm>
          </p:grpSpPr>
          <p:grpSp>
            <p:nvGrpSpPr>
              <p:cNvPr id="37" name="í$ḷiďé"/>
              <p:cNvGrpSpPr/>
              <p:nvPr/>
            </p:nvGrpSpPr>
            <p:grpSpPr>
              <a:xfrm>
                <a:off x="3134941" y="3541240"/>
                <a:ext cx="1475629" cy="1005914"/>
                <a:chOff x="4243853" y="2741333"/>
                <a:chExt cx="1475629" cy="1005914"/>
              </a:xfrm>
            </p:grpSpPr>
            <p:sp>
              <p:nvSpPr>
                <p:cNvPr id="41" name="iṧḷiḋé">
                  <a:extLst>
                    <a:ext uri="{FF2B5EF4-FFF2-40B4-BE49-F238E27FC236}">
                      <a16:creationId xmlns:a16="http://schemas.microsoft.com/office/drawing/2014/main" id="{73DA5CA1-A22D-45FF-B355-18D3880E7B99}"/>
                    </a:ext>
                  </a:extLst>
                </p:cNvPr>
                <p:cNvSpPr/>
                <p:nvPr/>
              </p:nvSpPr>
              <p:spPr>
                <a:xfrm>
                  <a:off x="4243855" y="2741333"/>
                  <a:ext cx="1475627" cy="410188"/>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r">
                    <a:lnSpc>
                      <a:spcPct val="120000"/>
                    </a:lnSpc>
                  </a:pPr>
                  <a:r>
                    <a:rPr lang="en-US" altLang="zh-CN" sz="1400" b="1">
                      <a:solidFill>
                        <a:schemeClr val="tx1"/>
                      </a:solidFill>
                    </a:rPr>
                    <a:t>Text h</a:t>
                  </a:r>
                  <a:r>
                    <a:rPr lang="en-US" altLang="zh-CN" sz="100" b="1">
                      <a:solidFill>
                        <a:schemeClr val="tx1"/>
                      </a:solidFill>
                    </a:rPr>
                    <a:t> </a:t>
                  </a:r>
                  <a:r>
                    <a:rPr lang="en-US" altLang="zh-CN" sz="1400" b="1">
                      <a:solidFill>
                        <a:schemeClr val="tx1"/>
                      </a:solidFill>
                    </a:rPr>
                    <a:t>ere</a:t>
                  </a:r>
                  <a:endParaRPr lang="zh-CN" altLang="en-US" sz="1400" b="1" dirty="0">
                    <a:solidFill>
                      <a:schemeClr val="tx1"/>
                    </a:solidFill>
                  </a:endParaRPr>
                </a:p>
              </p:txBody>
            </p:sp>
            <p:sp>
              <p:nvSpPr>
                <p:cNvPr id="42" name="íSľïḑè">
                  <a:extLst>
                    <a:ext uri="{FF2B5EF4-FFF2-40B4-BE49-F238E27FC236}">
                      <a16:creationId xmlns:a16="http://schemas.microsoft.com/office/drawing/2014/main" id="{B40F5E8D-FBEB-4054-86D5-66BEF7C4392C}"/>
                    </a:ext>
                  </a:extLst>
                </p:cNvPr>
                <p:cNvSpPr txBox="1"/>
                <p:nvPr/>
              </p:nvSpPr>
              <p:spPr>
                <a:xfrm>
                  <a:off x="4243853" y="3151522"/>
                  <a:ext cx="1475628" cy="595725"/>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50000"/>
                    </a:lnSpc>
                    <a:spcBef>
                      <a:spcPct val="0"/>
                    </a:spcBef>
                  </a:pPr>
                  <a:r>
                    <a:rPr lang="en-US" altLang="zh-CN" sz="1000" dirty="0"/>
                    <a:t>Supporting </a:t>
                  </a:r>
                  <a:r>
                    <a:rPr lang="en-US" altLang="zh-CN" sz="1000"/>
                    <a:t>text h</a:t>
                  </a:r>
                  <a:r>
                    <a:rPr lang="en-US" altLang="zh-CN" sz="100"/>
                    <a:t> </a:t>
                  </a:r>
                  <a:r>
                    <a:rPr lang="en-US" altLang="zh-CN" sz="1000"/>
                    <a:t>ere</a:t>
                  </a:r>
                  <a:r>
                    <a:rPr lang="en-US" altLang="zh-CN" sz="1000" dirty="0"/>
                    <a:t>.</a:t>
                  </a:r>
                </a:p>
                <a:p>
                  <a:pPr algn="r">
                    <a:lnSpc>
                      <a:spcPct val="150000"/>
                    </a:lnSpc>
                    <a:spcBef>
                      <a:spcPct val="0"/>
                    </a:spcBef>
                  </a:pPr>
                  <a:r>
                    <a:rPr lang="en-US" altLang="zh-CN" sz="1000" dirty="0"/>
                    <a:t>……</a:t>
                  </a:r>
                </a:p>
              </p:txBody>
            </p:sp>
          </p:grpSp>
          <p:grpSp>
            <p:nvGrpSpPr>
              <p:cNvPr id="38" name="îṥľîḑè"/>
              <p:cNvGrpSpPr/>
              <p:nvPr/>
            </p:nvGrpSpPr>
            <p:grpSpPr>
              <a:xfrm>
                <a:off x="4804337" y="3758441"/>
                <a:ext cx="571512" cy="571512"/>
                <a:chOff x="4123765" y="2164043"/>
                <a:chExt cx="457200" cy="457200"/>
              </a:xfrm>
            </p:grpSpPr>
            <p:sp>
              <p:nvSpPr>
                <p:cNvPr id="39" name="iṩļiḍe"/>
                <p:cNvSpPr/>
                <p:nvPr/>
              </p:nvSpPr>
              <p:spPr>
                <a:xfrm>
                  <a:off x="4123765" y="2164043"/>
                  <a:ext cx="457200" cy="457200"/>
                </a:xfrm>
                <a:prstGeom prst="ellipse">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sp>
              <p:nvSpPr>
                <p:cNvPr id="40" name="îşḻiďe"/>
                <p:cNvSpPr/>
                <p:nvPr/>
              </p:nvSpPr>
              <p:spPr>
                <a:xfrm>
                  <a:off x="4243855" y="2308048"/>
                  <a:ext cx="217020" cy="169187"/>
                </a:xfrm>
                <a:custGeom>
                  <a:avLst/>
                  <a:gdLst>
                    <a:gd name="connsiteX0" fmla="*/ 427673 w 608989"/>
                    <a:gd name="connsiteY0" fmla="*/ 372781 h 474764"/>
                    <a:gd name="connsiteX1" fmla="*/ 393797 w 608989"/>
                    <a:gd name="connsiteY1" fmla="*/ 406614 h 474764"/>
                    <a:gd name="connsiteX2" fmla="*/ 427673 w 608989"/>
                    <a:gd name="connsiteY2" fmla="*/ 440448 h 474764"/>
                    <a:gd name="connsiteX3" fmla="*/ 461549 w 608989"/>
                    <a:gd name="connsiteY3" fmla="*/ 406614 h 474764"/>
                    <a:gd name="connsiteX4" fmla="*/ 427673 w 608989"/>
                    <a:gd name="connsiteY4" fmla="*/ 372781 h 474764"/>
                    <a:gd name="connsiteX5" fmla="*/ 149568 w 608989"/>
                    <a:gd name="connsiteY5" fmla="*/ 372781 h 474764"/>
                    <a:gd name="connsiteX6" fmla="*/ 115692 w 608989"/>
                    <a:gd name="connsiteY6" fmla="*/ 406614 h 474764"/>
                    <a:gd name="connsiteX7" fmla="*/ 149568 w 608989"/>
                    <a:gd name="connsiteY7" fmla="*/ 440448 h 474764"/>
                    <a:gd name="connsiteX8" fmla="*/ 183444 w 608989"/>
                    <a:gd name="connsiteY8" fmla="*/ 406614 h 474764"/>
                    <a:gd name="connsiteX9" fmla="*/ 149568 w 608989"/>
                    <a:gd name="connsiteY9" fmla="*/ 372781 h 474764"/>
                    <a:gd name="connsiteX10" fmla="*/ 413316 w 608989"/>
                    <a:gd name="connsiteY10" fmla="*/ 194754 h 474764"/>
                    <a:gd name="connsiteX11" fmla="*/ 413316 w 608989"/>
                    <a:gd name="connsiteY11" fmla="*/ 269348 h 474764"/>
                    <a:gd name="connsiteX12" fmla="*/ 477196 w 608989"/>
                    <a:gd name="connsiteY12" fmla="*/ 269348 h 474764"/>
                    <a:gd name="connsiteX13" fmla="*/ 483971 w 608989"/>
                    <a:gd name="connsiteY13" fmla="*/ 256137 h 474764"/>
                    <a:gd name="connsiteX14" fmla="*/ 449611 w 608989"/>
                    <a:gd name="connsiteY14" fmla="*/ 207965 h 474764"/>
                    <a:gd name="connsiteX15" fmla="*/ 424124 w 608989"/>
                    <a:gd name="connsiteY15" fmla="*/ 194754 h 474764"/>
                    <a:gd name="connsiteX16" fmla="*/ 231999 w 608989"/>
                    <a:gd name="connsiteY16" fmla="*/ 194754 h 474764"/>
                    <a:gd name="connsiteX17" fmla="*/ 205705 w 608989"/>
                    <a:gd name="connsiteY17" fmla="*/ 207321 h 474764"/>
                    <a:gd name="connsiteX18" fmla="*/ 165860 w 608989"/>
                    <a:gd name="connsiteY18" fmla="*/ 256782 h 474764"/>
                    <a:gd name="connsiteX19" fmla="*/ 171990 w 608989"/>
                    <a:gd name="connsiteY19" fmla="*/ 269348 h 474764"/>
                    <a:gd name="connsiteX20" fmla="*/ 374439 w 608989"/>
                    <a:gd name="connsiteY20" fmla="*/ 269348 h 474764"/>
                    <a:gd name="connsiteX21" fmla="*/ 374439 w 608989"/>
                    <a:gd name="connsiteY21" fmla="*/ 194754 h 474764"/>
                    <a:gd name="connsiteX22" fmla="*/ 217965 w 608989"/>
                    <a:gd name="connsiteY22" fmla="*/ 162371 h 474764"/>
                    <a:gd name="connsiteX23" fmla="*/ 442030 w 608989"/>
                    <a:gd name="connsiteY23" fmla="*/ 162371 h 474764"/>
                    <a:gd name="connsiteX24" fmla="*/ 477196 w 608989"/>
                    <a:gd name="connsiteY24" fmla="*/ 180577 h 474764"/>
                    <a:gd name="connsiteX25" fmla="*/ 524783 w 608989"/>
                    <a:gd name="connsiteY25" fmla="*/ 248243 h 474764"/>
                    <a:gd name="connsiteX26" fmla="*/ 544625 w 608989"/>
                    <a:gd name="connsiteY26" fmla="*/ 257910 h 474764"/>
                    <a:gd name="connsiteX27" fmla="*/ 550594 w 608989"/>
                    <a:gd name="connsiteY27" fmla="*/ 257104 h 474764"/>
                    <a:gd name="connsiteX28" fmla="*/ 586728 w 608989"/>
                    <a:gd name="connsiteY28" fmla="*/ 245826 h 474764"/>
                    <a:gd name="connsiteX29" fmla="*/ 605118 w 608989"/>
                    <a:gd name="connsiteY29" fmla="*/ 249693 h 474764"/>
                    <a:gd name="connsiteX30" fmla="*/ 608828 w 608989"/>
                    <a:gd name="connsiteY30" fmla="*/ 264354 h 474764"/>
                    <a:gd name="connsiteX31" fmla="*/ 590277 w 608989"/>
                    <a:gd name="connsiteY31" fmla="*/ 401942 h 474764"/>
                    <a:gd name="connsiteX32" fmla="*/ 563337 w 608989"/>
                    <a:gd name="connsiteY32" fmla="*/ 425625 h 474764"/>
                    <a:gd name="connsiteX33" fmla="*/ 493166 w 608989"/>
                    <a:gd name="connsiteY33" fmla="*/ 425625 h 474764"/>
                    <a:gd name="connsiteX34" fmla="*/ 427673 w 608989"/>
                    <a:gd name="connsiteY34" fmla="*/ 474764 h 474764"/>
                    <a:gd name="connsiteX35" fmla="*/ 362341 w 608989"/>
                    <a:gd name="connsiteY35" fmla="*/ 425625 h 474764"/>
                    <a:gd name="connsiteX36" fmla="*/ 215061 w 608989"/>
                    <a:gd name="connsiteY36" fmla="*/ 425625 h 474764"/>
                    <a:gd name="connsiteX37" fmla="*/ 149568 w 608989"/>
                    <a:gd name="connsiteY37" fmla="*/ 474764 h 474764"/>
                    <a:gd name="connsiteX38" fmla="*/ 84074 w 608989"/>
                    <a:gd name="connsiteY38" fmla="*/ 425625 h 474764"/>
                    <a:gd name="connsiteX39" fmla="*/ 21485 w 608989"/>
                    <a:gd name="connsiteY39" fmla="*/ 425625 h 474764"/>
                    <a:gd name="connsiteX40" fmla="*/ 4869 w 608989"/>
                    <a:gd name="connsiteY40" fmla="*/ 418214 h 474764"/>
                    <a:gd name="connsiteX41" fmla="*/ 352 w 608989"/>
                    <a:gd name="connsiteY41" fmla="*/ 400814 h 474764"/>
                    <a:gd name="connsiteX42" fmla="*/ 15516 w 608989"/>
                    <a:gd name="connsiteY42" fmla="*/ 309304 h 474764"/>
                    <a:gd name="connsiteX43" fmla="*/ 41649 w 608989"/>
                    <a:gd name="connsiteY43" fmla="*/ 281593 h 474764"/>
                    <a:gd name="connsiteX44" fmla="*/ 95850 w 608989"/>
                    <a:gd name="connsiteY44" fmla="*/ 269348 h 474764"/>
                    <a:gd name="connsiteX45" fmla="*/ 125532 w 608989"/>
                    <a:gd name="connsiteY45" fmla="*/ 250660 h 474764"/>
                    <a:gd name="connsiteX46" fmla="*/ 181992 w 608989"/>
                    <a:gd name="connsiteY46" fmla="*/ 179771 h 474764"/>
                    <a:gd name="connsiteX47" fmla="*/ 217965 w 608989"/>
                    <a:gd name="connsiteY47" fmla="*/ 162371 h 474764"/>
                    <a:gd name="connsiteX48" fmla="*/ 168447 w 608989"/>
                    <a:gd name="connsiteY48" fmla="*/ 0 h 474764"/>
                    <a:gd name="connsiteX49" fmla="*/ 238143 w 608989"/>
                    <a:gd name="connsiteY49" fmla="*/ 47040 h 474764"/>
                    <a:gd name="connsiteX50" fmla="*/ 416257 w 608989"/>
                    <a:gd name="connsiteY50" fmla="*/ 47040 h 474764"/>
                    <a:gd name="connsiteX51" fmla="*/ 421743 w 608989"/>
                    <a:gd name="connsiteY51" fmla="*/ 47524 h 474764"/>
                    <a:gd name="connsiteX52" fmla="*/ 491762 w 608989"/>
                    <a:gd name="connsiteY52" fmla="*/ 0 h 474764"/>
                    <a:gd name="connsiteX53" fmla="*/ 556941 w 608989"/>
                    <a:gd name="connsiteY53" fmla="*/ 37858 h 474764"/>
                    <a:gd name="connsiteX54" fmla="*/ 557103 w 608989"/>
                    <a:gd name="connsiteY54" fmla="*/ 46396 h 474764"/>
                    <a:gd name="connsiteX55" fmla="*/ 549520 w 608989"/>
                    <a:gd name="connsiteY55" fmla="*/ 50262 h 474764"/>
                    <a:gd name="connsiteX56" fmla="*/ 500635 w 608989"/>
                    <a:gd name="connsiteY56" fmla="*/ 50423 h 474764"/>
                    <a:gd name="connsiteX57" fmla="*/ 496279 w 608989"/>
                    <a:gd name="connsiteY57" fmla="*/ 52357 h 474764"/>
                    <a:gd name="connsiteX58" fmla="*/ 495957 w 608989"/>
                    <a:gd name="connsiteY58" fmla="*/ 52840 h 474764"/>
                    <a:gd name="connsiteX59" fmla="*/ 479823 w 608989"/>
                    <a:gd name="connsiteY59" fmla="*/ 75071 h 474764"/>
                    <a:gd name="connsiteX60" fmla="*/ 495634 w 608989"/>
                    <a:gd name="connsiteY60" fmla="*/ 97142 h 474764"/>
                    <a:gd name="connsiteX61" fmla="*/ 495957 w 608989"/>
                    <a:gd name="connsiteY61" fmla="*/ 97625 h 474764"/>
                    <a:gd name="connsiteX62" fmla="*/ 499345 w 608989"/>
                    <a:gd name="connsiteY62" fmla="*/ 99719 h 474764"/>
                    <a:gd name="connsiteX63" fmla="*/ 549520 w 608989"/>
                    <a:gd name="connsiteY63" fmla="*/ 99880 h 474764"/>
                    <a:gd name="connsiteX64" fmla="*/ 556941 w 608989"/>
                    <a:gd name="connsiteY64" fmla="*/ 104069 h 474764"/>
                    <a:gd name="connsiteX65" fmla="*/ 556941 w 608989"/>
                    <a:gd name="connsiteY65" fmla="*/ 112285 h 474764"/>
                    <a:gd name="connsiteX66" fmla="*/ 491762 w 608989"/>
                    <a:gd name="connsiteY66" fmla="*/ 150304 h 474764"/>
                    <a:gd name="connsiteX67" fmla="*/ 421743 w 608989"/>
                    <a:gd name="connsiteY67" fmla="*/ 102780 h 474764"/>
                    <a:gd name="connsiteX68" fmla="*/ 416257 w 608989"/>
                    <a:gd name="connsiteY68" fmla="*/ 103263 h 474764"/>
                    <a:gd name="connsiteX69" fmla="*/ 238143 w 608989"/>
                    <a:gd name="connsiteY69" fmla="*/ 103263 h 474764"/>
                    <a:gd name="connsiteX70" fmla="*/ 168447 w 608989"/>
                    <a:gd name="connsiteY70" fmla="*/ 150304 h 474764"/>
                    <a:gd name="connsiteX71" fmla="*/ 103267 w 608989"/>
                    <a:gd name="connsiteY71" fmla="*/ 112446 h 474764"/>
                    <a:gd name="connsiteX72" fmla="*/ 103106 w 608989"/>
                    <a:gd name="connsiteY72" fmla="*/ 103908 h 474764"/>
                    <a:gd name="connsiteX73" fmla="*/ 110689 w 608989"/>
                    <a:gd name="connsiteY73" fmla="*/ 99880 h 474764"/>
                    <a:gd name="connsiteX74" fmla="*/ 159573 w 608989"/>
                    <a:gd name="connsiteY74" fmla="*/ 99880 h 474764"/>
                    <a:gd name="connsiteX75" fmla="*/ 164091 w 608989"/>
                    <a:gd name="connsiteY75" fmla="*/ 97786 h 474764"/>
                    <a:gd name="connsiteX76" fmla="*/ 164252 w 608989"/>
                    <a:gd name="connsiteY76" fmla="*/ 97464 h 474764"/>
                    <a:gd name="connsiteX77" fmla="*/ 180385 w 608989"/>
                    <a:gd name="connsiteY77" fmla="*/ 75232 h 474764"/>
                    <a:gd name="connsiteX78" fmla="*/ 164575 w 608989"/>
                    <a:gd name="connsiteY78" fmla="*/ 53162 h 474764"/>
                    <a:gd name="connsiteX79" fmla="*/ 164252 w 608989"/>
                    <a:gd name="connsiteY79" fmla="*/ 52679 h 474764"/>
                    <a:gd name="connsiteX80" fmla="*/ 160864 w 608989"/>
                    <a:gd name="connsiteY80" fmla="*/ 50423 h 474764"/>
                    <a:gd name="connsiteX81" fmla="*/ 160541 w 608989"/>
                    <a:gd name="connsiteY81" fmla="*/ 50423 h 474764"/>
                    <a:gd name="connsiteX82" fmla="*/ 110689 w 608989"/>
                    <a:gd name="connsiteY82" fmla="*/ 50262 h 474764"/>
                    <a:gd name="connsiteX83" fmla="*/ 103267 w 608989"/>
                    <a:gd name="connsiteY83" fmla="*/ 46235 h 474764"/>
                    <a:gd name="connsiteX84" fmla="*/ 103267 w 608989"/>
                    <a:gd name="connsiteY84" fmla="*/ 37858 h 474764"/>
                    <a:gd name="connsiteX85" fmla="*/ 168447 w 608989"/>
                    <a:gd name="connsiteY85" fmla="*/ 0 h 474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608989" h="474764">
                      <a:moveTo>
                        <a:pt x="427673" y="372781"/>
                      </a:moveTo>
                      <a:cubicBezTo>
                        <a:pt x="408960" y="372781"/>
                        <a:pt x="393797" y="387926"/>
                        <a:pt x="393797" y="406614"/>
                      </a:cubicBezTo>
                      <a:cubicBezTo>
                        <a:pt x="393797" y="425303"/>
                        <a:pt x="408960" y="440448"/>
                        <a:pt x="427673" y="440448"/>
                      </a:cubicBezTo>
                      <a:cubicBezTo>
                        <a:pt x="446385" y="440448"/>
                        <a:pt x="461549" y="425303"/>
                        <a:pt x="461549" y="406614"/>
                      </a:cubicBezTo>
                      <a:cubicBezTo>
                        <a:pt x="461549" y="387926"/>
                        <a:pt x="446385" y="372781"/>
                        <a:pt x="427673" y="372781"/>
                      </a:cubicBezTo>
                      <a:close/>
                      <a:moveTo>
                        <a:pt x="149568" y="372781"/>
                      </a:moveTo>
                      <a:cubicBezTo>
                        <a:pt x="130855" y="372781"/>
                        <a:pt x="115692" y="387926"/>
                        <a:pt x="115692" y="406614"/>
                      </a:cubicBezTo>
                      <a:cubicBezTo>
                        <a:pt x="115692" y="425303"/>
                        <a:pt x="130855" y="440448"/>
                        <a:pt x="149568" y="440448"/>
                      </a:cubicBezTo>
                      <a:cubicBezTo>
                        <a:pt x="168280" y="440448"/>
                        <a:pt x="183444" y="425303"/>
                        <a:pt x="183444" y="406614"/>
                      </a:cubicBezTo>
                      <a:cubicBezTo>
                        <a:pt x="183444" y="387926"/>
                        <a:pt x="168280" y="372781"/>
                        <a:pt x="149568" y="372781"/>
                      </a:cubicBezTo>
                      <a:close/>
                      <a:moveTo>
                        <a:pt x="413316" y="194754"/>
                      </a:moveTo>
                      <a:lnTo>
                        <a:pt x="413316" y="269348"/>
                      </a:lnTo>
                      <a:lnTo>
                        <a:pt x="477196" y="269348"/>
                      </a:lnTo>
                      <a:cubicBezTo>
                        <a:pt x="486068" y="269348"/>
                        <a:pt x="489133" y="263387"/>
                        <a:pt x="483971" y="256137"/>
                      </a:cubicBezTo>
                      <a:lnTo>
                        <a:pt x="449611" y="207965"/>
                      </a:lnTo>
                      <a:cubicBezTo>
                        <a:pt x="444449" y="200715"/>
                        <a:pt x="432996" y="194754"/>
                        <a:pt x="424124" y="194754"/>
                      </a:cubicBezTo>
                      <a:close/>
                      <a:moveTo>
                        <a:pt x="231999" y="194754"/>
                      </a:moveTo>
                      <a:cubicBezTo>
                        <a:pt x="223127" y="194754"/>
                        <a:pt x="211351" y="200393"/>
                        <a:pt x="205705" y="207321"/>
                      </a:cubicBezTo>
                      <a:lnTo>
                        <a:pt x="165860" y="256782"/>
                      </a:lnTo>
                      <a:cubicBezTo>
                        <a:pt x="160376" y="263709"/>
                        <a:pt x="163118" y="269348"/>
                        <a:pt x="171990" y="269348"/>
                      </a:cubicBezTo>
                      <a:lnTo>
                        <a:pt x="374439" y="269348"/>
                      </a:lnTo>
                      <a:lnTo>
                        <a:pt x="374439" y="194754"/>
                      </a:lnTo>
                      <a:close/>
                      <a:moveTo>
                        <a:pt x="217965" y="162371"/>
                      </a:moveTo>
                      <a:lnTo>
                        <a:pt x="442030" y="162371"/>
                      </a:lnTo>
                      <a:cubicBezTo>
                        <a:pt x="454612" y="162371"/>
                        <a:pt x="470098" y="170427"/>
                        <a:pt x="477196" y="180577"/>
                      </a:cubicBezTo>
                      <a:lnTo>
                        <a:pt x="524783" y="248243"/>
                      </a:lnTo>
                      <a:cubicBezTo>
                        <a:pt x="528816" y="254043"/>
                        <a:pt x="536882" y="257910"/>
                        <a:pt x="544625" y="257910"/>
                      </a:cubicBezTo>
                      <a:cubicBezTo>
                        <a:pt x="546883" y="257910"/>
                        <a:pt x="548819" y="257748"/>
                        <a:pt x="550594" y="257104"/>
                      </a:cubicBezTo>
                      <a:lnTo>
                        <a:pt x="586728" y="245826"/>
                      </a:lnTo>
                      <a:cubicBezTo>
                        <a:pt x="593987" y="243571"/>
                        <a:pt x="600924" y="245021"/>
                        <a:pt x="605118" y="249693"/>
                      </a:cubicBezTo>
                      <a:cubicBezTo>
                        <a:pt x="608183" y="253398"/>
                        <a:pt x="609473" y="258554"/>
                        <a:pt x="608828" y="264354"/>
                      </a:cubicBezTo>
                      <a:lnTo>
                        <a:pt x="590277" y="401942"/>
                      </a:lnTo>
                      <a:cubicBezTo>
                        <a:pt x="588664" y="414992"/>
                        <a:pt x="576565" y="425625"/>
                        <a:pt x="563337" y="425625"/>
                      </a:cubicBezTo>
                      <a:lnTo>
                        <a:pt x="493166" y="425625"/>
                      </a:lnTo>
                      <a:cubicBezTo>
                        <a:pt x="484939" y="453981"/>
                        <a:pt x="458806" y="474764"/>
                        <a:pt x="427673" y="474764"/>
                      </a:cubicBezTo>
                      <a:cubicBezTo>
                        <a:pt x="396700" y="474764"/>
                        <a:pt x="370568" y="453981"/>
                        <a:pt x="362341" y="425625"/>
                      </a:cubicBezTo>
                      <a:lnTo>
                        <a:pt x="215061" y="425625"/>
                      </a:lnTo>
                      <a:cubicBezTo>
                        <a:pt x="206834" y="453981"/>
                        <a:pt x="180540" y="474764"/>
                        <a:pt x="149568" y="474764"/>
                      </a:cubicBezTo>
                      <a:cubicBezTo>
                        <a:pt x="118595" y="474764"/>
                        <a:pt x="92301" y="453981"/>
                        <a:pt x="84074" y="425625"/>
                      </a:cubicBezTo>
                      <a:lnTo>
                        <a:pt x="21485" y="425625"/>
                      </a:lnTo>
                      <a:cubicBezTo>
                        <a:pt x="14871" y="425625"/>
                        <a:pt x="8902" y="423048"/>
                        <a:pt x="4869" y="418214"/>
                      </a:cubicBezTo>
                      <a:cubicBezTo>
                        <a:pt x="836" y="413542"/>
                        <a:pt x="-777" y="407420"/>
                        <a:pt x="352" y="400814"/>
                      </a:cubicBezTo>
                      <a:lnTo>
                        <a:pt x="15516" y="309304"/>
                      </a:lnTo>
                      <a:cubicBezTo>
                        <a:pt x="17613" y="296576"/>
                        <a:pt x="29066" y="284332"/>
                        <a:pt x="41649" y="281593"/>
                      </a:cubicBezTo>
                      <a:lnTo>
                        <a:pt x="95850" y="269348"/>
                      </a:lnTo>
                      <a:cubicBezTo>
                        <a:pt x="105690" y="267093"/>
                        <a:pt x="119241" y="258554"/>
                        <a:pt x="125532" y="250660"/>
                      </a:cubicBezTo>
                      <a:lnTo>
                        <a:pt x="181992" y="179771"/>
                      </a:lnTo>
                      <a:cubicBezTo>
                        <a:pt x="189735" y="169943"/>
                        <a:pt x="205544" y="162371"/>
                        <a:pt x="217965" y="162371"/>
                      </a:cubicBezTo>
                      <a:close/>
                      <a:moveTo>
                        <a:pt x="168447" y="0"/>
                      </a:moveTo>
                      <a:cubicBezTo>
                        <a:pt x="200068" y="0"/>
                        <a:pt x="227011" y="19493"/>
                        <a:pt x="238143" y="47040"/>
                      </a:cubicBezTo>
                      <a:lnTo>
                        <a:pt x="416257" y="47040"/>
                      </a:lnTo>
                      <a:cubicBezTo>
                        <a:pt x="418193" y="47040"/>
                        <a:pt x="419968" y="47202"/>
                        <a:pt x="421743" y="47524"/>
                      </a:cubicBezTo>
                      <a:cubicBezTo>
                        <a:pt x="432875" y="19815"/>
                        <a:pt x="459979" y="0"/>
                        <a:pt x="491762" y="0"/>
                      </a:cubicBezTo>
                      <a:cubicBezTo>
                        <a:pt x="518543" y="0"/>
                        <a:pt x="543550" y="14499"/>
                        <a:pt x="556941" y="37858"/>
                      </a:cubicBezTo>
                      <a:cubicBezTo>
                        <a:pt x="558232" y="39952"/>
                        <a:pt x="558877" y="43335"/>
                        <a:pt x="557103" y="46396"/>
                      </a:cubicBezTo>
                      <a:cubicBezTo>
                        <a:pt x="555651" y="48812"/>
                        <a:pt x="552908" y="50262"/>
                        <a:pt x="549520" y="50262"/>
                      </a:cubicBezTo>
                      <a:cubicBezTo>
                        <a:pt x="549520" y="50262"/>
                        <a:pt x="513703" y="50423"/>
                        <a:pt x="500635" y="50423"/>
                      </a:cubicBezTo>
                      <a:cubicBezTo>
                        <a:pt x="497731" y="50423"/>
                        <a:pt x="496279" y="52357"/>
                        <a:pt x="496279" y="52357"/>
                      </a:cubicBezTo>
                      <a:lnTo>
                        <a:pt x="495957" y="52840"/>
                      </a:lnTo>
                      <a:cubicBezTo>
                        <a:pt x="489019" y="60895"/>
                        <a:pt x="481275" y="71366"/>
                        <a:pt x="479823" y="75071"/>
                      </a:cubicBezTo>
                      <a:cubicBezTo>
                        <a:pt x="481275" y="78777"/>
                        <a:pt x="489019" y="89087"/>
                        <a:pt x="495634" y="97142"/>
                      </a:cubicBezTo>
                      <a:lnTo>
                        <a:pt x="495957" y="97625"/>
                      </a:lnTo>
                      <a:cubicBezTo>
                        <a:pt x="496441" y="98269"/>
                        <a:pt x="498054" y="99719"/>
                        <a:pt x="499345" y="99719"/>
                      </a:cubicBezTo>
                      <a:cubicBezTo>
                        <a:pt x="511929" y="99719"/>
                        <a:pt x="549520" y="99880"/>
                        <a:pt x="549520" y="99880"/>
                      </a:cubicBezTo>
                      <a:cubicBezTo>
                        <a:pt x="552747" y="99880"/>
                        <a:pt x="555489" y="101491"/>
                        <a:pt x="556941" y="104069"/>
                      </a:cubicBezTo>
                      <a:cubicBezTo>
                        <a:pt x="558393" y="106485"/>
                        <a:pt x="558393" y="109868"/>
                        <a:pt x="556941" y="112285"/>
                      </a:cubicBezTo>
                      <a:cubicBezTo>
                        <a:pt x="543550" y="135644"/>
                        <a:pt x="518543" y="150304"/>
                        <a:pt x="491762" y="150304"/>
                      </a:cubicBezTo>
                      <a:cubicBezTo>
                        <a:pt x="459979" y="150304"/>
                        <a:pt x="432875" y="130489"/>
                        <a:pt x="421743" y="102780"/>
                      </a:cubicBezTo>
                      <a:cubicBezTo>
                        <a:pt x="419968" y="103102"/>
                        <a:pt x="418193" y="103263"/>
                        <a:pt x="416257" y="103263"/>
                      </a:cubicBezTo>
                      <a:lnTo>
                        <a:pt x="238143" y="103263"/>
                      </a:lnTo>
                      <a:cubicBezTo>
                        <a:pt x="227011" y="130811"/>
                        <a:pt x="200068" y="150304"/>
                        <a:pt x="168447" y="150304"/>
                      </a:cubicBezTo>
                      <a:cubicBezTo>
                        <a:pt x="141665" y="150304"/>
                        <a:pt x="116658" y="135805"/>
                        <a:pt x="103267" y="112446"/>
                      </a:cubicBezTo>
                      <a:cubicBezTo>
                        <a:pt x="101977" y="110352"/>
                        <a:pt x="101331" y="106969"/>
                        <a:pt x="103106" y="103908"/>
                      </a:cubicBezTo>
                      <a:cubicBezTo>
                        <a:pt x="104558" y="101330"/>
                        <a:pt x="107301" y="99880"/>
                        <a:pt x="110689" y="99880"/>
                      </a:cubicBezTo>
                      <a:cubicBezTo>
                        <a:pt x="110689" y="99880"/>
                        <a:pt x="146505" y="99880"/>
                        <a:pt x="159573" y="99880"/>
                      </a:cubicBezTo>
                      <a:cubicBezTo>
                        <a:pt x="162477" y="99880"/>
                        <a:pt x="163929" y="98108"/>
                        <a:pt x="164091" y="97786"/>
                      </a:cubicBezTo>
                      <a:lnTo>
                        <a:pt x="164252" y="97464"/>
                      </a:lnTo>
                      <a:cubicBezTo>
                        <a:pt x="171189" y="89248"/>
                        <a:pt x="178933" y="78777"/>
                        <a:pt x="180385" y="75232"/>
                      </a:cubicBezTo>
                      <a:cubicBezTo>
                        <a:pt x="178933" y="71527"/>
                        <a:pt x="171189" y="61217"/>
                        <a:pt x="164575" y="53162"/>
                      </a:cubicBezTo>
                      <a:lnTo>
                        <a:pt x="164252" y="52679"/>
                      </a:lnTo>
                      <a:cubicBezTo>
                        <a:pt x="163768" y="52034"/>
                        <a:pt x="162155" y="50423"/>
                        <a:pt x="160864" y="50423"/>
                      </a:cubicBezTo>
                      <a:lnTo>
                        <a:pt x="160541" y="50423"/>
                      </a:lnTo>
                      <a:cubicBezTo>
                        <a:pt x="147796" y="50423"/>
                        <a:pt x="110689" y="50262"/>
                        <a:pt x="110689" y="50262"/>
                      </a:cubicBezTo>
                      <a:cubicBezTo>
                        <a:pt x="107462" y="50262"/>
                        <a:pt x="104719" y="48812"/>
                        <a:pt x="103267" y="46235"/>
                      </a:cubicBezTo>
                      <a:cubicBezTo>
                        <a:pt x="101815" y="43657"/>
                        <a:pt x="101654" y="40435"/>
                        <a:pt x="103267" y="37858"/>
                      </a:cubicBezTo>
                      <a:cubicBezTo>
                        <a:pt x="116497" y="14499"/>
                        <a:pt x="141665" y="0"/>
                        <a:pt x="168447" y="0"/>
                      </a:cubicBez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grpSp>
        </p:grpSp>
        <p:grpSp>
          <p:nvGrpSpPr>
            <p:cNvPr id="9" name="íSḷiḓê"/>
            <p:cNvGrpSpPr/>
            <p:nvPr/>
          </p:nvGrpSpPr>
          <p:grpSpPr>
            <a:xfrm>
              <a:off x="2587299" y="1636679"/>
              <a:ext cx="2240908" cy="1005914"/>
              <a:chOff x="3134941" y="3541240"/>
              <a:chExt cx="2240908" cy="1005914"/>
            </a:xfrm>
          </p:grpSpPr>
          <p:grpSp>
            <p:nvGrpSpPr>
              <p:cNvPr id="31" name="íślîďé"/>
              <p:cNvGrpSpPr/>
              <p:nvPr/>
            </p:nvGrpSpPr>
            <p:grpSpPr>
              <a:xfrm>
                <a:off x="3134941" y="3541240"/>
                <a:ext cx="1475629" cy="1005914"/>
                <a:chOff x="4243853" y="2741333"/>
                <a:chExt cx="1475629" cy="1005914"/>
              </a:xfrm>
            </p:grpSpPr>
            <p:sp>
              <p:nvSpPr>
                <p:cNvPr id="35" name="îṩlîḍé">
                  <a:extLst>
                    <a:ext uri="{FF2B5EF4-FFF2-40B4-BE49-F238E27FC236}">
                      <a16:creationId xmlns:a16="http://schemas.microsoft.com/office/drawing/2014/main" id="{73DA5CA1-A22D-45FF-B355-18D3880E7B99}"/>
                    </a:ext>
                  </a:extLst>
                </p:cNvPr>
                <p:cNvSpPr/>
                <p:nvPr/>
              </p:nvSpPr>
              <p:spPr>
                <a:xfrm>
                  <a:off x="4243855" y="2741333"/>
                  <a:ext cx="1475627" cy="410188"/>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r">
                    <a:lnSpc>
                      <a:spcPct val="120000"/>
                    </a:lnSpc>
                  </a:pPr>
                  <a:r>
                    <a:rPr lang="en-US" altLang="zh-CN" sz="1400" b="1">
                      <a:solidFill>
                        <a:schemeClr val="tx1"/>
                      </a:solidFill>
                    </a:rPr>
                    <a:t>Text h</a:t>
                  </a:r>
                  <a:r>
                    <a:rPr lang="en-US" altLang="zh-CN" sz="100" b="1">
                      <a:solidFill>
                        <a:schemeClr val="tx1"/>
                      </a:solidFill>
                    </a:rPr>
                    <a:t> </a:t>
                  </a:r>
                  <a:r>
                    <a:rPr lang="en-US" altLang="zh-CN" sz="1400" b="1">
                      <a:solidFill>
                        <a:schemeClr val="tx1"/>
                      </a:solidFill>
                    </a:rPr>
                    <a:t>ere</a:t>
                  </a:r>
                  <a:endParaRPr lang="zh-CN" altLang="en-US" sz="1400" b="1" dirty="0">
                    <a:solidFill>
                      <a:schemeClr val="tx1"/>
                    </a:solidFill>
                  </a:endParaRPr>
                </a:p>
              </p:txBody>
            </p:sp>
            <p:sp>
              <p:nvSpPr>
                <p:cNvPr id="36" name="îşḷíde">
                  <a:extLst>
                    <a:ext uri="{FF2B5EF4-FFF2-40B4-BE49-F238E27FC236}">
                      <a16:creationId xmlns:a16="http://schemas.microsoft.com/office/drawing/2014/main" id="{B40F5E8D-FBEB-4054-86D5-66BEF7C4392C}"/>
                    </a:ext>
                  </a:extLst>
                </p:cNvPr>
                <p:cNvSpPr txBox="1"/>
                <p:nvPr/>
              </p:nvSpPr>
              <p:spPr>
                <a:xfrm>
                  <a:off x="4243853" y="3151522"/>
                  <a:ext cx="1475628" cy="595725"/>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50000"/>
                    </a:lnSpc>
                    <a:spcBef>
                      <a:spcPct val="0"/>
                    </a:spcBef>
                  </a:pPr>
                  <a:r>
                    <a:rPr lang="en-US" altLang="zh-CN" sz="1000" dirty="0"/>
                    <a:t>Supporting </a:t>
                  </a:r>
                  <a:r>
                    <a:rPr lang="en-US" altLang="zh-CN" sz="1000"/>
                    <a:t>text h</a:t>
                  </a:r>
                  <a:r>
                    <a:rPr lang="en-US" altLang="zh-CN" sz="100"/>
                    <a:t> </a:t>
                  </a:r>
                  <a:r>
                    <a:rPr lang="en-US" altLang="zh-CN" sz="1000"/>
                    <a:t>ere</a:t>
                  </a:r>
                  <a:r>
                    <a:rPr lang="en-US" altLang="zh-CN" sz="1000" dirty="0"/>
                    <a:t>.</a:t>
                  </a:r>
                </a:p>
                <a:p>
                  <a:pPr algn="r">
                    <a:lnSpc>
                      <a:spcPct val="150000"/>
                    </a:lnSpc>
                    <a:spcBef>
                      <a:spcPct val="0"/>
                    </a:spcBef>
                  </a:pPr>
                  <a:r>
                    <a:rPr lang="en-US" altLang="zh-CN" sz="1000" dirty="0"/>
                    <a:t>……</a:t>
                  </a:r>
                </a:p>
              </p:txBody>
            </p:sp>
          </p:grpSp>
          <p:grpSp>
            <p:nvGrpSpPr>
              <p:cNvPr id="32" name="ïš1îḍe"/>
              <p:cNvGrpSpPr/>
              <p:nvPr/>
            </p:nvGrpSpPr>
            <p:grpSpPr>
              <a:xfrm>
                <a:off x="4804337" y="3758441"/>
                <a:ext cx="571512" cy="571512"/>
                <a:chOff x="4123765" y="2164043"/>
                <a:chExt cx="457200" cy="457200"/>
              </a:xfrm>
            </p:grpSpPr>
            <p:sp>
              <p:nvSpPr>
                <p:cNvPr id="33" name="îṣľïḍé"/>
                <p:cNvSpPr/>
                <p:nvPr/>
              </p:nvSpPr>
              <p:spPr>
                <a:xfrm>
                  <a:off x="4123765" y="2164043"/>
                  <a:ext cx="457200" cy="457200"/>
                </a:xfrm>
                <a:prstGeom prst="ellipse">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sp>
              <p:nvSpPr>
                <p:cNvPr id="34" name="îṥļïďe"/>
                <p:cNvSpPr/>
                <p:nvPr/>
              </p:nvSpPr>
              <p:spPr>
                <a:xfrm>
                  <a:off x="4243855" y="2308048"/>
                  <a:ext cx="217020" cy="169187"/>
                </a:xfrm>
                <a:custGeom>
                  <a:avLst/>
                  <a:gdLst>
                    <a:gd name="connsiteX0" fmla="*/ 427673 w 608989"/>
                    <a:gd name="connsiteY0" fmla="*/ 372781 h 474764"/>
                    <a:gd name="connsiteX1" fmla="*/ 393797 w 608989"/>
                    <a:gd name="connsiteY1" fmla="*/ 406614 h 474764"/>
                    <a:gd name="connsiteX2" fmla="*/ 427673 w 608989"/>
                    <a:gd name="connsiteY2" fmla="*/ 440448 h 474764"/>
                    <a:gd name="connsiteX3" fmla="*/ 461549 w 608989"/>
                    <a:gd name="connsiteY3" fmla="*/ 406614 h 474764"/>
                    <a:gd name="connsiteX4" fmla="*/ 427673 w 608989"/>
                    <a:gd name="connsiteY4" fmla="*/ 372781 h 474764"/>
                    <a:gd name="connsiteX5" fmla="*/ 149568 w 608989"/>
                    <a:gd name="connsiteY5" fmla="*/ 372781 h 474764"/>
                    <a:gd name="connsiteX6" fmla="*/ 115692 w 608989"/>
                    <a:gd name="connsiteY6" fmla="*/ 406614 h 474764"/>
                    <a:gd name="connsiteX7" fmla="*/ 149568 w 608989"/>
                    <a:gd name="connsiteY7" fmla="*/ 440448 h 474764"/>
                    <a:gd name="connsiteX8" fmla="*/ 183444 w 608989"/>
                    <a:gd name="connsiteY8" fmla="*/ 406614 h 474764"/>
                    <a:gd name="connsiteX9" fmla="*/ 149568 w 608989"/>
                    <a:gd name="connsiteY9" fmla="*/ 372781 h 474764"/>
                    <a:gd name="connsiteX10" fmla="*/ 413316 w 608989"/>
                    <a:gd name="connsiteY10" fmla="*/ 194754 h 474764"/>
                    <a:gd name="connsiteX11" fmla="*/ 413316 w 608989"/>
                    <a:gd name="connsiteY11" fmla="*/ 269348 h 474764"/>
                    <a:gd name="connsiteX12" fmla="*/ 477196 w 608989"/>
                    <a:gd name="connsiteY12" fmla="*/ 269348 h 474764"/>
                    <a:gd name="connsiteX13" fmla="*/ 483971 w 608989"/>
                    <a:gd name="connsiteY13" fmla="*/ 256137 h 474764"/>
                    <a:gd name="connsiteX14" fmla="*/ 449611 w 608989"/>
                    <a:gd name="connsiteY14" fmla="*/ 207965 h 474764"/>
                    <a:gd name="connsiteX15" fmla="*/ 424124 w 608989"/>
                    <a:gd name="connsiteY15" fmla="*/ 194754 h 474764"/>
                    <a:gd name="connsiteX16" fmla="*/ 231999 w 608989"/>
                    <a:gd name="connsiteY16" fmla="*/ 194754 h 474764"/>
                    <a:gd name="connsiteX17" fmla="*/ 205705 w 608989"/>
                    <a:gd name="connsiteY17" fmla="*/ 207321 h 474764"/>
                    <a:gd name="connsiteX18" fmla="*/ 165860 w 608989"/>
                    <a:gd name="connsiteY18" fmla="*/ 256782 h 474764"/>
                    <a:gd name="connsiteX19" fmla="*/ 171990 w 608989"/>
                    <a:gd name="connsiteY19" fmla="*/ 269348 h 474764"/>
                    <a:gd name="connsiteX20" fmla="*/ 374439 w 608989"/>
                    <a:gd name="connsiteY20" fmla="*/ 269348 h 474764"/>
                    <a:gd name="connsiteX21" fmla="*/ 374439 w 608989"/>
                    <a:gd name="connsiteY21" fmla="*/ 194754 h 474764"/>
                    <a:gd name="connsiteX22" fmla="*/ 217965 w 608989"/>
                    <a:gd name="connsiteY22" fmla="*/ 162371 h 474764"/>
                    <a:gd name="connsiteX23" fmla="*/ 442030 w 608989"/>
                    <a:gd name="connsiteY23" fmla="*/ 162371 h 474764"/>
                    <a:gd name="connsiteX24" fmla="*/ 477196 w 608989"/>
                    <a:gd name="connsiteY24" fmla="*/ 180577 h 474764"/>
                    <a:gd name="connsiteX25" fmla="*/ 524783 w 608989"/>
                    <a:gd name="connsiteY25" fmla="*/ 248243 h 474764"/>
                    <a:gd name="connsiteX26" fmla="*/ 544625 w 608989"/>
                    <a:gd name="connsiteY26" fmla="*/ 257910 h 474764"/>
                    <a:gd name="connsiteX27" fmla="*/ 550594 w 608989"/>
                    <a:gd name="connsiteY27" fmla="*/ 257104 h 474764"/>
                    <a:gd name="connsiteX28" fmla="*/ 586728 w 608989"/>
                    <a:gd name="connsiteY28" fmla="*/ 245826 h 474764"/>
                    <a:gd name="connsiteX29" fmla="*/ 605118 w 608989"/>
                    <a:gd name="connsiteY29" fmla="*/ 249693 h 474764"/>
                    <a:gd name="connsiteX30" fmla="*/ 608828 w 608989"/>
                    <a:gd name="connsiteY30" fmla="*/ 264354 h 474764"/>
                    <a:gd name="connsiteX31" fmla="*/ 590277 w 608989"/>
                    <a:gd name="connsiteY31" fmla="*/ 401942 h 474764"/>
                    <a:gd name="connsiteX32" fmla="*/ 563337 w 608989"/>
                    <a:gd name="connsiteY32" fmla="*/ 425625 h 474764"/>
                    <a:gd name="connsiteX33" fmla="*/ 493166 w 608989"/>
                    <a:gd name="connsiteY33" fmla="*/ 425625 h 474764"/>
                    <a:gd name="connsiteX34" fmla="*/ 427673 w 608989"/>
                    <a:gd name="connsiteY34" fmla="*/ 474764 h 474764"/>
                    <a:gd name="connsiteX35" fmla="*/ 362341 w 608989"/>
                    <a:gd name="connsiteY35" fmla="*/ 425625 h 474764"/>
                    <a:gd name="connsiteX36" fmla="*/ 215061 w 608989"/>
                    <a:gd name="connsiteY36" fmla="*/ 425625 h 474764"/>
                    <a:gd name="connsiteX37" fmla="*/ 149568 w 608989"/>
                    <a:gd name="connsiteY37" fmla="*/ 474764 h 474764"/>
                    <a:gd name="connsiteX38" fmla="*/ 84074 w 608989"/>
                    <a:gd name="connsiteY38" fmla="*/ 425625 h 474764"/>
                    <a:gd name="connsiteX39" fmla="*/ 21485 w 608989"/>
                    <a:gd name="connsiteY39" fmla="*/ 425625 h 474764"/>
                    <a:gd name="connsiteX40" fmla="*/ 4869 w 608989"/>
                    <a:gd name="connsiteY40" fmla="*/ 418214 h 474764"/>
                    <a:gd name="connsiteX41" fmla="*/ 352 w 608989"/>
                    <a:gd name="connsiteY41" fmla="*/ 400814 h 474764"/>
                    <a:gd name="connsiteX42" fmla="*/ 15516 w 608989"/>
                    <a:gd name="connsiteY42" fmla="*/ 309304 h 474764"/>
                    <a:gd name="connsiteX43" fmla="*/ 41649 w 608989"/>
                    <a:gd name="connsiteY43" fmla="*/ 281593 h 474764"/>
                    <a:gd name="connsiteX44" fmla="*/ 95850 w 608989"/>
                    <a:gd name="connsiteY44" fmla="*/ 269348 h 474764"/>
                    <a:gd name="connsiteX45" fmla="*/ 125532 w 608989"/>
                    <a:gd name="connsiteY45" fmla="*/ 250660 h 474764"/>
                    <a:gd name="connsiteX46" fmla="*/ 181992 w 608989"/>
                    <a:gd name="connsiteY46" fmla="*/ 179771 h 474764"/>
                    <a:gd name="connsiteX47" fmla="*/ 217965 w 608989"/>
                    <a:gd name="connsiteY47" fmla="*/ 162371 h 474764"/>
                    <a:gd name="connsiteX48" fmla="*/ 168447 w 608989"/>
                    <a:gd name="connsiteY48" fmla="*/ 0 h 474764"/>
                    <a:gd name="connsiteX49" fmla="*/ 238143 w 608989"/>
                    <a:gd name="connsiteY49" fmla="*/ 47040 h 474764"/>
                    <a:gd name="connsiteX50" fmla="*/ 416257 w 608989"/>
                    <a:gd name="connsiteY50" fmla="*/ 47040 h 474764"/>
                    <a:gd name="connsiteX51" fmla="*/ 421743 w 608989"/>
                    <a:gd name="connsiteY51" fmla="*/ 47524 h 474764"/>
                    <a:gd name="connsiteX52" fmla="*/ 491762 w 608989"/>
                    <a:gd name="connsiteY52" fmla="*/ 0 h 474764"/>
                    <a:gd name="connsiteX53" fmla="*/ 556941 w 608989"/>
                    <a:gd name="connsiteY53" fmla="*/ 37858 h 474764"/>
                    <a:gd name="connsiteX54" fmla="*/ 557103 w 608989"/>
                    <a:gd name="connsiteY54" fmla="*/ 46396 h 474764"/>
                    <a:gd name="connsiteX55" fmla="*/ 549520 w 608989"/>
                    <a:gd name="connsiteY55" fmla="*/ 50262 h 474764"/>
                    <a:gd name="connsiteX56" fmla="*/ 500635 w 608989"/>
                    <a:gd name="connsiteY56" fmla="*/ 50423 h 474764"/>
                    <a:gd name="connsiteX57" fmla="*/ 496279 w 608989"/>
                    <a:gd name="connsiteY57" fmla="*/ 52357 h 474764"/>
                    <a:gd name="connsiteX58" fmla="*/ 495957 w 608989"/>
                    <a:gd name="connsiteY58" fmla="*/ 52840 h 474764"/>
                    <a:gd name="connsiteX59" fmla="*/ 479823 w 608989"/>
                    <a:gd name="connsiteY59" fmla="*/ 75071 h 474764"/>
                    <a:gd name="connsiteX60" fmla="*/ 495634 w 608989"/>
                    <a:gd name="connsiteY60" fmla="*/ 97142 h 474764"/>
                    <a:gd name="connsiteX61" fmla="*/ 495957 w 608989"/>
                    <a:gd name="connsiteY61" fmla="*/ 97625 h 474764"/>
                    <a:gd name="connsiteX62" fmla="*/ 499345 w 608989"/>
                    <a:gd name="connsiteY62" fmla="*/ 99719 h 474764"/>
                    <a:gd name="connsiteX63" fmla="*/ 549520 w 608989"/>
                    <a:gd name="connsiteY63" fmla="*/ 99880 h 474764"/>
                    <a:gd name="connsiteX64" fmla="*/ 556941 w 608989"/>
                    <a:gd name="connsiteY64" fmla="*/ 104069 h 474764"/>
                    <a:gd name="connsiteX65" fmla="*/ 556941 w 608989"/>
                    <a:gd name="connsiteY65" fmla="*/ 112285 h 474764"/>
                    <a:gd name="connsiteX66" fmla="*/ 491762 w 608989"/>
                    <a:gd name="connsiteY66" fmla="*/ 150304 h 474764"/>
                    <a:gd name="connsiteX67" fmla="*/ 421743 w 608989"/>
                    <a:gd name="connsiteY67" fmla="*/ 102780 h 474764"/>
                    <a:gd name="connsiteX68" fmla="*/ 416257 w 608989"/>
                    <a:gd name="connsiteY68" fmla="*/ 103263 h 474764"/>
                    <a:gd name="connsiteX69" fmla="*/ 238143 w 608989"/>
                    <a:gd name="connsiteY69" fmla="*/ 103263 h 474764"/>
                    <a:gd name="connsiteX70" fmla="*/ 168447 w 608989"/>
                    <a:gd name="connsiteY70" fmla="*/ 150304 h 474764"/>
                    <a:gd name="connsiteX71" fmla="*/ 103267 w 608989"/>
                    <a:gd name="connsiteY71" fmla="*/ 112446 h 474764"/>
                    <a:gd name="connsiteX72" fmla="*/ 103106 w 608989"/>
                    <a:gd name="connsiteY72" fmla="*/ 103908 h 474764"/>
                    <a:gd name="connsiteX73" fmla="*/ 110689 w 608989"/>
                    <a:gd name="connsiteY73" fmla="*/ 99880 h 474764"/>
                    <a:gd name="connsiteX74" fmla="*/ 159573 w 608989"/>
                    <a:gd name="connsiteY74" fmla="*/ 99880 h 474764"/>
                    <a:gd name="connsiteX75" fmla="*/ 164091 w 608989"/>
                    <a:gd name="connsiteY75" fmla="*/ 97786 h 474764"/>
                    <a:gd name="connsiteX76" fmla="*/ 164252 w 608989"/>
                    <a:gd name="connsiteY76" fmla="*/ 97464 h 474764"/>
                    <a:gd name="connsiteX77" fmla="*/ 180385 w 608989"/>
                    <a:gd name="connsiteY77" fmla="*/ 75232 h 474764"/>
                    <a:gd name="connsiteX78" fmla="*/ 164575 w 608989"/>
                    <a:gd name="connsiteY78" fmla="*/ 53162 h 474764"/>
                    <a:gd name="connsiteX79" fmla="*/ 164252 w 608989"/>
                    <a:gd name="connsiteY79" fmla="*/ 52679 h 474764"/>
                    <a:gd name="connsiteX80" fmla="*/ 160864 w 608989"/>
                    <a:gd name="connsiteY80" fmla="*/ 50423 h 474764"/>
                    <a:gd name="connsiteX81" fmla="*/ 160541 w 608989"/>
                    <a:gd name="connsiteY81" fmla="*/ 50423 h 474764"/>
                    <a:gd name="connsiteX82" fmla="*/ 110689 w 608989"/>
                    <a:gd name="connsiteY82" fmla="*/ 50262 h 474764"/>
                    <a:gd name="connsiteX83" fmla="*/ 103267 w 608989"/>
                    <a:gd name="connsiteY83" fmla="*/ 46235 h 474764"/>
                    <a:gd name="connsiteX84" fmla="*/ 103267 w 608989"/>
                    <a:gd name="connsiteY84" fmla="*/ 37858 h 474764"/>
                    <a:gd name="connsiteX85" fmla="*/ 168447 w 608989"/>
                    <a:gd name="connsiteY85" fmla="*/ 0 h 474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608989" h="474764">
                      <a:moveTo>
                        <a:pt x="427673" y="372781"/>
                      </a:moveTo>
                      <a:cubicBezTo>
                        <a:pt x="408960" y="372781"/>
                        <a:pt x="393797" y="387926"/>
                        <a:pt x="393797" y="406614"/>
                      </a:cubicBezTo>
                      <a:cubicBezTo>
                        <a:pt x="393797" y="425303"/>
                        <a:pt x="408960" y="440448"/>
                        <a:pt x="427673" y="440448"/>
                      </a:cubicBezTo>
                      <a:cubicBezTo>
                        <a:pt x="446385" y="440448"/>
                        <a:pt x="461549" y="425303"/>
                        <a:pt x="461549" y="406614"/>
                      </a:cubicBezTo>
                      <a:cubicBezTo>
                        <a:pt x="461549" y="387926"/>
                        <a:pt x="446385" y="372781"/>
                        <a:pt x="427673" y="372781"/>
                      </a:cubicBezTo>
                      <a:close/>
                      <a:moveTo>
                        <a:pt x="149568" y="372781"/>
                      </a:moveTo>
                      <a:cubicBezTo>
                        <a:pt x="130855" y="372781"/>
                        <a:pt x="115692" y="387926"/>
                        <a:pt x="115692" y="406614"/>
                      </a:cubicBezTo>
                      <a:cubicBezTo>
                        <a:pt x="115692" y="425303"/>
                        <a:pt x="130855" y="440448"/>
                        <a:pt x="149568" y="440448"/>
                      </a:cubicBezTo>
                      <a:cubicBezTo>
                        <a:pt x="168280" y="440448"/>
                        <a:pt x="183444" y="425303"/>
                        <a:pt x="183444" y="406614"/>
                      </a:cubicBezTo>
                      <a:cubicBezTo>
                        <a:pt x="183444" y="387926"/>
                        <a:pt x="168280" y="372781"/>
                        <a:pt x="149568" y="372781"/>
                      </a:cubicBezTo>
                      <a:close/>
                      <a:moveTo>
                        <a:pt x="413316" y="194754"/>
                      </a:moveTo>
                      <a:lnTo>
                        <a:pt x="413316" y="269348"/>
                      </a:lnTo>
                      <a:lnTo>
                        <a:pt x="477196" y="269348"/>
                      </a:lnTo>
                      <a:cubicBezTo>
                        <a:pt x="486068" y="269348"/>
                        <a:pt x="489133" y="263387"/>
                        <a:pt x="483971" y="256137"/>
                      </a:cubicBezTo>
                      <a:lnTo>
                        <a:pt x="449611" y="207965"/>
                      </a:lnTo>
                      <a:cubicBezTo>
                        <a:pt x="444449" y="200715"/>
                        <a:pt x="432996" y="194754"/>
                        <a:pt x="424124" y="194754"/>
                      </a:cubicBezTo>
                      <a:close/>
                      <a:moveTo>
                        <a:pt x="231999" y="194754"/>
                      </a:moveTo>
                      <a:cubicBezTo>
                        <a:pt x="223127" y="194754"/>
                        <a:pt x="211351" y="200393"/>
                        <a:pt x="205705" y="207321"/>
                      </a:cubicBezTo>
                      <a:lnTo>
                        <a:pt x="165860" y="256782"/>
                      </a:lnTo>
                      <a:cubicBezTo>
                        <a:pt x="160376" y="263709"/>
                        <a:pt x="163118" y="269348"/>
                        <a:pt x="171990" y="269348"/>
                      </a:cubicBezTo>
                      <a:lnTo>
                        <a:pt x="374439" y="269348"/>
                      </a:lnTo>
                      <a:lnTo>
                        <a:pt x="374439" y="194754"/>
                      </a:lnTo>
                      <a:close/>
                      <a:moveTo>
                        <a:pt x="217965" y="162371"/>
                      </a:moveTo>
                      <a:lnTo>
                        <a:pt x="442030" y="162371"/>
                      </a:lnTo>
                      <a:cubicBezTo>
                        <a:pt x="454612" y="162371"/>
                        <a:pt x="470098" y="170427"/>
                        <a:pt x="477196" y="180577"/>
                      </a:cubicBezTo>
                      <a:lnTo>
                        <a:pt x="524783" y="248243"/>
                      </a:lnTo>
                      <a:cubicBezTo>
                        <a:pt x="528816" y="254043"/>
                        <a:pt x="536882" y="257910"/>
                        <a:pt x="544625" y="257910"/>
                      </a:cubicBezTo>
                      <a:cubicBezTo>
                        <a:pt x="546883" y="257910"/>
                        <a:pt x="548819" y="257748"/>
                        <a:pt x="550594" y="257104"/>
                      </a:cubicBezTo>
                      <a:lnTo>
                        <a:pt x="586728" y="245826"/>
                      </a:lnTo>
                      <a:cubicBezTo>
                        <a:pt x="593987" y="243571"/>
                        <a:pt x="600924" y="245021"/>
                        <a:pt x="605118" y="249693"/>
                      </a:cubicBezTo>
                      <a:cubicBezTo>
                        <a:pt x="608183" y="253398"/>
                        <a:pt x="609473" y="258554"/>
                        <a:pt x="608828" y="264354"/>
                      </a:cubicBezTo>
                      <a:lnTo>
                        <a:pt x="590277" y="401942"/>
                      </a:lnTo>
                      <a:cubicBezTo>
                        <a:pt x="588664" y="414992"/>
                        <a:pt x="576565" y="425625"/>
                        <a:pt x="563337" y="425625"/>
                      </a:cubicBezTo>
                      <a:lnTo>
                        <a:pt x="493166" y="425625"/>
                      </a:lnTo>
                      <a:cubicBezTo>
                        <a:pt x="484939" y="453981"/>
                        <a:pt x="458806" y="474764"/>
                        <a:pt x="427673" y="474764"/>
                      </a:cubicBezTo>
                      <a:cubicBezTo>
                        <a:pt x="396700" y="474764"/>
                        <a:pt x="370568" y="453981"/>
                        <a:pt x="362341" y="425625"/>
                      </a:cubicBezTo>
                      <a:lnTo>
                        <a:pt x="215061" y="425625"/>
                      </a:lnTo>
                      <a:cubicBezTo>
                        <a:pt x="206834" y="453981"/>
                        <a:pt x="180540" y="474764"/>
                        <a:pt x="149568" y="474764"/>
                      </a:cubicBezTo>
                      <a:cubicBezTo>
                        <a:pt x="118595" y="474764"/>
                        <a:pt x="92301" y="453981"/>
                        <a:pt x="84074" y="425625"/>
                      </a:cubicBezTo>
                      <a:lnTo>
                        <a:pt x="21485" y="425625"/>
                      </a:lnTo>
                      <a:cubicBezTo>
                        <a:pt x="14871" y="425625"/>
                        <a:pt x="8902" y="423048"/>
                        <a:pt x="4869" y="418214"/>
                      </a:cubicBezTo>
                      <a:cubicBezTo>
                        <a:pt x="836" y="413542"/>
                        <a:pt x="-777" y="407420"/>
                        <a:pt x="352" y="400814"/>
                      </a:cubicBezTo>
                      <a:lnTo>
                        <a:pt x="15516" y="309304"/>
                      </a:lnTo>
                      <a:cubicBezTo>
                        <a:pt x="17613" y="296576"/>
                        <a:pt x="29066" y="284332"/>
                        <a:pt x="41649" y="281593"/>
                      </a:cubicBezTo>
                      <a:lnTo>
                        <a:pt x="95850" y="269348"/>
                      </a:lnTo>
                      <a:cubicBezTo>
                        <a:pt x="105690" y="267093"/>
                        <a:pt x="119241" y="258554"/>
                        <a:pt x="125532" y="250660"/>
                      </a:cubicBezTo>
                      <a:lnTo>
                        <a:pt x="181992" y="179771"/>
                      </a:lnTo>
                      <a:cubicBezTo>
                        <a:pt x="189735" y="169943"/>
                        <a:pt x="205544" y="162371"/>
                        <a:pt x="217965" y="162371"/>
                      </a:cubicBezTo>
                      <a:close/>
                      <a:moveTo>
                        <a:pt x="168447" y="0"/>
                      </a:moveTo>
                      <a:cubicBezTo>
                        <a:pt x="200068" y="0"/>
                        <a:pt x="227011" y="19493"/>
                        <a:pt x="238143" y="47040"/>
                      </a:cubicBezTo>
                      <a:lnTo>
                        <a:pt x="416257" y="47040"/>
                      </a:lnTo>
                      <a:cubicBezTo>
                        <a:pt x="418193" y="47040"/>
                        <a:pt x="419968" y="47202"/>
                        <a:pt x="421743" y="47524"/>
                      </a:cubicBezTo>
                      <a:cubicBezTo>
                        <a:pt x="432875" y="19815"/>
                        <a:pt x="459979" y="0"/>
                        <a:pt x="491762" y="0"/>
                      </a:cubicBezTo>
                      <a:cubicBezTo>
                        <a:pt x="518543" y="0"/>
                        <a:pt x="543550" y="14499"/>
                        <a:pt x="556941" y="37858"/>
                      </a:cubicBezTo>
                      <a:cubicBezTo>
                        <a:pt x="558232" y="39952"/>
                        <a:pt x="558877" y="43335"/>
                        <a:pt x="557103" y="46396"/>
                      </a:cubicBezTo>
                      <a:cubicBezTo>
                        <a:pt x="555651" y="48812"/>
                        <a:pt x="552908" y="50262"/>
                        <a:pt x="549520" y="50262"/>
                      </a:cubicBezTo>
                      <a:cubicBezTo>
                        <a:pt x="549520" y="50262"/>
                        <a:pt x="513703" y="50423"/>
                        <a:pt x="500635" y="50423"/>
                      </a:cubicBezTo>
                      <a:cubicBezTo>
                        <a:pt x="497731" y="50423"/>
                        <a:pt x="496279" y="52357"/>
                        <a:pt x="496279" y="52357"/>
                      </a:cubicBezTo>
                      <a:lnTo>
                        <a:pt x="495957" y="52840"/>
                      </a:lnTo>
                      <a:cubicBezTo>
                        <a:pt x="489019" y="60895"/>
                        <a:pt x="481275" y="71366"/>
                        <a:pt x="479823" y="75071"/>
                      </a:cubicBezTo>
                      <a:cubicBezTo>
                        <a:pt x="481275" y="78777"/>
                        <a:pt x="489019" y="89087"/>
                        <a:pt x="495634" y="97142"/>
                      </a:cubicBezTo>
                      <a:lnTo>
                        <a:pt x="495957" y="97625"/>
                      </a:lnTo>
                      <a:cubicBezTo>
                        <a:pt x="496441" y="98269"/>
                        <a:pt x="498054" y="99719"/>
                        <a:pt x="499345" y="99719"/>
                      </a:cubicBezTo>
                      <a:cubicBezTo>
                        <a:pt x="511929" y="99719"/>
                        <a:pt x="549520" y="99880"/>
                        <a:pt x="549520" y="99880"/>
                      </a:cubicBezTo>
                      <a:cubicBezTo>
                        <a:pt x="552747" y="99880"/>
                        <a:pt x="555489" y="101491"/>
                        <a:pt x="556941" y="104069"/>
                      </a:cubicBezTo>
                      <a:cubicBezTo>
                        <a:pt x="558393" y="106485"/>
                        <a:pt x="558393" y="109868"/>
                        <a:pt x="556941" y="112285"/>
                      </a:cubicBezTo>
                      <a:cubicBezTo>
                        <a:pt x="543550" y="135644"/>
                        <a:pt x="518543" y="150304"/>
                        <a:pt x="491762" y="150304"/>
                      </a:cubicBezTo>
                      <a:cubicBezTo>
                        <a:pt x="459979" y="150304"/>
                        <a:pt x="432875" y="130489"/>
                        <a:pt x="421743" y="102780"/>
                      </a:cubicBezTo>
                      <a:cubicBezTo>
                        <a:pt x="419968" y="103102"/>
                        <a:pt x="418193" y="103263"/>
                        <a:pt x="416257" y="103263"/>
                      </a:cubicBezTo>
                      <a:lnTo>
                        <a:pt x="238143" y="103263"/>
                      </a:lnTo>
                      <a:cubicBezTo>
                        <a:pt x="227011" y="130811"/>
                        <a:pt x="200068" y="150304"/>
                        <a:pt x="168447" y="150304"/>
                      </a:cubicBezTo>
                      <a:cubicBezTo>
                        <a:pt x="141665" y="150304"/>
                        <a:pt x="116658" y="135805"/>
                        <a:pt x="103267" y="112446"/>
                      </a:cubicBezTo>
                      <a:cubicBezTo>
                        <a:pt x="101977" y="110352"/>
                        <a:pt x="101331" y="106969"/>
                        <a:pt x="103106" y="103908"/>
                      </a:cubicBezTo>
                      <a:cubicBezTo>
                        <a:pt x="104558" y="101330"/>
                        <a:pt x="107301" y="99880"/>
                        <a:pt x="110689" y="99880"/>
                      </a:cubicBezTo>
                      <a:cubicBezTo>
                        <a:pt x="110689" y="99880"/>
                        <a:pt x="146505" y="99880"/>
                        <a:pt x="159573" y="99880"/>
                      </a:cubicBezTo>
                      <a:cubicBezTo>
                        <a:pt x="162477" y="99880"/>
                        <a:pt x="163929" y="98108"/>
                        <a:pt x="164091" y="97786"/>
                      </a:cubicBezTo>
                      <a:lnTo>
                        <a:pt x="164252" y="97464"/>
                      </a:lnTo>
                      <a:cubicBezTo>
                        <a:pt x="171189" y="89248"/>
                        <a:pt x="178933" y="78777"/>
                        <a:pt x="180385" y="75232"/>
                      </a:cubicBezTo>
                      <a:cubicBezTo>
                        <a:pt x="178933" y="71527"/>
                        <a:pt x="171189" y="61217"/>
                        <a:pt x="164575" y="53162"/>
                      </a:cubicBezTo>
                      <a:lnTo>
                        <a:pt x="164252" y="52679"/>
                      </a:lnTo>
                      <a:cubicBezTo>
                        <a:pt x="163768" y="52034"/>
                        <a:pt x="162155" y="50423"/>
                        <a:pt x="160864" y="50423"/>
                      </a:cubicBezTo>
                      <a:lnTo>
                        <a:pt x="160541" y="50423"/>
                      </a:lnTo>
                      <a:cubicBezTo>
                        <a:pt x="147796" y="50423"/>
                        <a:pt x="110689" y="50262"/>
                        <a:pt x="110689" y="50262"/>
                      </a:cubicBezTo>
                      <a:cubicBezTo>
                        <a:pt x="107462" y="50262"/>
                        <a:pt x="104719" y="48812"/>
                        <a:pt x="103267" y="46235"/>
                      </a:cubicBezTo>
                      <a:cubicBezTo>
                        <a:pt x="101815" y="43657"/>
                        <a:pt x="101654" y="40435"/>
                        <a:pt x="103267" y="37858"/>
                      </a:cubicBezTo>
                      <a:cubicBezTo>
                        <a:pt x="116497" y="14499"/>
                        <a:pt x="141665" y="0"/>
                        <a:pt x="168447" y="0"/>
                      </a:cubicBez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grpSp>
        </p:grpSp>
        <p:grpSp>
          <p:nvGrpSpPr>
            <p:cNvPr id="10" name="i$ľîdè"/>
            <p:cNvGrpSpPr/>
            <p:nvPr/>
          </p:nvGrpSpPr>
          <p:grpSpPr>
            <a:xfrm>
              <a:off x="6530859" y="5140886"/>
              <a:ext cx="2240904" cy="1005914"/>
              <a:chOff x="8294591" y="1717812"/>
              <a:chExt cx="2240904" cy="1005914"/>
            </a:xfrm>
          </p:grpSpPr>
          <p:grpSp>
            <p:nvGrpSpPr>
              <p:cNvPr id="25" name="ïS1ïďè"/>
              <p:cNvGrpSpPr/>
              <p:nvPr/>
            </p:nvGrpSpPr>
            <p:grpSpPr>
              <a:xfrm>
                <a:off x="9059866" y="1717812"/>
                <a:ext cx="1475629" cy="1005914"/>
                <a:chOff x="4243853" y="2741333"/>
                <a:chExt cx="1475629" cy="1005914"/>
              </a:xfrm>
            </p:grpSpPr>
            <p:sp>
              <p:nvSpPr>
                <p:cNvPr id="29" name="îṧḷîde">
                  <a:extLst>
                    <a:ext uri="{FF2B5EF4-FFF2-40B4-BE49-F238E27FC236}">
                      <a16:creationId xmlns:a16="http://schemas.microsoft.com/office/drawing/2014/main" id="{73DA5CA1-A22D-45FF-B355-18D3880E7B99}"/>
                    </a:ext>
                  </a:extLst>
                </p:cNvPr>
                <p:cNvSpPr/>
                <p:nvPr/>
              </p:nvSpPr>
              <p:spPr>
                <a:xfrm>
                  <a:off x="4243855" y="2741333"/>
                  <a:ext cx="1475627" cy="410188"/>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nSpc>
                      <a:spcPct val="120000"/>
                    </a:lnSpc>
                  </a:pPr>
                  <a:r>
                    <a:rPr lang="en-US" altLang="zh-CN" sz="1400" b="1">
                      <a:solidFill>
                        <a:schemeClr val="tx1"/>
                      </a:solidFill>
                    </a:rPr>
                    <a:t>Text h</a:t>
                  </a:r>
                  <a:r>
                    <a:rPr lang="en-US" altLang="zh-CN" sz="100" b="1">
                      <a:solidFill>
                        <a:schemeClr val="tx1"/>
                      </a:solidFill>
                    </a:rPr>
                    <a:t> </a:t>
                  </a:r>
                  <a:r>
                    <a:rPr lang="en-US" altLang="zh-CN" sz="1400" b="1">
                      <a:solidFill>
                        <a:schemeClr val="tx1"/>
                      </a:solidFill>
                    </a:rPr>
                    <a:t>ere</a:t>
                  </a:r>
                  <a:endParaRPr lang="zh-CN" altLang="en-US" sz="1400" b="1" dirty="0">
                    <a:solidFill>
                      <a:schemeClr val="tx1"/>
                    </a:solidFill>
                  </a:endParaRPr>
                </a:p>
              </p:txBody>
            </p:sp>
            <p:sp>
              <p:nvSpPr>
                <p:cNvPr id="30" name="îSḻîḑê">
                  <a:extLst>
                    <a:ext uri="{FF2B5EF4-FFF2-40B4-BE49-F238E27FC236}">
                      <a16:creationId xmlns:a16="http://schemas.microsoft.com/office/drawing/2014/main" id="{B40F5E8D-FBEB-4054-86D5-66BEF7C4392C}"/>
                    </a:ext>
                  </a:extLst>
                </p:cNvPr>
                <p:cNvSpPr txBox="1"/>
                <p:nvPr/>
              </p:nvSpPr>
              <p:spPr>
                <a:xfrm>
                  <a:off x="4243853" y="3151522"/>
                  <a:ext cx="1475628" cy="595725"/>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spcBef>
                      <a:spcPct val="0"/>
                    </a:spcBef>
                  </a:pPr>
                  <a:r>
                    <a:rPr lang="en-US" altLang="zh-CN" sz="1000" dirty="0"/>
                    <a:t>Supporting </a:t>
                  </a:r>
                  <a:r>
                    <a:rPr lang="en-US" altLang="zh-CN" sz="1000"/>
                    <a:t>text h</a:t>
                  </a:r>
                  <a:r>
                    <a:rPr lang="en-US" altLang="zh-CN" sz="100"/>
                    <a:t> </a:t>
                  </a:r>
                  <a:r>
                    <a:rPr lang="en-US" altLang="zh-CN" sz="1000"/>
                    <a:t>ere</a:t>
                  </a:r>
                  <a:r>
                    <a:rPr lang="en-US" altLang="zh-CN" sz="1000" dirty="0"/>
                    <a:t>.</a:t>
                  </a:r>
                </a:p>
                <a:p>
                  <a:pPr>
                    <a:lnSpc>
                      <a:spcPct val="150000"/>
                    </a:lnSpc>
                    <a:spcBef>
                      <a:spcPct val="0"/>
                    </a:spcBef>
                  </a:pPr>
                  <a:r>
                    <a:rPr lang="en-US" altLang="zh-CN" sz="1000" dirty="0"/>
                    <a:t>……</a:t>
                  </a:r>
                </a:p>
              </p:txBody>
            </p:sp>
          </p:grpSp>
          <p:grpSp>
            <p:nvGrpSpPr>
              <p:cNvPr id="26" name="ïṧlïḓe"/>
              <p:cNvGrpSpPr/>
              <p:nvPr/>
            </p:nvGrpSpPr>
            <p:grpSpPr>
              <a:xfrm>
                <a:off x="8294591" y="1935010"/>
                <a:ext cx="571511" cy="571511"/>
                <a:chOff x="4123761" y="2164045"/>
                <a:chExt cx="457199" cy="457200"/>
              </a:xfrm>
            </p:grpSpPr>
            <p:sp>
              <p:nvSpPr>
                <p:cNvPr id="27" name="íṧļïdé"/>
                <p:cNvSpPr/>
                <p:nvPr/>
              </p:nvSpPr>
              <p:spPr>
                <a:xfrm>
                  <a:off x="4123761" y="2164045"/>
                  <a:ext cx="457199" cy="457200"/>
                </a:xfrm>
                <a:prstGeom prst="ellipse">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sp>
              <p:nvSpPr>
                <p:cNvPr id="28" name="îŝľîḍê"/>
                <p:cNvSpPr/>
                <p:nvPr/>
              </p:nvSpPr>
              <p:spPr>
                <a:xfrm>
                  <a:off x="4243854" y="2308048"/>
                  <a:ext cx="217020" cy="169187"/>
                </a:xfrm>
                <a:custGeom>
                  <a:avLst/>
                  <a:gdLst>
                    <a:gd name="connsiteX0" fmla="*/ 427673 w 608989"/>
                    <a:gd name="connsiteY0" fmla="*/ 372781 h 474764"/>
                    <a:gd name="connsiteX1" fmla="*/ 393797 w 608989"/>
                    <a:gd name="connsiteY1" fmla="*/ 406614 h 474764"/>
                    <a:gd name="connsiteX2" fmla="*/ 427673 w 608989"/>
                    <a:gd name="connsiteY2" fmla="*/ 440448 h 474764"/>
                    <a:gd name="connsiteX3" fmla="*/ 461549 w 608989"/>
                    <a:gd name="connsiteY3" fmla="*/ 406614 h 474764"/>
                    <a:gd name="connsiteX4" fmla="*/ 427673 w 608989"/>
                    <a:gd name="connsiteY4" fmla="*/ 372781 h 474764"/>
                    <a:gd name="connsiteX5" fmla="*/ 149568 w 608989"/>
                    <a:gd name="connsiteY5" fmla="*/ 372781 h 474764"/>
                    <a:gd name="connsiteX6" fmla="*/ 115692 w 608989"/>
                    <a:gd name="connsiteY6" fmla="*/ 406614 h 474764"/>
                    <a:gd name="connsiteX7" fmla="*/ 149568 w 608989"/>
                    <a:gd name="connsiteY7" fmla="*/ 440448 h 474764"/>
                    <a:gd name="connsiteX8" fmla="*/ 183444 w 608989"/>
                    <a:gd name="connsiteY8" fmla="*/ 406614 h 474764"/>
                    <a:gd name="connsiteX9" fmla="*/ 149568 w 608989"/>
                    <a:gd name="connsiteY9" fmla="*/ 372781 h 474764"/>
                    <a:gd name="connsiteX10" fmla="*/ 413316 w 608989"/>
                    <a:gd name="connsiteY10" fmla="*/ 194754 h 474764"/>
                    <a:gd name="connsiteX11" fmla="*/ 413316 w 608989"/>
                    <a:gd name="connsiteY11" fmla="*/ 269348 h 474764"/>
                    <a:gd name="connsiteX12" fmla="*/ 477196 w 608989"/>
                    <a:gd name="connsiteY12" fmla="*/ 269348 h 474764"/>
                    <a:gd name="connsiteX13" fmla="*/ 483971 w 608989"/>
                    <a:gd name="connsiteY13" fmla="*/ 256137 h 474764"/>
                    <a:gd name="connsiteX14" fmla="*/ 449611 w 608989"/>
                    <a:gd name="connsiteY14" fmla="*/ 207965 h 474764"/>
                    <a:gd name="connsiteX15" fmla="*/ 424124 w 608989"/>
                    <a:gd name="connsiteY15" fmla="*/ 194754 h 474764"/>
                    <a:gd name="connsiteX16" fmla="*/ 231999 w 608989"/>
                    <a:gd name="connsiteY16" fmla="*/ 194754 h 474764"/>
                    <a:gd name="connsiteX17" fmla="*/ 205705 w 608989"/>
                    <a:gd name="connsiteY17" fmla="*/ 207321 h 474764"/>
                    <a:gd name="connsiteX18" fmla="*/ 165860 w 608989"/>
                    <a:gd name="connsiteY18" fmla="*/ 256782 h 474764"/>
                    <a:gd name="connsiteX19" fmla="*/ 171990 w 608989"/>
                    <a:gd name="connsiteY19" fmla="*/ 269348 h 474764"/>
                    <a:gd name="connsiteX20" fmla="*/ 374439 w 608989"/>
                    <a:gd name="connsiteY20" fmla="*/ 269348 h 474764"/>
                    <a:gd name="connsiteX21" fmla="*/ 374439 w 608989"/>
                    <a:gd name="connsiteY21" fmla="*/ 194754 h 474764"/>
                    <a:gd name="connsiteX22" fmla="*/ 217965 w 608989"/>
                    <a:gd name="connsiteY22" fmla="*/ 162371 h 474764"/>
                    <a:gd name="connsiteX23" fmla="*/ 442030 w 608989"/>
                    <a:gd name="connsiteY23" fmla="*/ 162371 h 474764"/>
                    <a:gd name="connsiteX24" fmla="*/ 477196 w 608989"/>
                    <a:gd name="connsiteY24" fmla="*/ 180577 h 474764"/>
                    <a:gd name="connsiteX25" fmla="*/ 524783 w 608989"/>
                    <a:gd name="connsiteY25" fmla="*/ 248243 h 474764"/>
                    <a:gd name="connsiteX26" fmla="*/ 544625 w 608989"/>
                    <a:gd name="connsiteY26" fmla="*/ 257910 h 474764"/>
                    <a:gd name="connsiteX27" fmla="*/ 550594 w 608989"/>
                    <a:gd name="connsiteY27" fmla="*/ 257104 h 474764"/>
                    <a:gd name="connsiteX28" fmla="*/ 586728 w 608989"/>
                    <a:gd name="connsiteY28" fmla="*/ 245826 h 474764"/>
                    <a:gd name="connsiteX29" fmla="*/ 605118 w 608989"/>
                    <a:gd name="connsiteY29" fmla="*/ 249693 h 474764"/>
                    <a:gd name="connsiteX30" fmla="*/ 608828 w 608989"/>
                    <a:gd name="connsiteY30" fmla="*/ 264354 h 474764"/>
                    <a:gd name="connsiteX31" fmla="*/ 590277 w 608989"/>
                    <a:gd name="connsiteY31" fmla="*/ 401942 h 474764"/>
                    <a:gd name="connsiteX32" fmla="*/ 563337 w 608989"/>
                    <a:gd name="connsiteY32" fmla="*/ 425625 h 474764"/>
                    <a:gd name="connsiteX33" fmla="*/ 493166 w 608989"/>
                    <a:gd name="connsiteY33" fmla="*/ 425625 h 474764"/>
                    <a:gd name="connsiteX34" fmla="*/ 427673 w 608989"/>
                    <a:gd name="connsiteY34" fmla="*/ 474764 h 474764"/>
                    <a:gd name="connsiteX35" fmla="*/ 362341 w 608989"/>
                    <a:gd name="connsiteY35" fmla="*/ 425625 h 474764"/>
                    <a:gd name="connsiteX36" fmla="*/ 215061 w 608989"/>
                    <a:gd name="connsiteY36" fmla="*/ 425625 h 474764"/>
                    <a:gd name="connsiteX37" fmla="*/ 149568 w 608989"/>
                    <a:gd name="connsiteY37" fmla="*/ 474764 h 474764"/>
                    <a:gd name="connsiteX38" fmla="*/ 84074 w 608989"/>
                    <a:gd name="connsiteY38" fmla="*/ 425625 h 474764"/>
                    <a:gd name="connsiteX39" fmla="*/ 21485 w 608989"/>
                    <a:gd name="connsiteY39" fmla="*/ 425625 h 474764"/>
                    <a:gd name="connsiteX40" fmla="*/ 4869 w 608989"/>
                    <a:gd name="connsiteY40" fmla="*/ 418214 h 474764"/>
                    <a:gd name="connsiteX41" fmla="*/ 352 w 608989"/>
                    <a:gd name="connsiteY41" fmla="*/ 400814 h 474764"/>
                    <a:gd name="connsiteX42" fmla="*/ 15516 w 608989"/>
                    <a:gd name="connsiteY42" fmla="*/ 309304 h 474764"/>
                    <a:gd name="connsiteX43" fmla="*/ 41649 w 608989"/>
                    <a:gd name="connsiteY43" fmla="*/ 281593 h 474764"/>
                    <a:gd name="connsiteX44" fmla="*/ 95850 w 608989"/>
                    <a:gd name="connsiteY44" fmla="*/ 269348 h 474764"/>
                    <a:gd name="connsiteX45" fmla="*/ 125532 w 608989"/>
                    <a:gd name="connsiteY45" fmla="*/ 250660 h 474764"/>
                    <a:gd name="connsiteX46" fmla="*/ 181992 w 608989"/>
                    <a:gd name="connsiteY46" fmla="*/ 179771 h 474764"/>
                    <a:gd name="connsiteX47" fmla="*/ 217965 w 608989"/>
                    <a:gd name="connsiteY47" fmla="*/ 162371 h 474764"/>
                    <a:gd name="connsiteX48" fmla="*/ 168447 w 608989"/>
                    <a:gd name="connsiteY48" fmla="*/ 0 h 474764"/>
                    <a:gd name="connsiteX49" fmla="*/ 238143 w 608989"/>
                    <a:gd name="connsiteY49" fmla="*/ 47040 h 474764"/>
                    <a:gd name="connsiteX50" fmla="*/ 416257 w 608989"/>
                    <a:gd name="connsiteY50" fmla="*/ 47040 h 474764"/>
                    <a:gd name="connsiteX51" fmla="*/ 421743 w 608989"/>
                    <a:gd name="connsiteY51" fmla="*/ 47524 h 474764"/>
                    <a:gd name="connsiteX52" fmla="*/ 491762 w 608989"/>
                    <a:gd name="connsiteY52" fmla="*/ 0 h 474764"/>
                    <a:gd name="connsiteX53" fmla="*/ 556941 w 608989"/>
                    <a:gd name="connsiteY53" fmla="*/ 37858 h 474764"/>
                    <a:gd name="connsiteX54" fmla="*/ 557103 w 608989"/>
                    <a:gd name="connsiteY54" fmla="*/ 46396 h 474764"/>
                    <a:gd name="connsiteX55" fmla="*/ 549520 w 608989"/>
                    <a:gd name="connsiteY55" fmla="*/ 50262 h 474764"/>
                    <a:gd name="connsiteX56" fmla="*/ 500635 w 608989"/>
                    <a:gd name="connsiteY56" fmla="*/ 50423 h 474764"/>
                    <a:gd name="connsiteX57" fmla="*/ 496279 w 608989"/>
                    <a:gd name="connsiteY57" fmla="*/ 52357 h 474764"/>
                    <a:gd name="connsiteX58" fmla="*/ 495957 w 608989"/>
                    <a:gd name="connsiteY58" fmla="*/ 52840 h 474764"/>
                    <a:gd name="connsiteX59" fmla="*/ 479823 w 608989"/>
                    <a:gd name="connsiteY59" fmla="*/ 75071 h 474764"/>
                    <a:gd name="connsiteX60" fmla="*/ 495634 w 608989"/>
                    <a:gd name="connsiteY60" fmla="*/ 97142 h 474764"/>
                    <a:gd name="connsiteX61" fmla="*/ 495957 w 608989"/>
                    <a:gd name="connsiteY61" fmla="*/ 97625 h 474764"/>
                    <a:gd name="connsiteX62" fmla="*/ 499345 w 608989"/>
                    <a:gd name="connsiteY62" fmla="*/ 99719 h 474764"/>
                    <a:gd name="connsiteX63" fmla="*/ 549520 w 608989"/>
                    <a:gd name="connsiteY63" fmla="*/ 99880 h 474764"/>
                    <a:gd name="connsiteX64" fmla="*/ 556941 w 608989"/>
                    <a:gd name="connsiteY64" fmla="*/ 104069 h 474764"/>
                    <a:gd name="connsiteX65" fmla="*/ 556941 w 608989"/>
                    <a:gd name="connsiteY65" fmla="*/ 112285 h 474764"/>
                    <a:gd name="connsiteX66" fmla="*/ 491762 w 608989"/>
                    <a:gd name="connsiteY66" fmla="*/ 150304 h 474764"/>
                    <a:gd name="connsiteX67" fmla="*/ 421743 w 608989"/>
                    <a:gd name="connsiteY67" fmla="*/ 102780 h 474764"/>
                    <a:gd name="connsiteX68" fmla="*/ 416257 w 608989"/>
                    <a:gd name="connsiteY68" fmla="*/ 103263 h 474764"/>
                    <a:gd name="connsiteX69" fmla="*/ 238143 w 608989"/>
                    <a:gd name="connsiteY69" fmla="*/ 103263 h 474764"/>
                    <a:gd name="connsiteX70" fmla="*/ 168447 w 608989"/>
                    <a:gd name="connsiteY70" fmla="*/ 150304 h 474764"/>
                    <a:gd name="connsiteX71" fmla="*/ 103267 w 608989"/>
                    <a:gd name="connsiteY71" fmla="*/ 112446 h 474764"/>
                    <a:gd name="connsiteX72" fmla="*/ 103106 w 608989"/>
                    <a:gd name="connsiteY72" fmla="*/ 103908 h 474764"/>
                    <a:gd name="connsiteX73" fmla="*/ 110689 w 608989"/>
                    <a:gd name="connsiteY73" fmla="*/ 99880 h 474764"/>
                    <a:gd name="connsiteX74" fmla="*/ 159573 w 608989"/>
                    <a:gd name="connsiteY74" fmla="*/ 99880 h 474764"/>
                    <a:gd name="connsiteX75" fmla="*/ 164091 w 608989"/>
                    <a:gd name="connsiteY75" fmla="*/ 97786 h 474764"/>
                    <a:gd name="connsiteX76" fmla="*/ 164252 w 608989"/>
                    <a:gd name="connsiteY76" fmla="*/ 97464 h 474764"/>
                    <a:gd name="connsiteX77" fmla="*/ 180385 w 608989"/>
                    <a:gd name="connsiteY77" fmla="*/ 75232 h 474764"/>
                    <a:gd name="connsiteX78" fmla="*/ 164575 w 608989"/>
                    <a:gd name="connsiteY78" fmla="*/ 53162 h 474764"/>
                    <a:gd name="connsiteX79" fmla="*/ 164252 w 608989"/>
                    <a:gd name="connsiteY79" fmla="*/ 52679 h 474764"/>
                    <a:gd name="connsiteX80" fmla="*/ 160864 w 608989"/>
                    <a:gd name="connsiteY80" fmla="*/ 50423 h 474764"/>
                    <a:gd name="connsiteX81" fmla="*/ 160541 w 608989"/>
                    <a:gd name="connsiteY81" fmla="*/ 50423 h 474764"/>
                    <a:gd name="connsiteX82" fmla="*/ 110689 w 608989"/>
                    <a:gd name="connsiteY82" fmla="*/ 50262 h 474764"/>
                    <a:gd name="connsiteX83" fmla="*/ 103267 w 608989"/>
                    <a:gd name="connsiteY83" fmla="*/ 46235 h 474764"/>
                    <a:gd name="connsiteX84" fmla="*/ 103267 w 608989"/>
                    <a:gd name="connsiteY84" fmla="*/ 37858 h 474764"/>
                    <a:gd name="connsiteX85" fmla="*/ 168447 w 608989"/>
                    <a:gd name="connsiteY85" fmla="*/ 0 h 474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608989" h="474764">
                      <a:moveTo>
                        <a:pt x="427673" y="372781"/>
                      </a:moveTo>
                      <a:cubicBezTo>
                        <a:pt x="408960" y="372781"/>
                        <a:pt x="393797" y="387926"/>
                        <a:pt x="393797" y="406614"/>
                      </a:cubicBezTo>
                      <a:cubicBezTo>
                        <a:pt x="393797" y="425303"/>
                        <a:pt x="408960" y="440448"/>
                        <a:pt x="427673" y="440448"/>
                      </a:cubicBezTo>
                      <a:cubicBezTo>
                        <a:pt x="446385" y="440448"/>
                        <a:pt x="461549" y="425303"/>
                        <a:pt x="461549" y="406614"/>
                      </a:cubicBezTo>
                      <a:cubicBezTo>
                        <a:pt x="461549" y="387926"/>
                        <a:pt x="446385" y="372781"/>
                        <a:pt x="427673" y="372781"/>
                      </a:cubicBezTo>
                      <a:close/>
                      <a:moveTo>
                        <a:pt x="149568" y="372781"/>
                      </a:moveTo>
                      <a:cubicBezTo>
                        <a:pt x="130855" y="372781"/>
                        <a:pt x="115692" y="387926"/>
                        <a:pt x="115692" y="406614"/>
                      </a:cubicBezTo>
                      <a:cubicBezTo>
                        <a:pt x="115692" y="425303"/>
                        <a:pt x="130855" y="440448"/>
                        <a:pt x="149568" y="440448"/>
                      </a:cubicBezTo>
                      <a:cubicBezTo>
                        <a:pt x="168280" y="440448"/>
                        <a:pt x="183444" y="425303"/>
                        <a:pt x="183444" y="406614"/>
                      </a:cubicBezTo>
                      <a:cubicBezTo>
                        <a:pt x="183444" y="387926"/>
                        <a:pt x="168280" y="372781"/>
                        <a:pt x="149568" y="372781"/>
                      </a:cubicBezTo>
                      <a:close/>
                      <a:moveTo>
                        <a:pt x="413316" y="194754"/>
                      </a:moveTo>
                      <a:lnTo>
                        <a:pt x="413316" y="269348"/>
                      </a:lnTo>
                      <a:lnTo>
                        <a:pt x="477196" y="269348"/>
                      </a:lnTo>
                      <a:cubicBezTo>
                        <a:pt x="486068" y="269348"/>
                        <a:pt x="489133" y="263387"/>
                        <a:pt x="483971" y="256137"/>
                      </a:cubicBezTo>
                      <a:lnTo>
                        <a:pt x="449611" y="207965"/>
                      </a:lnTo>
                      <a:cubicBezTo>
                        <a:pt x="444449" y="200715"/>
                        <a:pt x="432996" y="194754"/>
                        <a:pt x="424124" y="194754"/>
                      </a:cubicBezTo>
                      <a:close/>
                      <a:moveTo>
                        <a:pt x="231999" y="194754"/>
                      </a:moveTo>
                      <a:cubicBezTo>
                        <a:pt x="223127" y="194754"/>
                        <a:pt x="211351" y="200393"/>
                        <a:pt x="205705" y="207321"/>
                      </a:cubicBezTo>
                      <a:lnTo>
                        <a:pt x="165860" y="256782"/>
                      </a:lnTo>
                      <a:cubicBezTo>
                        <a:pt x="160376" y="263709"/>
                        <a:pt x="163118" y="269348"/>
                        <a:pt x="171990" y="269348"/>
                      </a:cubicBezTo>
                      <a:lnTo>
                        <a:pt x="374439" y="269348"/>
                      </a:lnTo>
                      <a:lnTo>
                        <a:pt x="374439" y="194754"/>
                      </a:lnTo>
                      <a:close/>
                      <a:moveTo>
                        <a:pt x="217965" y="162371"/>
                      </a:moveTo>
                      <a:lnTo>
                        <a:pt x="442030" y="162371"/>
                      </a:lnTo>
                      <a:cubicBezTo>
                        <a:pt x="454612" y="162371"/>
                        <a:pt x="470098" y="170427"/>
                        <a:pt x="477196" y="180577"/>
                      </a:cubicBezTo>
                      <a:lnTo>
                        <a:pt x="524783" y="248243"/>
                      </a:lnTo>
                      <a:cubicBezTo>
                        <a:pt x="528816" y="254043"/>
                        <a:pt x="536882" y="257910"/>
                        <a:pt x="544625" y="257910"/>
                      </a:cubicBezTo>
                      <a:cubicBezTo>
                        <a:pt x="546883" y="257910"/>
                        <a:pt x="548819" y="257748"/>
                        <a:pt x="550594" y="257104"/>
                      </a:cubicBezTo>
                      <a:lnTo>
                        <a:pt x="586728" y="245826"/>
                      </a:lnTo>
                      <a:cubicBezTo>
                        <a:pt x="593987" y="243571"/>
                        <a:pt x="600924" y="245021"/>
                        <a:pt x="605118" y="249693"/>
                      </a:cubicBezTo>
                      <a:cubicBezTo>
                        <a:pt x="608183" y="253398"/>
                        <a:pt x="609473" y="258554"/>
                        <a:pt x="608828" y="264354"/>
                      </a:cubicBezTo>
                      <a:lnTo>
                        <a:pt x="590277" y="401942"/>
                      </a:lnTo>
                      <a:cubicBezTo>
                        <a:pt x="588664" y="414992"/>
                        <a:pt x="576565" y="425625"/>
                        <a:pt x="563337" y="425625"/>
                      </a:cubicBezTo>
                      <a:lnTo>
                        <a:pt x="493166" y="425625"/>
                      </a:lnTo>
                      <a:cubicBezTo>
                        <a:pt x="484939" y="453981"/>
                        <a:pt x="458806" y="474764"/>
                        <a:pt x="427673" y="474764"/>
                      </a:cubicBezTo>
                      <a:cubicBezTo>
                        <a:pt x="396700" y="474764"/>
                        <a:pt x="370568" y="453981"/>
                        <a:pt x="362341" y="425625"/>
                      </a:cubicBezTo>
                      <a:lnTo>
                        <a:pt x="215061" y="425625"/>
                      </a:lnTo>
                      <a:cubicBezTo>
                        <a:pt x="206834" y="453981"/>
                        <a:pt x="180540" y="474764"/>
                        <a:pt x="149568" y="474764"/>
                      </a:cubicBezTo>
                      <a:cubicBezTo>
                        <a:pt x="118595" y="474764"/>
                        <a:pt x="92301" y="453981"/>
                        <a:pt x="84074" y="425625"/>
                      </a:cubicBezTo>
                      <a:lnTo>
                        <a:pt x="21485" y="425625"/>
                      </a:lnTo>
                      <a:cubicBezTo>
                        <a:pt x="14871" y="425625"/>
                        <a:pt x="8902" y="423048"/>
                        <a:pt x="4869" y="418214"/>
                      </a:cubicBezTo>
                      <a:cubicBezTo>
                        <a:pt x="836" y="413542"/>
                        <a:pt x="-777" y="407420"/>
                        <a:pt x="352" y="400814"/>
                      </a:cubicBezTo>
                      <a:lnTo>
                        <a:pt x="15516" y="309304"/>
                      </a:lnTo>
                      <a:cubicBezTo>
                        <a:pt x="17613" y="296576"/>
                        <a:pt x="29066" y="284332"/>
                        <a:pt x="41649" y="281593"/>
                      </a:cubicBezTo>
                      <a:lnTo>
                        <a:pt x="95850" y="269348"/>
                      </a:lnTo>
                      <a:cubicBezTo>
                        <a:pt x="105690" y="267093"/>
                        <a:pt x="119241" y="258554"/>
                        <a:pt x="125532" y="250660"/>
                      </a:cubicBezTo>
                      <a:lnTo>
                        <a:pt x="181992" y="179771"/>
                      </a:lnTo>
                      <a:cubicBezTo>
                        <a:pt x="189735" y="169943"/>
                        <a:pt x="205544" y="162371"/>
                        <a:pt x="217965" y="162371"/>
                      </a:cubicBezTo>
                      <a:close/>
                      <a:moveTo>
                        <a:pt x="168447" y="0"/>
                      </a:moveTo>
                      <a:cubicBezTo>
                        <a:pt x="200068" y="0"/>
                        <a:pt x="227011" y="19493"/>
                        <a:pt x="238143" y="47040"/>
                      </a:cubicBezTo>
                      <a:lnTo>
                        <a:pt x="416257" y="47040"/>
                      </a:lnTo>
                      <a:cubicBezTo>
                        <a:pt x="418193" y="47040"/>
                        <a:pt x="419968" y="47202"/>
                        <a:pt x="421743" y="47524"/>
                      </a:cubicBezTo>
                      <a:cubicBezTo>
                        <a:pt x="432875" y="19815"/>
                        <a:pt x="459979" y="0"/>
                        <a:pt x="491762" y="0"/>
                      </a:cubicBezTo>
                      <a:cubicBezTo>
                        <a:pt x="518543" y="0"/>
                        <a:pt x="543550" y="14499"/>
                        <a:pt x="556941" y="37858"/>
                      </a:cubicBezTo>
                      <a:cubicBezTo>
                        <a:pt x="558232" y="39952"/>
                        <a:pt x="558877" y="43335"/>
                        <a:pt x="557103" y="46396"/>
                      </a:cubicBezTo>
                      <a:cubicBezTo>
                        <a:pt x="555651" y="48812"/>
                        <a:pt x="552908" y="50262"/>
                        <a:pt x="549520" y="50262"/>
                      </a:cubicBezTo>
                      <a:cubicBezTo>
                        <a:pt x="549520" y="50262"/>
                        <a:pt x="513703" y="50423"/>
                        <a:pt x="500635" y="50423"/>
                      </a:cubicBezTo>
                      <a:cubicBezTo>
                        <a:pt x="497731" y="50423"/>
                        <a:pt x="496279" y="52357"/>
                        <a:pt x="496279" y="52357"/>
                      </a:cubicBezTo>
                      <a:lnTo>
                        <a:pt x="495957" y="52840"/>
                      </a:lnTo>
                      <a:cubicBezTo>
                        <a:pt x="489019" y="60895"/>
                        <a:pt x="481275" y="71366"/>
                        <a:pt x="479823" y="75071"/>
                      </a:cubicBezTo>
                      <a:cubicBezTo>
                        <a:pt x="481275" y="78777"/>
                        <a:pt x="489019" y="89087"/>
                        <a:pt x="495634" y="97142"/>
                      </a:cubicBezTo>
                      <a:lnTo>
                        <a:pt x="495957" y="97625"/>
                      </a:lnTo>
                      <a:cubicBezTo>
                        <a:pt x="496441" y="98269"/>
                        <a:pt x="498054" y="99719"/>
                        <a:pt x="499345" y="99719"/>
                      </a:cubicBezTo>
                      <a:cubicBezTo>
                        <a:pt x="511929" y="99719"/>
                        <a:pt x="549520" y="99880"/>
                        <a:pt x="549520" y="99880"/>
                      </a:cubicBezTo>
                      <a:cubicBezTo>
                        <a:pt x="552747" y="99880"/>
                        <a:pt x="555489" y="101491"/>
                        <a:pt x="556941" y="104069"/>
                      </a:cubicBezTo>
                      <a:cubicBezTo>
                        <a:pt x="558393" y="106485"/>
                        <a:pt x="558393" y="109868"/>
                        <a:pt x="556941" y="112285"/>
                      </a:cubicBezTo>
                      <a:cubicBezTo>
                        <a:pt x="543550" y="135644"/>
                        <a:pt x="518543" y="150304"/>
                        <a:pt x="491762" y="150304"/>
                      </a:cubicBezTo>
                      <a:cubicBezTo>
                        <a:pt x="459979" y="150304"/>
                        <a:pt x="432875" y="130489"/>
                        <a:pt x="421743" y="102780"/>
                      </a:cubicBezTo>
                      <a:cubicBezTo>
                        <a:pt x="419968" y="103102"/>
                        <a:pt x="418193" y="103263"/>
                        <a:pt x="416257" y="103263"/>
                      </a:cubicBezTo>
                      <a:lnTo>
                        <a:pt x="238143" y="103263"/>
                      </a:lnTo>
                      <a:cubicBezTo>
                        <a:pt x="227011" y="130811"/>
                        <a:pt x="200068" y="150304"/>
                        <a:pt x="168447" y="150304"/>
                      </a:cubicBezTo>
                      <a:cubicBezTo>
                        <a:pt x="141665" y="150304"/>
                        <a:pt x="116658" y="135805"/>
                        <a:pt x="103267" y="112446"/>
                      </a:cubicBezTo>
                      <a:cubicBezTo>
                        <a:pt x="101977" y="110352"/>
                        <a:pt x="101331" y="106969"/>
                        <a:pt x="103106" y="103908"/>
                      </a:cubicBezTo>
                      <a:cubicBezTo>
                        <a:pt x="104558" y="101330"/>
                        <a:pt x="107301" y="99880"/>
                        <a:pt x="110689" y="99880"/>
                      </a:cubicBezTo>
                      <a:cubicBezTo>
                        <a:pt x="110689" y="99880"/>
                        <a:pt x="146505" y="99880"/>
                        <a:pt x="159573" y="99880"/>
                      </a:cubicBezTo>
                      <a:cubicBezTo>
                        <a:pt x="162477" y="99880"/>
                        <a:pt x="163929" y="98108"/>
                        <a:pt x="164091" y="97786"/>
                      </a:cubicBezTo>
                      <a:lnTo>
                        <a:pt x="164252" y="97464"/>
                      </a:lnTo>
                      <a:cubicBezTo>
                        <a:pt x="171189" y="89248"/>
                        <a:pt x="178933" y="78777"/>
                        <a:pt x="180385" y="75232"/>
                      </a:cubicBezTo>
                      <a:cubicBezTo>
                        <a:pt x="178933" y="71527"/>
                        <a:pt x="171189" y="61217"/>
                        <a:pt x="164575" y="53162"/>
                      </a:cubicBezTo>
                      <a:lnTo>
                        <a:pt x="164252" y="52679"/>
                      </a:lnTo>
                      <a:cubicBezTo>
                        <a:pt x="163768" y="52034"/>
                        <a:pt x="162155" y="50423"/>
                        <a:pt x="160864" y="50423"/>
                      </a:cubicBezTo>
                      <a:lnTo>
                        <a:pt x="160541" y="50423"/>
                      </a:lnTo>
                      <a:cubicBezTo>
                        <a:pt x="147796" y="50423"/>
                        <a:pt x="110689" y="50262"/>
                        <a:pt x="110689" y="50262"/>
                      </a:cubicBezTo>
                      <a:cubicBezTo>
                        <a:pt x="107462" y="50262"/>
                        <a:pt x="104719" y="48812"/>
                        <a:pt x="103267" y="46235"/>
                      </a:cubicBezTo>
                      <a:cubicBezTo>
                        <a:pt x="101815" y="43657"/>
                        <a:pt x="101654" y="40435"/>
                        <a:pt x="103267" y="37858"/>
                      </a:cubicBezTo>
                      <a:cubicBezTo>
                        <a:pt x="116497" y="14499"/>
                        <a:pt x="141665" y="0"/>
                        <a:pt x="168447" y="0"/>
                      </a:cubicBez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grpSp>
        </p:grpSp>
        <p:grpSp>
          <p:nvGrpSpPr>
            <p:cNvPr id="11" name="iṡlïḋê"/>
            <p:cNvGrpSpPr/>
            <p:nvPr/>
          </p:nvGrpSpPr>
          <p:grpSpPr>
            <a:xfrm>
              <a:off x="8068758" y="2894573"/>
              <a:ext cx="2240904" cy="1005914"/>
              <a:chOff x="8294591" y="1717812"/>
              <a:chExt cx="2240904" cy="1005914"/>
            </a:xfrm>
          </p:grpSpPr>
          <p:grpSp>
            <p:nvGrpSpPr>
              <p:cNvPr id="19" name="ïŝliḋe"/>
              <p:cNvGrpSpPr/>
              <p:nvPr/>
            </p:nvGrpSpPr>
            <p:grpSpPr>
              <a:xfrm>
                <a:off x="9059866" y="1717812"/>
                <a:ext cx="1475629" cy="1005914"/>
                <a:chOff x="4243853" y="2741333"/>
                <a:chExt cx="1475629" cy="1005914"/>
              </a:xfrm>
            </p:grpSpPr>
            <p:sp>
              <p:nvSpPr>
                <p:cNvPr id="23" name="îšļiḑè">
                  <a:extLst>
                    <a:ext uri="{FF2B5EF4-FFF2-40B4-BE49-F238E27FC236}">
                      <a16:creationId xmlns:a16="http://schemas.microsoft.com/office/drawing/2014/main" id="{73DA5CA1-A22D-45FF-B355-18D3880E7B99}"/>
                    </a:ext>
                  </a:extLst>
                </p:cNvPr>
                <p:cNvSpPr/>
                <p:nvPr/>
              </p:nvSpPr>
              <p:spPr>
                <a:xfrm>
                  <a:off x="4243855" y="2741333"/>
                  <a:ext cx="1475627" cy="410188"/>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nSpc>
                      <a:spcPct val="120000"/>
                    </a:lnSpc>
                  </a:pPr>
                  <a:r>
                    <a:rPr lang="en-US" altLang="zh-CN" sz="1400" b="1">
                      <a:solidFill>
                        <a:schemeClr val="tx1"/>
                      </a:solidFill>
                    </a:rPr>
                    <a:t>Text h</a:t>
                  </a:r>
                  <a:r>
                    <a:rPr lang="en-US" altLang="zh-CN" sz="100" b="1">
                      <a:solidFill>
                        <a:schemeClr val="tx1"/>
                      </a:solidFill>
                    </a:rPr>
                    <a:t> </a:t>
                  </a:r>
                  <a:r>
                    <a:rPr lang="en-US" altLang="zh-CN" sz="1400" b="1">
                      <a:solidFill>
                        <a:schemeClr val="tx1"/>
                      </a:solidFill>
                    </a:rPr>
                    <a:t>ere</a:t>
                  </a:r>
                  <a:endParaRPr lang="zh-CN" altLang="en-US" sz="1400" b="1" dirty="0">
                    <a:solidFill>
                      <a:schemeClr val="tx1"/>
                    </a:solidFill>
                  </a:endParaRPr>
                </a:p>
              </p:txBody>
            </p:sp>
            <p:sp>
              <p:nvSpPr>
                <p:cNvPr id="24" name="îŝļiďé">
                  <a:extLst>
                    <a:ext uri="{FF2B5EF4-FFF2-40B4-BE49-F238E27FC236}">
                      <a16:creationId xmlns:a16="http://schemas.microsoft.com/office/drawing/2014/main" id="{B40F5E8D-FBEB-4054-86D5-66BEF7C4392C}"/>
                    </a:ext>
                  </a:extLst>
                </p:cNvPr>
                <p:cNvSpPr txBox="1"/>
                <p:nvPr/>
              </p:nvSpPr>
              <p:spPr>
                <a:xfrm>
                  <a:off x="4243853" y="3151522"/>
                  <a:ext cx="1475628" cy="595725"/>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spcBef>
                      <a:spcPct val="0"/>
                    </a:spcBef>
                  </a:pPr>
                  <a:r>
                    <a:rPr lang="en-US" altLang="zh-CN" sz="1000" dirty="0"/>
                    <a:t>Supporting </a:t>
                  </a:r>
                  <a:r>
                    <a:rPr lang="en-US" altLang="zh-CN" sz="1000"/>
                    <a:t>text h</a:t>
                  </a:r>
                  <a:r>
                    <a:rPr lang="en-US" altLang="zh-CN" sz="100"/>
                    <a:t> </a:t>
                  </a:r>
                  <a:r>
                    <a:rPr lang="en-US" altLang="zh-CN" sz="1000"/>
                    <a:t>ere</a:t>
                  </a:r>
                  <a:r>
                    <a:rPr lang="en-US" altLang="zh-CN" sz="1000" dirty="0"/>
                    <a:t>.</a:t>
                  </a:r>
                </a:p>
                <a:p>
                  <a:pPr>
                    <a:lnSpc>
                      <a:spcPct val="150000"/>
                    </a:lnSpc>
                    <a:spcBef>
                      <a:spcPct val="0"/>
                    </a:spcBef>
                  </a:pPr>
                  <a:r>
                    <a:rPr lang="en-US" altLang="zh-CN" sz="1000" dirty="0"/>
                    <a:t>……</a:t>
                  </a:r>
                </a:p>
              </p:txBody>
            </p:sp>
          </p:grpSp>
          <p:grpSp>
            <p:nvGrpSpPr>
              <p:cNvPr id="20" name="íş1iḓè"/>
              <p:cNvGrpSpPr/>
              <p:nvPr/>
            </p:nvGrpSpPr>
            <p:grpSpPr>
              <a:xfrm>
                <a:off x="8294591" y="1935010"/>
                <a:ext cx="571511" cy="571511"/>
                <a:chOff x="4123761" y="2164045"/>
                <a:chExt cx="457199" cy="457200"/>
              </a:xfrm>
            </p:grpSpPr>
            <p:sp>
              <p:nvSpPr>
                <p:cNvPr id="21" name="ï$ḷíḓê"/>
                <p:cNvSpPr/>
                <p:nvPr/>
              </p:nvSpPr>
              <p:spPr>
                <a:xfrm>
                  <a:off x="4123761" y="2164045"/>
                  <a:ext cx="457199" cy="457200"/>
                </a:xfrm>
                <a:prstGeom prst="ellipse">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sp>
              <p:nvSpPr>
                <p:cNvPr id="22" name="i$ḻíḋé"/>
                <p:cNvSpPr/>
                <p:nvPr/>
              </p:nvSpPr>
              <p:spPr>
                <a:xfrm>
                  <a:off x="4243854" y="2308048"/>
                  <a:ext cx="217020" cy="169187"/>
                </a:xfrm>
                <a:custGeom>
                  <a:avLst/>
                  <a:gdLst>
                    <a:gd name="connsiteX0" fmla="*/ 427673 w 608989"/>
                    <a:gd name="connsiteY0" fmla="*/ 372781 h 474764"/>
                    <a:gd name="connsiteX1" fmla="*/ 393797 w 608989"/>
                    <a:gd name="connsiteY1" fmla="*/ 406614 h 474764"/>
                    <a:gd name="connsiteX2" fmla="*/ 427673 w 608989"/>
                    <a:gd name="connsiteY2" fmla="*/ 440448 h 474764"/>
                    <a:gd name="connsiteX3" fmla="*/ 461549 w 608989"/>
                    <a:gd name="connsiteY3" fmla="*/ 406614 h 474764"/>
                    <a:gd name="connsiteX4" fmla="*/ 427673 w 608989"/>
                    <a:gd name="connsiteY4" fmla="*/ 372781 h 474764"/>
                    <a:gd name="connsiteX5" fmla="*/ 149568 w 608989"/>
                    <a:gd name="connsiteY5" fmla="*/ 372781 h 474764"/>
                    <a:gd name="connsiteX6" fmla="*/ 115692 w 608989"/>
                    <a:gd name="connsiteY6" fmla="*/ 406614 h 474764"/>
                    <a:gd name="connsiteX7" fmla="*/ 149568 w 608989"/>
                    <a:gd name="connsiteY7" fmla="*/ 440448 h 474764"/>
                    <a:gd name="connsiteX8" fmla="*/ 183444 w 608989"/>
                    <a:gd name="connsiteY8" fmla="*/ 406614 h 474764"/>
                    <a:gd name="connsiteX9" fmla="*/ 149568 w 608989"/>
                    <a:gd name="connsiteY9" fmla="*/ 372781 h 474764"/>
                    <a:gd name="connsiteX10" fmla="*/ 413316 w 608989"/>
                    <a:gd name="connsiteY10" fmla="*/ 194754 h 474764"/>
                    <a:gd name="connsiteX11" fmla="*/ 413316 w 608989"/>
                    <a:gd name="connsiteY11" fmla="*/ 269348 h 474764"/>
                    <a:gd name="connsiteX12" fmla="*/ 477196 w 608989"/>
                    <a:gd name="connsiteY12" fmla="*/ 269348 h 474764"/>
                    <a:gd name="connsiteX13" fmla="*/ 483971 w 608989"/>
                    <a:gd name="connsiteY13" fmla="*/ 256137 h 474764"/>
                    <a:gd name="connsiteX14" fmla="*/ 449611 w 608989"/>
                    <a:gd name="connsiteY14" fmla="*/ 207965 h 474764"/>
                    <a:gd name="connsiteX15" fmla="*/ 424124 w 608989"/>
                    <a:gd name="connsiteY15" fmla="*/ 194754 h 474764"/>
                    <a:gd name="connsiteX16" fmla="*/ 231999 w 608989"/>
                    <a:gd name="connsiteY16" fmla="*/ 194754 h 474764"/>
                    <a:gd name="connsiteX17" fmla="*/ 205705 w 608989"/>
                    <a:gd name="connsiteY17" fmla="*/ 207321 h 474764"/>
                    <a:gd name="connsiteX18" fmla="*/ 165860 w 608989"/>
                    <a:gd name="connsiteY18" fmla="*/ 256782 h 474764"/>
                    <a:gd name="connsiteX19" fmla="*/ 171990 w 608989"/>
                    <a:gd name="connsiteY19" fmla="*/ 269348 h 474764"/>
                    <a:gd name="connsiteX20" fmla="*/ 374439 w 608989"/>
                    <a:gd name="connsiteY20" fmla="*/ 269348 h 474764"/>
                    <a:gd name="connsiteX21" fmla="*/ 374439 w 608989"/>
                    <a:gd name="connsiteY21" fmla="*/ 194754 h 474764"/>
                    <a:gd name="connsiteX22" fmla="*/ 217965 w 608989"/>
                    <a:gd name="connsiteY22" fmla="*/ 162371 h 474764"/>
                    <a:gd name="connsiteX23" fmla="*/ 442030 w 608989"/>
                    <a:gd name="connsiteY23" fmla="*/ 162371 h 474764"/>
                    <a:gd name="connsiteX24" fmla="*/ 477196 w 608989"/>
                    <a:gd name="connsiteY24" fmla="*/ 180577 h 474764"/>
                    <a:gd name="connsiteX25" fmla="*/ 524783 w 608989"/>
                    <a:gd name="connsiteY25" fmla="*/ 248243 h 474764"/>
                    <a:gd name="connsiteX26" fmla="*/ 544625 w 608989"/>
                    <a:gd name="connsiteY26" fmla="*/ 257910 h 474764"/>
                    <a:gd name="connsiteX27" fmla="*/ 550594 w 608989"/>
                    <a:gd name="connsiteY27" fmla="*/ 257104 h 474764"/>
                    <a:gd name="connsiteX28" fmla="*/ 586728 w 608989"/>
                    <a:gd name="connsiteY28" fmla="*/ 245826 h 474764"/>
                    <a:gd name="connsiteX29" fmla="*/ 605118 w 608989"/>
                    <a:gd name="connsiteY29" fmla="*/ 249693 h 474764"/>
                    <a:gd name="connsiteX30" fmla="*/ 608828 w 608989"/>
                    <a:gd name="connsiteY30" fmla="*/ 264354 h 474764"/>
                    <a:gd name="connsiteX31" fmla="*/ 590277 w 608989"/>
                    <a:gd name="connsiteY31" fmla="*/ 401942 h 474764"/>
                    <a:gd name="connsiteX32" fmla="*/ 563337 w 608989"/>
                    <a:gd name="connsiteY32" fmla="*/ 425625 h 474764"/>
                    <a:gd name="connsiteX33" fmla="*/ 493166 w 608989"/>
                    <a:gd name="connsiteY33" fmla="*/ 425625 h 474764"/>
                    <a:gd name="connsiteX34" fmla="*/ 427673 w 608989"/>
                    <a:gd name="connsiteY34" fmla="*/ 474764 h 474764"/>
                    <a:gd name="connsiteX35" fmla="*/ 362341 w 608989"/>
                    <a:gd name="connsiteY35" fmla="*/ 425625 h 474764"/>
                    <a:gd name="connsiteX36" fmla="*/ 215061 w 608989"/>
                    <a:gd name="connsiteY36" fmla="*/ 425625 h 474764"/>
                    <a:gd name="connsiteX37" fmla="*/ 149568 w 608989"/>
                    <a:gd name="connsiteY37" fmla="*/ 474764 h 474764"/>
                    <a:gd name="connsiteX38" fmla="*/ 84074 w 608989"/>
                    <a:gd name="connsiteY38" fmla="*/ 425625 h 474764"/>
                    <a:gd name="connsiteX39" fmla="*/ 21485 w 608989"/>
                    <a:gd name="connsiteY39" fmla="*/ 425625 h 474764"/>
                    <a:gd name="connsiteX40" fmla="*/ 4869 w 608989"/>
                    <a:gd name="connsiteY40" fmla="*/ 418214 h 474764"/>
                    <a:gd name="connsiteX41" fmla="*/ 352 w 608989"/>
                    <a:gd name="connsiteY41" fmla="*/ 400814 h 474764"/>
                    <a:gd name="connsiteX42" fmla="*/ 15516 w 608989"/>
                    <a:gd name="connsiteY42" fmla="*/ 309304 h 474764"/>
                    <a:gd name="connsiteX43" fmla="*/ 41649 w 608989"/>
                    <a:gd name="connsiteY43" fmla="*/ 281593 h 474764"/>
                    <a:gd name="connsiteX44" fmla="*/ 95850 w 608989"/>
                    <a:gd name="connsiteY44" fmla="*/ 269348 h 474764"/>
                    <a:gd name="connsiteX45" fmla="*/ 125532 w 608989"/>
                    <a:gd name="connsiteY45" fmla="*/ 250660 h 474764"/>
                    <a:gd name="connsiteX46" fmla="*/ 181992 w 608989"/>
                    <a:gd name="connsiteY46" fmla="*/ 179771 h 474764"/>
                    <a:gd name="connsiteX47" fmla="*/ 217965 w 608989"/>
                    <a:gd name="connsiteY47" fmla="*/ 162371 h 474764"/>
                    <a:gd name="connsiteX48" fmla="*/ 168447 w 608989"/>
                    <a:gd name="connsiteY48" fmla="*/ 0 h 474764"/>
                    <a:gd name="connsiteX49" fmla="*/ 238143 w 608989"/>
                    <a:gd name="connsiteY49" fmla="*/ 47040 h 474764"/>
                    <a:gd name="connsiteX50" fmla="*/ 416257 w 608989"/>
                    <a:gd name="connsiteY50" fmla="*/ 47040 h 474764"/>
                    <a:gd name="connsiteX51" fmla="*/ 421743 w 608989"/>
                    <a:gd name="connsiteY51" fmla="*/ 47524 h 474764"/>
                    <a:gd name="connsiteX52" fmla="*/ 491762 w 608989"/>
                    <a:gd name="connsiteY52" fmla="*/ 0 h 474764"/>
                    <a:gd name="connsiteX53" fmla="*/ 556941 w 608989"/>
                    <a:gd name="connsiteY53" fmla="*/ 37858 h 474764"/>
                    <a:gd name="connsiteX54" fmla="*/ 557103 w 608989"/>
                    <a:gd name="connsiteY54" fmla="*/ 46396 h 474764"/>
                    <a:gd name="connsiteX55" fmla="*/ 549520 w 608989"/>
                    <a:gd name="connsiteY55" fmla="*/ 50262 h 474764"/>
                    <a:gd name="connsiteX56" fmla="*/ 500635 w 608989"/>
                    <a:gd name="connsiteY56" fmla="*/ 50423 h 474764"/>
                    <a:gd name="connsiteX57" fmla="*/ 496279 w 608989"/>
                    <a:gd name="connsiteY57" fmla="*/ 52357 h 474764"/>
                    <a:gd name="connsiteX58" fmla="*/ 495957 w 608989"/>
                    <a:gd name="connsiteY58" fmla="*/ 52840 h 474764"/>
                    <a:gd name="connsiteX59" fmla="*/ 479823 w 608989"/>
                    <a:gd name="connsiteY59" fmla="*/ 75071 h 474764"/>
                    <a:gd name="connsiteX60" fmla="*/ 495634 w 608989"/>
                    <a:gd name="connsiteY60" fmla="*/ 97142 h 474764"/>
                    <a:gd name="connsiteX61" fmla="*/ 495957 w 608989"/>
                    <a:gd name="connsiteY61" fmla="*/ 97625 h 474764"/>
                    <a:gd name="connsiteX62" fmla="*/ 499345 w 608989"/>
                    <a:gd name="connsiteY62" fmla="*/ 99719 h 474764"/>
                    <a:gd name="connsiteX63" fmla="*/ 549520 w 608989"/>
                    <a:gd name="connsiteY63" fmla="*/ 99880 h 474764"/>
                    <a:gd name="connsiteX64" fmla="*/ 556941 w 608989"/>
                    <a:gd name="connsiteY64" fmla="*/ 104069 h 474764"/>
                    <a:gd name="connsiteX65" fmla="*/ 556941 w 608989"/>
                    <a:gd name="connsiteY65" fmla="*/ 112285 h 474764"/>
                    <a:gd name="connsiteX66" fmla="*/ 491762 w 608989"/>
                    <a:gd name="connsiteY66" fmla="*/ 150304 h 474764"/>
                    <a:gd name="connsiteX67" fmla="*/ 421743 w 608989"/>
                    <a:gd name="connsiteY67" fmla="*/ 102780 h 474764"/>
                    <a:gd name="connsiteX68" fmla="*/ 416257 w 608989"/>
                    <a:gd name="connsiteY68" fmla="*/ 103263 h 474764"/>
                    <a:gd name="connsiteX69" fmla="*/ 238143 w 608989"/>
                    <a:gd name="connsiteY69" fmla="*/ 103263 h 474764"/>
                    <a:gd name="connsiteX70" fmla="*/ 168447 w 608989"/>
                    <a:gd name="connsiteY70" fmla="*/ 150304 h 474764"/>
                    <a:gd name="connsiteX71" fmla="*/ 103267 w 608989"/>
                    <a:gd name="connsiteY71" fmla="*/ 112446 h 474764"/>
                    <a:gd name="connsiteX72" fmla="*/ 103106 w 608989"/>
                    <a:gd name="connsiteY72" fmla="*/ 103908 h 474764"/>
                    <a:gd name="connsiteX73" fmla="*/ 110689 w 608989"/>
                    <a:gd name="connsiteY73" fmla="*/ 99880 h 474764"/>
                    <a:gd name="connsiteX74" fmla="*/ 159573 w 608989"/>
                    <a:gd name="connsiteY74" fmla="*/ 99880 h 474764"/>
                    <a:gd name="connsiteX75" fmla="*/ 164091 w 608989"/>
                    <a:gd name="connsiteY75" fmla="*/ 97786 h 474764"/>
                    <a:gd name="connsiteX76" fmla="*/ 164252 w 608989"/>
                    <a:gd name="connsiteY76" fmla="*/ 97464 h 474764"/>
                    <a:gd name="connsiteX77" fmla="*/ 180385 w 608989"/>
                    <a:gd name="connsiteY77" fmla="*/ 75232 h 474764"/>
                    <a:gd name="connsiteX78" fmla="*/ 164575 w 608989"/>
                    <a:gd name="connsiteY78" fmla="*/ 53162 h 474764"/>
                    <a:gd name="connsiteX79" fmla="*/ 164252 w 608989"/>
                    <a:gd name="connsiteY79" fmla="*/ 52679 h 474764"/>
                    <a:gd name="connsiteX80" fmla="*/ 160864 w 608989"/>
                    <a:gd name="connsiteY80" fmla="*/ 50423 h 474764"/>
                    <a:gd name="connsiteX81" fmla="*/ 160541 w 608989"/>
                    <a:gd name="connsiteY81" fmla="*/ 50423 h 474764"/>
                    <a:gd name="connsiteX82" fmla="*/ 110689 w 608989"/>
                    <a:gd name="connsiteY82" fmla="*/ 50262 h 474764"/>
                    <a:gd name="connsiteX83" fmla="*/ 103267 w 608989"/>
                    <a:gd name="connsiteY83" fmla="*/ 46235 h 474764"/>
                    <a:gd name="connsiteX84" fmla="*/ 103267 w 608989"/>
                    <a:gd name="connsiteY84" fmla="*/ 37858 h 474764"/>
                    <a:gd name="connsiteX85" fmla="*/ 168447 w 608989"/>
                    <a:gd name="connsiteY85" fmla="*/ 0 h 474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608989" h="474764">
                      <a:moveTo>
                        <a:pt x="427673" y="372781"/>
                      </a:moveTo>
                      <a:cubicBezTo>
                        <a:pt x="408960" y="372781"/>
                        <a:pt x="393797" y="387926"/>
                        <a:pt x="393797" y="406614"/>
                      </a:cubicBezTo>
                      <a:cubicBezTo>
                        <a:pt x="393797" y="425303"/>
                        <a:pt x="408960" y="440448"/>
                        <a:pt x="427673" y="440448"/>
                      </a:cubicBezTo>
                      <a:cubicBezTo>
                        <a:pt x="446385" y="440448"/>
                        <a:pt x="461549" y="425303"/>
                        <a:pt x="461549" y="406614"/>
                      </a:cubicBezTo>
                      <a:cubicBezTo>
                        <a:pt x="461549" y="387926"/>
                        <a:pt x="446385" y="372781"/>
                        <a:pt x="427673" y="372781"/>
                      </a:cubicBezTo>
                      <a:close/>
                      <a:moveTo>
                        <a:pt x="149568" y="372781"/>
                      </a:moveTo>
                      <a:cubicBezTo>
                        <a:pt x="130855" y="372781"/>
                        <a:pt x="115692" y="387926"/>
                        <a:pt x="115692" y="406614"/>
                      </a:cubicBezTo>
                      <a:cubicBezTo>
                        <a:pt x="115692" y="425303"/>
                        <a:pt x="130855" y="440448"/>
                        <a:pt x="149568" y="440448"/>
                      </a:cubicBezTo>
                      <a:cubicBezTo>
                        <a:pt x="168280" y="440448"/>
                        <a:pt x="183444" y="425303"/>
                        <a:pt x="183444" y="406614"/>
                      </a:cubicBezTo>
                      <a:cubicBezTo>
                        <a:pt x="183444" y="387926"/>
                        <a:pt x="168280" y="372781"/>
                        <a:pt x="149568" y="372781"/>
                      </a:cubicBezTo>
                      <a:close/>
                      <a:moveTo>
                        <a:pt x="413316" y="194754"/>
                      </a:moveTo>
                      <a:lnTo>
                        <a:pt x="413316" y="269348"/>
                      </a:lnTo>
                      <a:lnTo>
                        <a:pt x="477196" y="269348"/>
                      </a:lnTo>
                      <a:cubicBezTo>
                        <a:pt x="486068" y="269348"/>
                        <a:pt x="489133" y="263387"/>
                        <a:pt x="483971" y="256137"/>
                      </a:cubicBezTo>
                      <a:lnTo>
                        <a:pt x="449611" y="207965"/>
                      </a:lnTo>
                      <a:cubicBezTo>
                        <a:pt x="444449" y="200715"/>
                        <a:pt x="432996" y="194754"/>
                        <a:pt x="424124" y="194754"/>
                      </a:cubicBezTo>
                      <a:close/>
                      <a:moveTo>
                        <a:pt x="231999" y="194754"/>
                      </a:moveTo>
                      <a:cubicBezTo>
                        <a:pt x="223127" y="194754"/>
                        <a:pt x="211351" y="200393"/>
                        <a:pt x="205705" y="207321"/>
                      </a:cubicBezTo>
                      <a:lnTo>
                        <a:pt x="165860" y="256782"/>
                      </a:lnTo>
                      <a:cubicBezTo>
                        <a:pt x="160376" y="263709"/>
                        <a:pt x="163118" y="269348"/>
                        <a:pt x="171990" y="269348"/>
                      </a:cubicBezTo>
                      <a:lnTo>
                        <a:pt x="374439" y="269348"/>
                      </a:lnTo>
                      <a:lnTo>
                        <a:pt x="374439" y="194754"/>
                      </a:lnTo>
                      <a:close/>
                      <a:moveTo>
                        <a:pt x="217965" y="162371"/>
                      </a:moveTo>
                      <a:lnTo>
                        <a:pt x="442030" y="162371"/>
                      </a:lnTo>
                      <a:cubicBezTo>
                        <a:pt x="454612" y="162371"/>
                        <a:pt x="470098" y="170427"/>
                        <a:pt x="477196" y="180577"/>
                      </a:cubicBezTo>
                      <a:lnTo>
                        <a:pt x="524783" y="248243"/>
                      </a:lnTo>
                      <a:cubicBezTo>
                        <a:pt x="528816" y="254043"/>
                        <a:pt x="536882" y="257910"/>
                        <a:pt x="544625" y="257910"/>
                      </a:cubicBezTo>
                      <a:cubicBezTo>
                        <a:pt x="546883" y="257910"/>
                        <a:pt x="548819" y="257748"/>
                        <a:pt x="550594" y="257104"/>
                      </a:cubicBezTo>
                      <a:lnTo>
                        <a:pt x="586728" y="245826"/>
                      </a:lnTo>
                      <a:cubicBezTo>
                        <a:pt x="593987" y="243571"/>
                        <a:pt x="600924" y="245021"/>
                        <a:pt x="605118" y="249693"/>
                      </a:cubicBezTo>
                      <a:cubicBezTo>
                        <a:pt x="608183" y="253398"/>
                        <a:pt x="609473" y="258554"/>
                        <a:pt x="608828" y="264354"/>
                      </a:cubicBezTo>
                      <a:lnTo>
                        <a:pt x="590277" y="401942"/>
                      </a:lnTo>
                      <a:cubicBezTo>
                        <a:pt x="588664" y="414992"/>
                        <a:pt x="576565" y="425625"/>
                        <a:pt x="563337" y="425625"/>
                      </a:cubicBezTo>
                      <a:lnTo>
                        <a:pt x="493166" y="425625"/>
                      </a:lnTo>
                      <a:cubicBezTo>
                        <a:pt x="484939" y="453981"/>
                        <a:pt x="458806" y="474764"/>
                        <a:pt x="427673" y="474764"/>
                      </a:cubicBezTo>
                      <a:cubicBezTo>
                        <a:pt x="396700" y="474764"/>
                        <a:pt x="370568" y="453981"/>
                        <a:pt x="362341" y="425625"/>
                      </a:cubicBezTo>
                      <a:lnTo>
                        <a:pt x="215061" y="425625"/>
                      </a:lnTo>
                      <a:cubicBezTo>
                        <a:pt x="206834" y="453981"/>
                        <a:pt x="180540" y="474764"/>
                        <a:pt x="149568" y="474764"/>
                      </a:cubicBezTo>
                      <a:cubicBezTo>
                        <a:pt x="118595" y="474764"/>
                        <a:pt x="92301" y="453981"/>
                        <a:pt x="84074" y="425625"/>
                      </a:cubicBezTo>
                      <a:lnTo>
                        <a:pt x="21485" y="425625"/>
                      </a:lnTo>
                      <a:cubicBezTo>
                        <a:pt x="14871" y="425625"/>
                        <a:pt x="8902" y="423048"/>
                        <a:pt x="4869" y="418214"/>
                      </a:cubicBezTo>
                      <a:cubicBezTo>
                        <a:pt x="836" y="413542"/>
                        <a:pt x="-777" y="407420"/>
                        <a:pt x="352" y="400814"/>
                      </a:cubicBezTo>
                      <a:lnTo>
                        <a:pt x="15516" y="309304"/>
                      </a:lnTo>
                      <a:cubicBezTo>
                        <a:pt x="17613" y="296576"/>
                        <a:pt x="29066" y="284332"/>
                        <a:pt x="41649" y="281593"/>
                      </a:cubicBezTo>
                      <a:lnTo>
                        <a:pt x="95850" y="269348"/>
                      </a:lnTo>
                      <a:cubicBezTo>
                        <a:pt x="105690" y="267093"/>
                        <a:pt x="119241" y="258554"/>
                        <a:pt x="125532" y="250660"/>
                      </a:cubicBezTo>
                      <a:lnTo>
                        <a:pt x="181992" y="179771"/>
                      </a:lnTo>
                      <a:cubicBezTo>
                        <a:pt x="189735" y="169943"/>
                        <a:pt x="205544" y="162371"/>
                        <a:pt x="217965" y="162371"/>
                      </a:cubicBezTo>
                      <a:close/>
                      <a:moveTo>
                        <a:pt x="168447" y="0"/>
                      </a:moveTo>
                      <a:cubicBezTo>
                        <a:pt x="200068" y="0"/>
                        <a:pt x="227011" y="19493"/>
                        <a:pt x="238143" y="47040"/>
                      </a:cubicBezTo>
                      <a:lnTo>
                        <a:pt x="416257" y="47040"/>
                      </a:lnTo>
                      <a:cubicBezTo>
                        <a:pt x="418193" y="47040"/>
                        <a:pt x="419968" y="47202"/>
                        <a:pt x="421743" y="47524"/>
                      </a:cubicBezTo>
                      <a:cubicBezTo>
                        <a:pt x="432875" y="19815"/>
                        <a:pt x="459979" y="0"/>
                        <a:pt x="491762" y="0"/>
                      </a:cubicBezTo>
                      <a:cubicBezTo>
                        <a:pt x="518543" y="0"/>
                        <a:pt x="543550" y="14499"/>
                        <a:pt x="556941" y="37858"/>
                      </a:cubicBezTo>
                      <a:cubicBezTo>
                        <a:pt x="558232" y="39952"/>
                        <a:pt x="558877" y="43335"/>
                        <a:pt x="557103" y="46396"/>
                      </a:cubicBezTo>
                      <a:cubicBezTo>
                        <a:pt x="555651" y="48812"/>
                        <a:pt x="552908" y="50262"/>
                        <a:pt x="549520" y="50262"/>
                      </a:cubicBezTo>
                      <a:cubicBezTo>
                        <a:pt x="549520" y="50262"/>
                        <a:pt x="513703" y="50423"/>
                        <a:pt x="500635" y="50423"/>
                      </a:cubicBezTo>
                      <a:cubicBezTo>
                        <a:pt x="497731" y="50423"/>
                        <a:pt x="496279" y="52357"/>
                        <a:pt x="496279" y="52357"/>
                      </a:cubicBezTo>
                      <a:lnTo>
                        <a:pt x="495957" y="52840"/>
                      </a:lnTo>
                      <a:cubicBezTo>
                        <a:pt x="489019" y="60895"/>
                        <a:pt x="481275" y="71366"/>
                        <a:pt x="479823" y="75071"/>
                      </a:cubicBezTo>
                      <a:cubicBezTo>
                        <a:pt x="481275" y="78777"/>
                        <a:pt x="489019" y="89087"/>
                        <a:pt x="495634" y="97142"/>
                      </a:cubicBezTo>
                      <a:lnTo>
                        <a:pt x="495957" y="97625"/>
                      </a:lnTo>
                      <a:cubicBezTo>
                        <a:pt x="496441" y="98269"/>
                        <a:pt x="498054" y="99719"/>
                        <a:pt x="499345" y="99719"/>
                      </a:cubicBezTo>
                      <a:cubicBezTo>
                        <a:pt x="511929" y="99719"/>
                        <a:pt x="549520" y="99880"/>
                        <a:pt x="549520" y="99880"/>
                      </a:cubicBezTo>
                      <a:cubicBezTo>
                        <a:pt x="552747" y="99880"/>
                        <a:pt x="555489" y="101491"/>
                        <a:pt x="556941" y="104069"/>
                      </a:cubicBezTo>
                      <a:cubicBezTo>
                        <a:pt x="558393" y="106485"/>
                        <a:pt x="558393" y="109868"/>
                        <a:pt x="556941" y="112285"/>
                      </a:cubicBezTo>
                      <a:cubicBezTo>
                        <a:pt x="543550" y="135644"/>
                        <a:pt x="518543" y="150304"/>
                        <a:pt x="491762" y="150304"/>
                      </a:cubicBezTo>
                      <a:cubicBezTo>
                        <a:pt x="459979" y="150304"/>
                        <a:pt x="432875" y="130489"/>
                        <a:pt x="421743" y="102780"/>
                      </a:cubicBezTo>
                      <a:cubicBezTo>
                        <a:pt x="419968" y="103102"/>
                        <a:pt x="418193" y="103263"/>
                        <a:pt x="416257" y="103263"/>
                      </a:cubicBezTo>
                      <a:lnTo>
                        <a:pt x="238143" y="103263"/>
                      </a:lnTo>
                      <a:cubicBezTo>
                        <a:pt x="227011" y="130811"/>
                        <a:pt x="200068" y="150304"/>
                        <a:pt x="168447" y="150304"/>
                      </a:cubicBezTo>
                      <a:cubicBezTo>
                        <a:pt x="141665" y="150304"/>
                        <a:pt x="116658" y="135805"/>
                        <a:pt x="103267" y="112446"/>
                      </a:cubicBezTo>
                      <a:cubicBezTo>
                        <a:pt x="101977" y="110352"/>
                        <a:pt x="101331" y="106969"/>
                        <a:pt x="103106" y="103908"/>
                      </a:cubicBezTo>
                      <a:cubicBezTo>
                        <a:pt x="104558" y="101330"/>
                        <a:pt x="107301" y="99880"/>
                        <a:pt x="110689" y="99880"/>
                      </a:cubicBezTo>
                      <a:cubicBezTo>
                        <a:pt x="110689" y="99880"/>
                        <a:pt x="146505" y="99880"/>
                        <a:pt x="159573" y="99880"/>
                      </a:cubicBezTo>
                      <a:cubicBezTo>
                        <a:pt x="162477" y="99880"/>
                        <a:pt x="163929" y="98108"/>
                        <a:pt x="164091" y="97786"/>
                      </a:cubicBezTo>
                      <a:lnTo>
                        <a:pt x="164252" y="97464"/>
                      </a:lnTo>
                      <a:cubicBezTo>
                        <a:pt x="171189" y="89248"/>
                        <a:pt x="178933" y="78777"/>
                        <a:pt x="180385" y="75232"/>
                      </a:cubicBezTo>
                      <a:cubicBezTo>
                        <a:pt x="178933" y="71527"/>
                        <a:pt x="171189" y="61217"/>
                        <a:pt x="164575" y="53162"/>
                      </a:cubicBezTo>
                      <a:lnTo>
                        <a:pt x="164252" y="52679"/>
                      </a:lnTo>
                      <a:cubicBezTo>
                        <a:pt x="163768" y="52034"/>
                        <a:pt x="162155" y="50423"/>
                        <a:pt x="160864" y="50423"/>
                      </a:cubicBezTo>
                      <a:lnTo>
                        <a:pt x="160541" y="50423"/>
                      </a:lnTo>
                      <a:cubicBezTo>
                        <a:pt x="147796" y="50423"/>
                        <a:pt x="110689" y="50262"/>
                        <a:pt x="110689" y="50262"/>
                      </a:cubicBezTo>
                      <a:cubicBezTo>
                        <a:pt x="107462" y="50262"/>
                        <a:pt x="104719" y="48812"/>
                        <a:pt x="103267" y="46235"/>
                      </a:cubicBezTo>
                      <a:cubicBezTo>
                        <a:pt x="101815" y="43657"/>
                        <a:pt x="101654" y="40435"/>
                        <a:pt x="103267" y="37858"/>
                      </a:cubicBezTo>
                      <a:cubicBezTo>
                        <a:pt x="116497" y="14499"/>
                        <a:pt x="141665" y="0"/>
                        <a:pt x="168447" y="0"/>
                      </a:cubicBez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grpSp>
        </p:grpSp>
        <p:grpSp>
          <p:nvGrpSpPr>
            <p:cNvPr id="12" name="ïṣḻîḋê"/>
            <p:cNvGrpSpPr/>
            <p:nvPr/>
          </p:nvGrpSpPr>
          <p:grpSpPr>
            <a:xfrm>
              <a:off x="5744661" y="1254441"/>
              <a:ext cx="2240904" cy="1005914"/>
              <a:chOff x="8294591" y="1717812"/>
              <a:chExt cx="2240904" cy="1005914"/>
            </a:xfrm>
          </p:grpSpPr>
          <p:grpSp>
            <p:nvGrpSpPr>
              <p:cNvPr id="13" name="ïṥľïḑe"/>
              <p:cNvGrpSpPr/>
              <p:nvPr/>
            </p:nvGrpSpPr>
            <p:grpSpPr>
              <a:xfrm>
                <a:off x="9059866" y="1717812"/>
                <a:ext cx="1475629" cy="1005914"/>
                <a:chOff x="4243853" y="2741333"/>
                <a:chExt cx="1475629" cy="1005914"/>
              </a:xfrm>
            </p:grpSpPr>
            <p:sp>
              <p:nvSpPr>
                <p:cNvPr id="17" name="iŝľïde">
                  <a:extLst>
                    <a:ext uri="{FF2B5EF4-FFF2-40B4-BE49-F238E27FC236}">
                      <a16:creationId xmlns:a16="http://schemas.microsoft.com/office/drawing/2014/main" id="{73DA5CA1-A22D-45FF-B355-18D3880E7B99}"/>
                    </a:ext>
                  </a:extLst>
                </p:cNvPr>
                <p:cNvSpPr/>
                <p:nvPr/>
              </p:nvSpPr>
              <p:spPr>
                <a:xfrm>
                  <a:off x="4243855" y="2741333"/>
                  <a:ext cx="1475627" cy="410188"/>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nSpc>
                      <a:spcPct val="120000"/>
                    </a:lnSpc>
                  </a:pPr>
                  <a:r>
                    <a:rPr lang="en-US" altLang="zh-CN" sz="1400" b="1">
                      <a:solidFill>
                        <a:schemeClr val="tx1"/>
                      </a:solidFill>
                    </a:rPr>
                    <a:t>Text h</a:t>
                  </a:r>
                  <a:r>
                    <a:rPr lang="en-US" altLang="zh-CN" sz="100" b="1">
                      <a:solidFill>
                        <a:schemeClr val="tx1"/>
                      </a:solidFill>
                    </a:rPr>
                    <a:t> </a:t>
                  </a:r>
                  <a:r>
                    <a:rPr lang="en-US" altLang="zh-CN" sz="1400" b="1">
                      <a:solidFill>
                        <a:schemeClr val="tx1"/>
                      </a:solidFill>
                    </a:rPr>
                    <a:t>ere</a:t>
                  </a:r>
                  <a:endParaRPr lang="zh-CN" altLang="en-US" sz="1400" b="1" dirty="0">
                    <a:solidFill>
                      <a:schemeClr val="tx1"/>
                    </a:solidFill>
                  </a:endParaRPr>
                </a:p>
              </p:txBody>
            </p:sp>
            <p:sp>
              <p:nvSpPr>
                <p:cNvPr id="18" name="îsľïḓè">
                  <a:extLst>
                    <a:ext uri="{FF2B5EF4-FFF2-40B4-BE49-F238E27FC236}">
                      <a16:creationId xmlns:a16="http://schemas.microsoft.com/office/drawing/2014/main" id="{B40F5E8D-FBEB-4054-86D5-66BEF7C4392C}"/>
                    </a:ext>
                  </a:extLst>
                </p:cNvPr>
                <p:cNvSpPr txBox="1"/>
                <p:nvPr/>
              </p:nvSpPr>
              <p:spPr>
                <a:xfrm>
                  <a:off x="4243853" y="3151522"/>
                  <a:ext cx="1475628" cy="595725"/>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spcBef>
                      <a:spcPct val="0"/>
                    </a:spcBef>
                  </a:pPr>
                  <a:r>
                    <a:rPr lang="en-US" altLang="zh-CN" sz="1000" dirty="0"/>
                    <a:t>Supporting </a:t>
                  </a:r>
                  <a:r>
                    <a:rPr lang="en-US" altLang="zh-CN" sz="1000"/>
                    <a:t>text h</a:t>
                  </a:r>
                  <a:r>
                    <a:rPr lang="en-US" altLang="zh-CN" sz="100"/>
                    <a:t> </a:t>
                  </a:r>
                  <a:r>
                    <a:rPr lang="en-US" altLang="zh-CN" sz="1000"/>
                    <a:t>ere</a:t>
                  </a:r>
                  <a:r>
                    <a:rPr lang="en-US" altLang="zh-CN" sz="1000" dirty="0"/>
                    <a:t>.</a:t>
                  </a:r>
                </a:p>
                <a:p>
                  <a:pPr>
                    <a:lnSpc>
                      <a:spcPct val="150000"/>
                    </a:lnSpc>
                    <a:spcBef>
                      <a:spcPct val="0"/>
                    </a:spcBef>
                  </a:pPr>
                  <a:r>
                    <a:rPr lang="en-US" altLang="zh-CN" sz="1000" dirty="0"/>
                    <a:t>……</a:t>
                  </a:r>
                </a:p>
              </p:txBody>
            </p:sp>
          </p:grpSp>
          <p:grpSp>
            <p:nvGrpSpPr>
              <p:cNvPr id="14" name="ís1ïḑe"/>
              <p:cNvGrpSpPr/>
              <p:nvPr/>
            </p:nvGrpSpPr>
            <p:grpSpPr>
              <a:xfrm>
                <a:off x="8294591" y="1935010"/>
                <a:ext cx="571511" cy="571511"/>
                <a:chOff x="4123761" y="2164045"/>
                <a:chExt cx="457199" cy="457200"/>
              </a:xfrm>
            </p:grpSpPr>
            <p:sp>
              <p:nvSpPr>
                <p:cNvPr id="15" name="îṩļíďê"/>
                <p:cNvSpPr/>
                <p:nvPr/>
              </p:nvSpPr>
              <p:spPr>
                <a:xfrm>
                  <a:off x="4123761" y="2164045"/>
                  <a:ext cx="457199" cy="457200"/>
                </a:xfrm>
                <a:prstGeom prst="ellipse">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sp>
              <p:nvSpPr>
                <p:cNvPr id="16" name="íṡḻiďê"/>
                <p:cNvSpPr/>
                <p:nvPr/>
              </p:nvSpPr>
              <p:spPr>
                <a:xfrm>
                  <a:off x="4243854" y="2308048"/>
                  <a:ext cx="217020" cy="169187"/>
                </a:xfrm>
                <a:custGeom>
                  <a:avLst/>
                  <a:gdLst>
                    <a:gd name="connsiteX0" fmla="*/ 427673 w 608989"/>
                    <a:gd name="connsiteY0" fmla="*/ 372781 h 474764"/>
                    <a:gd name="connsiteX1" fmla="*/ 393797 w 608989"/>
                    <a:gd name="connsiteY1" fmla="*/ 406614 h 474764"/>
                    <a:gd name="connsiteX2" fmla="*/ 427673 w 608989"/>
                    <a:gd name="connsiteY2" fmla="*/ 440448 h 474764"/>
                    <a:gd name="connsiteX3" fmla="*/ 461549 w 608989"/>
                    <a:gd name="connsiteY3" fmla="*/ 406614 h 474764"/>
                    <a:gd name="connsiteX4" fmla="*/ 427673 w 608989"/>
                    <a:gd name="connsiteY4" fmla="*/ 372781 h 474764"/>
                    <a:gd name="connsiteX5" fmla="*/ 149568 w 608989"/>
                    <a:gd name="connsiteY5" fmla="*/ 372781 h 474764"/>
                    <a:gd name="connsiteX6" fmla="*/ 115692 w 608989"/>
                    <a:gd name="connsiteY6" fmla="*/ 406614 h 474764"/>
                    <a:gd name="connsiteX7" fmla="*/ 149568 w 608989"/>
                    <a:gd name="connsiteY7" fmla="*/ 440448 h 474764"/>
                    <a:gd name="connsiteX8" fmla="*/ 183444 w 608989"/>
                    <a:gd name="connsiteY8" fmla="*/ 406614 h 474764"/>
                    <a:gd name="connsiteX9" fmla="*/ 149568 w 608989"/>
                    <a:gd name="connsiteY9" fmla="*/ 372781 h 474764"/>
                    <a:gd name="connsiteX10" fmla="*/ 413316 w 608989"/>
                    <a:gd name="connsiteY10" fmla="*/ 194754 h 474764"/>
                    <a:gd name="connsiteX11" fmla="*/ 413316 w 608989"/>
                    <a:gd name="connsiteY11" fmla="*/ 269348 h 474764"/>
                    <a:gd name="connsiteX12" fmla="*/ 477196 w 608989"/>
                    <a:gd name="connsiteY12" fmla="*/ 269348 h 474764"/>
                    <a:gd name="connsiteX13" fmla="*/ 483971 w 608989"/>
                    <a:gd name="connsiteY13" fmla="*/ 256137 h 474764"/>
                    <a:gd name="connsiteX14" fmla="*/ 449611 w 608989"/>
                    <a:gd name="connsiteY14" fmla="*/ 207965 h 474764"/>
                    <a:gd name="connsiteX15" fmla="*/ 424124 w 608989"/>
                    <a:gd name="connsiteY15" fmla="*/ 194754 h 474764"/>
                    <a:gd name="connsiteX16" fmla="*/ 231999 w 608989"/>
                    <a:gd name="connsiteY16" fmla="*/ 194754 h 474764"/>
                    <a:gd name="connsiteX17" fmla="*/ 205705 w 608989"/>
                    <a:gd name="connsiteY17" fmla="*/ 207321 h 474764"/>
                    <a:gd name="connsiteX18" fmla="*/ 165860 w 608989"/>
                    <a:gd name="connsiteY18" fmla="*/ 256782 h 474764"/>
                    <a:gd name="connsiteX19" fmla="*/ 171990 w 608989"/>
                    <a:gd name="connsiteY19" fmla="*/ 269348 h 474764"/>
                    <a:gd name="connsiteX20" fmla="*/ 374439 w 608989"/>
                    <a:gd name="connsiteY20" fmla="*/ 269348 h 474764"/>
                    <a:gd name="connsiteX21" fmla="*/ 374439 w 608989"/>
                    <a:gd name="connsiteY21" fmla="*/ 194754 h 474764"/>
                    <a:gd name="connsiteX22" fmla="*/ 217965 w 608989"/>
                    <a:gd name="connsiteY22" fmla="*/ 162371 h 474764"/>
                    <a:gd name="connsiteX23" fmla="*/ 442030 w 608989"/>
                    <a:gd name="connsiteY23" fmla="*/ 162371 h 474764"/>
                    <a:gd name="connsiteX24" fmla="*/ 477196 w 608989"/>
                    <a:gd name="connsiteY24" fmla="*/ 180577 h 474764"/>
                    <a:gd name="connsiteX25" fmla="*/ 524783 w 608989"/>
                    <a:gd name="connsiteY25" fmla="*/ 248243 h 474764"/>
                    <a:gd name="connsiteX26" fmla="*/ 544625 w 608989"/>
                    <a:gd name="connsiteY26" fmla="*/ 257910 h 474764"/>
                    <a:gd name="connsiteX27" fmla="*/ 550594 w 608989"/>
                    <a:gd name="connsiteY27" fmla="*/ 257104 h 474764"/>
                    <a:gd name="connsiteX28" fmla="*/ 586728 w 608989"/>
                    <a:gd name="connsiteY28" fmla="*/ 245826 h 474764"/>
                    <a:gd name="connsiteX29" fmla="*/ 605118 w 608989"/>
                    <a:gd name="connsiteY29" fmla="*/ 249693 h 474764"/>
                    <a:gd name="connsiteX30" fmla="*/ 608828 w 608989"/>
                    <a:gd name="connsiteY30" fmla="*/ 264354 h 474764"/>
                    <a:gd name="connsiteX31" fmla="*/ 590277 w 608989"/>
                    <a:gd name="connsiteY31" fmla="*/ 401942 h 474764"/>
                    <a:gd name="connsiteX32" fmla="*/ 563337 w 608989"/>
                    <a:gd name="connsiteY32" fmla="*/ 425625 h 474764"/>
                    <a:gd name="connsiteX33" fmla="*/ 493166 w 608989"/>
                    <a:gd name="connsiteY33" fmla="*/ 425625 h 474764"/>
                    <a:gd name="connsiteX34" fmla="*/ 427673 w 608989"/>
                    <a:gd name="connsiteY34" fmla="*/ 474764 h 474764"/>
                    <a:gd name="connsiteX35" fmla="*/ 362341 w 608989"/>
                    <a:gd name="connsiteY35" fmla="*/ 425625 h 474764"/>
                    <a:gd name="connsiteX36" fmla="*/ 215061 w 608989"/>
                    <a:gd name="connsiteY36" fmla="*/ 425625 h 474764"/>
                    <a:gd name="connsiteX37" fmla="*/ 149568 w 608989"/>
                    <a:gd name="connsiteY37" fmla="*/ 474764 h 474764"/>
                    <a:gd name="connsiteX38" fmla="*/ 84074 w 608989"/>
                    <a:gd name="connsiteY38" fmla="*/ 425625 h 474764"/>
                    <a:gd name="connsiteX39" fmla="*/ 21485 w 608989"/>
                    <a:gd name="connsiteY39" fmla="*/ 425625 h 474764"/>
                    <a:gd name="connsiteX40" fmla="*/ 4869 w 608989"/>
                    <a:gd name="connsiteY40" fmla="*/ 418214 h 474764"/>
                    <a:gd name="connsiteX41" fmla="*/ 352 w 608989"/>
                    <a:gd name="connsiteY41" fmla="*/ 400814 h 474764"/>
                    <a:gd name="connsiteX42" fmla="*/ 15516 w 608989"/>
                    <a:gd name="connsiteY42" fmla="*/ 309304 h 474764"/>
                    <a:gd name="connsiteX43" fmla="*/ 41649 w 608989"/>
                    <a:gd name="connsiteY43" fmla="*/ 281593 h 474764"/>
                    <a:gd name="connsiteX44" fmla="*/ 95850 w 608989"/>
                    <a:gd name="connsiteY44" fmla="*/ 269348 h 474764"/>
                    <a:gd name="connsiteX45" fmla="*/ 125532 w 608989"/>
                    <a:gd name="connsiteY45" fmla="*/ 250660 h 474764"/>
                    <a:gd name="connsiteX46" fmla="*/ 181992 w 608989"/>
                    <a:gd name="connsiteY46" fmla="*/ 179771 h 474764"/>
                    <a:gd name="connsiteX47" fmla="*/ 217965 w 608989"/>
                    <a:gd name="connsiteY47" fmla="*/ 162371 h 474764"/>
                    <a:gd name="connsiteX48" fmla="*/ 168447 w 608989"/>
                    <a:gd name="connsiteY48" fmla="*/ 0 h 474764"/>
                    <a:gd name="connsiteX49" fmla="*/ 238143 w 608989"/>
                    <a:gd name="connsiteY49" fmla="*/ 47040 h 474764"/>
                    <a:gd name="connsiteX50" fmla="*/ 416257 w 608989"/>
                    <a:gd name="connsiteY50" fmla="*/ 47040 h 474764"/>
                    <a:gd name="connsiteX51" fmla="*/ 421743 w 608989"/>
                    <a:gd name="connsiteY51" fmla="*/ 47524 h 474764"/>
                    <a:gd name="connsiteX52" fmla="*/ 491762 w 608989"/>
                    <a:gd name="connsiteY52" fmla="*/ 0 h 474764"/>
                    <a:gd name="connsiteX53" fmla="*/ 556941 w 608989"/>
                    <a:gd name="connsiteY53" fmla="*/ 37858 h 474764"/>
                    <a:gd name="connsiteX54" fmla="*/ 557103 w 608989"/>
                    <a:gd name="connsiteY54" fmla="*/ 46396 h 474764"/>
                    <a:gd name="connsiteX55" fmla="*/ 549520 w 608989"/>
                    <a:gd name="connsiteY55" fmla="*/ 50262 h 474764"/>
                    <a:gd name="connsiteX56" fmla="*/ 500635 w 608989"/>
                    <a:gd name="connsiteY56" fmla="*/ 50423 h 474764"/>
                    <a:gd name="connsiteX57" fmla="*/ 496279 w 608989"/>
                    <a:gd name="connsiteY57" fmla="*/ 52357 h 474764"/>
                    <a:gd name="connsiteX58" fmla="*/ 495957 w 608989"/>
                    <a:gd name="connsiteY58" fmla="*/ 52840 h 474764"/>
                    <a:gd name="connsiteX59" fmla="*/ 479823 w 608989"/>
                    <a:gd name="connsiteY59" fmla="*/ 75071 h 474764"/>
                    <a:gd name="connsiteX60" fmla="*/ 495634 w 608989"/>
                    <a:gd name="connsiteY60" fmla="*/ 97142 h 474764"/>
                    <a:gd name="connsiteX61" fmla="*/ 495957 w 608989"/>
                    <a:gd name="connsiteY61" fmla="*/ 97625 h 474764"/>
                    <a:gd name="connsiteX62" fmla="*/ 499345 w 608989"/>
                    <a:gd name="connsiteY62" fmla="*/ 99719 h 474764"/>
                    <a:gd name="connsiteX63" fmla="*/ 549520 w 608989"/>
                    <a:gd name="connsiteY63" fmla="*/ 99880 h 474764"/>
                    <a:gd name="connsiteX64" fmla="*/ 556941 w 608989"/>
                    <a:gd name="connsiteY64" fmla="*/ 104069 h 474764"/>
                    <a:gd name="connsiteX65" fmla="*/ 556941 w 608989"/>
                    <a:gd name="connsiteY65" fmla="*/ 112285 h 474764"/>
                    <a:gd name="connsiteX66" fmla="*/ 491762 w 608989"/>
                    <a:gd name="connsiteY66" fmla="*/ 150304 h 474764"/>
                    <a:gd name="connsiteX67" fmla="*/ 421743 w 608989"/>
                    <a:gd name="connsiteY67" fmla="*/ 102780 h 474764"/>
                    <a:gd name="connsiteX68" fmla="*/ 416257 w 608989"/>
                    <a:gd name="connsiteY68" fmla="*/ 103263 h 474764"/>
                    <a:gd name="connsiteX69" fmla="*/ 238143 w 608989"/>
                    <a:gd name="connsiteY69" fmla="*/ 103263 h 474764"/>
                    <a:gd name="connsiteX70" fmla="*/ 168447 w 608989"/>
                    <a:gd name="connsiteY70" fmla="*/ 150304 h 474764"/>
                    <a:gd name="connsiteX71" fmla="*/ 103267 w 608989"/>
                    <a:gd name="connsiteY71" fmla="*/ 112446 h 474764"/>
                    <a:gd name="connsiteX72" fmla="*/ 103106 w 608989"/>
                    <a:gd name="connsiteY72" fmla="*/ 103908 h 474764"/>
                    <a:gd name="connsiteX73" fmla="*/ 110689 w 608989"/>
                    <a:gd name="connsiteY73" fmla="*/ 99880 h 474764"/>
                    <a:gd name="connsiteX74" fmla="*/ 159573 w 608989"/>
                    <a:gd name="connsiteY74" fmla="*/ 99880 h 474764"/>
                    <a:gd name="connsiteX75" fmla="*/ 164091 w 608989"/>
                    <a:gd name="connsiteY75" fmla="*/ 97786 h 474764"/>
                    <a:gd name="connsiteX76" fmla="*/ 164252 w 608989"/>
                    <a:gd name="connsiteY76" fmla="*/ 97464 h 474764"/>
                    <a:gd name="connsiteX77" fmla="*/ 180385 w 608989"/>
                    <a:gd name="connsiteY77" fmla="*/ 75232 h 474764"/>
                    <a:gd name="connsiteX78" fmla="*/ 164575 w 608989"/>
                    <a:gd name="connsiteY78" fmla="*/ 53162 h 474764"/>
                    <a:gd name="connsiteX79" fmla="*/ 164252 w 608989"/>
                    <a:gd name="connsiteY79" fmla="*/ 52679 h 474764"/>
                    <a:gd name="connsiteX80" fmla="*/ 160864 w 608989"/>
                    <a:gd name="connsiteY80" fmla="*/ 50423 h 474764"/>
                    <a:gd name="connsiteX81" fmla="*/ 160541 w 608989"/>
                    <a:gd name="connsiteY81" fmla="*/ 50423 h 474764"/>
                    <a:gd name="connsiteX82" fmla="*/ 110689 w 608989"/>
                    <a:gd name="connsiteY82" fmla="*/ 50262 h 474764"/>
                    <a:gd name="connsiteX83" fmla="*/ 103267 w 608989"/>
                    <a:gd name="connsiteY83" fmla="*/ 46235 h 474764"/>
                    <a:gd name="connsiteX84" fmla="*/ 103267 w 608989"/>
                    <a:gd name="connsiteY84" fmla="*/ 37858 h 474764"/>
                    <a:gd name="connsiteX85" fmla="*/ 168447 w 608989"/>
                    <a:gd name="connsiteY85" fmla="*/ 0 h 474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608989" h="474764">
                      <a:moveTo>
                        <a:pt x="427673" y="372781"/>
                      </a:moveTo>
                      <a:cubicBezTo>
                        <a:pt x="408960" y="372781"/>
                        <a:pt x="393797" y="387926"/>
                        <a:pt x="393797" y="406614"/>
                      </a:cubicBezTo>
                      <a:cubicBezTo>
                        <a:pt x="393797" y="425303"/>
                        <a:pt x="408960" y="440448"/>
                        <a:pt x="427673" y="440448"/>
                      </a:cubicBezTo>
                      <a:cubicBezTo>
                        <a:pt x="446385" y="440448"/>
                        <a:pt x="461549" y="425303"/>
                        <a:pt x="461549" y="406614"/>
                      </a:cubicBezTo>
                      <a:cubicBezTo>
                        <a:pt x="461549" y="387926"/>
                        <a:pt x="446385" y="372781"/>
                        <a:pt x="427673" y="372781"/>
                      </a:cubicBezTo>
                      <a:close/>
                      <a:moveTo>
                        <a:pt x="149568" y="372781"/>
                      </a:moveTo>
                      <a:cubicBezTo>
                        <a:pt x="130855" y="372781"/>
                        <a:pt x="115692" y="387926"/>
                        <a:pt x="115692" y="406614"/>
                      </a:cubicBezTo>
                      <a:cubicBezTo>
                        <a:pt x="115692" y="425303"/>
                        <a:pt x="130855" y="440448"/>
                        <a:pt x="149568" y="440448"/>
                      </a:cubicBezTo>
                      <a:cubicBezTo>
                        <a:pt x="168280" y="440448"/>
                        <a:pt x="183444" y="425303"/>
                        <a:pt x="183444" y="406614"/>
                      </a:cubicBezTo>
                      <a:cubicBezTo>
                        <a:pt x="183444" y="387926"/>
                        <a:pt x="168280" y="372781"/>
                        <a:pt x="149568" y="372781"/>
                      </a:cubicBezTo>
                      <a:close/>
                      <a:moveTo>
                        <a:pt x="413316" y="194754"/>
                      </a:moveTo>
                      <a:lnTo>
                        <a:pt x="413316" y="269348"/>
                      </a:lnTo>
                      <a:lnTo>
                        <a:pt x="477196" y="269348"/>
                      </a:lnTo>
                      <a:cubicBezTo>
                        <a:pt x="486068" y="269348"/>
                        <a:pt x="489133" y="263387"/>
                        <a:pt x="483971" y="256137"/>
                      </a:cubicBezTo>
                      <a:lnTo>
                        <a:pt x="449611" y="207965"/>
                      </a:lnTo>
                      <a:cubicBezTo>
                        <a:pt x="444449" y="200715"/>
                        <a:pt x="432996" y="194754"/>
                        <a:pt x="424124" y="194754"/>
                      </a:cubicBezTo>
                      <a:close/>
                      <a:moveTo>
                        <a:pt x="231999" y="194754"/>
                      </a:moveTo>
                      <a:cubicBezTo>
                        <a:pt x="223127" y="194754"/>
                        <a:pt x="211351" y="200393"/>
                        <a:pt x="205705" y="207321"/>
                      </a:cubicBezTo>
                      <a:lnTo>
                        <a:pt x="165860" y="256782"/>
                      </a:lnTo>
                      <a:cubicBezTo>
                        <a:pt x="160376" y="263709"/>
                        <a:pt x="163118" y="269348"/>
                        <a:pt x="171990" y="269348"/>
                      </a:cubicBezTo>
                      <a:lnTo>
                        <a:pt x="374439" y="269348"/>
                      </a:lnTo>
                      <a:lnTo>
                        <a:pt x="374439" y="194754"/>
                      </a:lnTo>
                      <a:close/>
                      <a:moveTo>
                        <a:pt x="217965" y="162371"/>
                      </a:moveTo>
                      <a:lnTo>
                        <a:pt x="442030" y="162371"/>
                      </a:lnTo>
                      <a:cubicBezTo>
                        <a:pt x="454612" y="162371"/>
                        <a:pt x="470098" y="170427"/>
                        <a:pt x="477196" y="180577"/>
                      </a:cubicBezTo>
                      <a:lnTo>
                        <a:pt x="524783" y="248243"/>
                      </a:lnTo>
                      <a:cubicBezTo>
                        <a:pt x="528816" y="254043"/>
                        <a:pt x="536882" y="257910"/>
                        <a:pt x="544625" y="257910"/>
                      </a:cubicBezTo>
                      <a:cubicBezTo>
                        <a:pt x="546883" y="257910"/>
                        <a:pt x="548819" y="257748"/>
                        <a:pt x="550594" y="257104"/>
                      </a:cubicBezTo>
                      <a:lnTo>
                        <a:pt x="586728" y="245826"/>
                      </a:lnTo>
                      <a:cubicBezTo>
                        <a:pt x="593987" y="243571"/>
                        <a:pt x="600924" y="245021"/>
                        <a:pt x="605118" y="249693"/>
                      </a:cubicBezTo>
                      <a:cubicBezTo>
                        <a:pt x="608183" y="253398"/>
                        <a:pt x="609473" y="258554"/>
                        <a:pt x="608828" y="264354"/>
                      </a:cubicBezTo>
                      <a:lnTo>
                        <a:pt x="590277" y="401942"/>
                      </a:lnTo>
                      <a:cubicBezTo>
                        <a:pt x="588664" y="414992"/>
                        <a:pt x="576565" y="425625"/>
                        <a:pt x="563337" y="425625"/>
                      </a:cubicBezTo>
                      <a:lnTo>
                        <a:pt x="493166" y="425625"/>
                      </a:lnTo>
                      <a:cubicBezTo>
                        <a:pt x="484939" y="453981"/>
                        <a:pt x="458806" y="474764"/>
                        <a:pt x="427673" y="474764"/>
                      </a:cubicBezTo>
                      <a:cubicBezTo>
                        <a:pt x="396700" y="474764"/>
                        <a:pt x="370568" y="453981"/>
                        <a:pt x="362341" y="425625"/>
                      </a:cubicBezTo>
                      <a:lnTo>
                        <a:pt x="215061" y="425625"/>
                      </a:lnTo>
                      <a:cubicBezTo>
                        <a:pt x="206834" y="453981"/>
                        <a:pt x="180540" y="474764"/>
                        <a:pt x="149568" y="474764"/>
                      </a:cubicBezTo>
                      <a:cubicBezTo>
                        <a:pt x="118595" y="474764"/>
                        <a:pt x="92301" y="453981"/>
                        <a:pt x="84074" y="425625"/>
                      </a:cubicBezTo>
                      <a:lnTo>
                        <a:pt x="21485" y="425625"/>
                      </a:lnTo>
                      <a:cubicBezTo>
                        <a:pt x="14871" y="425625"/>
                        <a:pt x="8902" y="423048"/>
                        <a:pt x="4869" y="418214"/>
                      </a:cubicBezTo>
                      <a:cubicBezTo>
                        <a:pt x="836" y="413542"/>
                        <a:pt x="-777" y="407420"/>
                        <a:pt x="352" y="400814"/>
                      </a:cubicBezTo>
                      <a:lnTo>
                        <a:pt x="15516" y="309304"/>
                      </a:lnTo>
                      <a:cubicBezTo>
                        <a:pt x="17613" y="296576"/>
                        <a:pt x="29066" y="284332"/>
                        <a:pt x="41649" y="281593"/>
                      </a:cubicBezTo>
                      <a:lnTo>
                        <a:pt x="95850" y="269348"/>
                      </a:lnTo>
                      <a:cubicBezTo>
                        <a:pt x="105690" y="267093"/>
                        <a:pt x="119241" y="258554"/>
                        <a:pt x="125532" y="250660"/>
                      </a:cubicBezTo>
                      <a:lnTo>
                        <a:pt x="181992" y="179771"/>
                      </a:lnTo>
                      <a:cubicBezTo>
                        <a:pt x="189735" y="169943"/>
                        <a:pt x="205544" y="162371"/>
                        <a:pt x="217965" y="162371"/>
                      </a:cubicBezTo>
                      <a:close/>
                      <a:moveTo>
                        <a:pt x="168447" y="0"/>
                      </a:moveTo>
                      <a:cubicBezTo>
                        <a:pt x="200068" y="0"/>
                        <a:pt x="227011" y="19493"/>
                        <a:pt x="238143" y="47040"/>
                      </a:cubicBezTo>
                      <a:lnTo>
                        <a:pt x="416257" y="47040"/>
                      </a:lnTo>
                      <a:cubicBezTo>
                        <a:pt x="418193" y="47040"/>
                        <a:pt x="419968" y="47202"/>
                        <a:pt x="421743" y="47524"/>
                      </a:cubicBezTo>
                      <a:cubicBezTo>
                        <a:pt x="432875" y="19815"/>
                        <a:pt x="459979" y="0"/>
                        <a:pt x="491762" y="0"/>
                      </a:cubicBezTo>
                      <a:cubicBezTo>
                        <a:pt x="518543" y="0"/>
                        <a:pt x="543550" y="14499"/>
                        <a:pt x="556941" y="37858"/>
                      </a:cubicBezTo>
                      <a:cubicBezTo>
                        <a:pt x="558232" y="39952"/>
                        <a:pt x="558877" y="43335"/>
                        <a:pt x="557103" y="46396"/>
                      </a:cubicBezTo>
                      <a:cubicBezTo>
                        <a:pt x="555651" y="48812"/>
                        <a:pt x="552908" y="50262"/>
                        <a:pt x="549520" y="50262"/>
                      </a:cubicBezTo>
                      <a:cubicBezTo>
                        <a:pt x="549520" y="50262"/>
                        <a:pt x="513703" y="50423"/>
                        <a:pt x="500635" y="50423"/>
                      </a:cubicBezTo>
                      <a:cubicBezTo>
                        <a:pt x="497731" y="50423"/>
                        <a:pt x="496279" y="52357"/>
                        <a:pt x="496279" y="52357"/>
                      </a:cubicBezTo>
                      <a:lnTo>
                        <a:pt x="495957" y="52840"/>
                      </a:lnTo>
                      <a:cubicBezTo>
                        <a:pt x="489019" y="60895"/>
                        <a:pt x="481275" y="71366"/>
                        <a:pt x="479823" y="75071"/>
                      </a:cubicBezTo>
                      <a:cubicBezTo>
                        <a:pt x="481275" y="78777"/>
                        <a:pt x="489019" y="89087"/>
                        <a:pt x="495634" y="97142"/>
                      </a:cubicBezTo>
                      <a:lnTo>
                        <a:pt x="495957" y="97625"/>
                      </a:lnTo>
                      <a:cubicBezTo>
                        <a:pt x="496441" y="98269"/>
                        <a:pt x="498054" y="99719"/>
                        <a:pt x="499345" y="99719"/>
                      </a:cubicBezTo>
                      <a:cubicBezTo>
                        <a:pt x="511929" y="99719"/>
                        <a:pt x="549520" y="99880"/>
                        <a:pt x="549520" y="99880"/>
                      </a:cubicBezTo>
                      <a:cubicBezTo>
                        <a:pt x="552747" y="99880"/>
                        <a:pt x="555489" y="101491"/>
                        <a:pt x="556941" y="104069"/>
                      </a:cubicBezTo>
                      <a:cubicBezTo>
                        <a:pt x="558393" y="106485"/>
                        <a:pt x="558393" y="109868"/>
                        <a:pt x="556941" y="112285"/>
                      </a:cubicBezTo>
                      <a:cubicBezTo>
                        <a:pt x="543550" y="135644"/>
                        <a:pt x="518543" y="150304"/>
                        <a:pt x="491762" y="150304"/>
                      </a:cubicBezTo>
                      <a:cubicBezTo>
                        <a:pt x="459979" y="150304"/>
                        <a:pt x="432875" y="130489"/>
                        <a:pt x="421743" y="102780"/>
                      </a:cubicBezTo>
                      <a:cubicBezTo>
                        <a:pt x="419968" y="103102"/>
                        <a:pt x="418193" y="103263"/>
                        <a:pt x="416257" y="103263"/>
                      </a:cubicBezTo>
                      <a:lnTo>
                        <a:pt x="238143" y="103263"/>
                      </a:lnTo>
                      <a:cubicBezTo>
                        <a:pt x="227011" y="130811"/>
                        <a:pt x="200068" y="150304"/>
                        <a:pt x="168447" y="150304"/>
                      </a:cubicBezTo>
                      <a:cubicBezTo>
                        <a:pt x="141665" y="150304"/>
                        <a:pt x="116658" y="135805"/>
                        <a:pt x="103267" y="112446"/>
                      </a:cubicBezTo>
                      <a:cubicBezTo>
                        <a:pt x="101977" y="110352"/>
                        <a:pt x="101331" y="106969"/>
                        <a:pt x="103106" y="103908"/>
                      </a:cubicBezTo>
                      <a:cubicBezTo>
                        <a:pt x="104558" y="101330"/>
                        <a:pt x="107301" y="99880"/>
                        <a:pt x="110689" y="99880"/>
                      </a:cubicBezTo>
                      <a:cubicBezTo>
                        <a:pt x="110689" y="99880"/>
                        <a:pt x="146505" y="99880"/>
                        <a:pt x="159573" y="99880"/>
                      </a:cubicBezTo>
                      <a:cubicBezTo>
                        <a:pt x="162477" y="99880"/>
                        <a:pt x="163929" y="98108"/>
                        <a:pt x="164091" y="97786"/>
                      </a:cubicBezTo>
                      <a:lnTo>
                        <a:pt x="164252" y="97464"/>
                      </a:lnTo>
                      <a:cubicBezTo>
                        <a:pt x="171189" y="89248"/>
                        <a:pt x="178933" y="78777"/>
                        <a:pt x="180385" y="75232"/>
                      </a:cubicBezTo>
                      <a:cubicBezTo>
                        <a:pt x="178933" y="71527"/>
                        <a:pt x="171189" y="61217"/>
                        <a:pt x="164575" y="53162"/>
                      </a:cubicBezTo>
                      <a:lnTo>
                        <a:pt x="164252" y="52679"/>
                      </a:lnTo>
                      <a:cubicBezTo>
                        <a:pt x="163768" y="52034"/>
                        <a:pt x="162155" y="50423"/>
                        <a:pt x="160864" y="50423"/>
                      </a:cubicBezTo>
                      <a:lnTo>
                        <a:pt x="160541" y="50423"/>
                      </a:lnTo>
                      <a:cubicBezTo>
                        <a:pt x="147796" y="50423"/>
                        <a:pt x="110689" y="50262"/>
                        <a:pt x="110689" y="50262"/>
                      </a:cubicBezTo>
                      <a:cubicBezTo>
                        <a:pt x="107462" y="50262"/>
                        <a:pt x="104719" y="48812"/>
                        <a:pt x="103267" y="46235"/>
                      </a:cubicBezTo>
                      <a:cubicBezTo>
                        <a:pt x="101815" y="43657"/>
                        <a:pt x="101654" y="40435"/>
                        <a:pt x="103267" y="37858"/>
                      </a:cubicBezTo>
                      <a:cubicBezTo>
                        <a:pt x="116497" y="14499"/>
                        <a:pt x="141665" y="0"/>
                        <a:pt x="168447" y="0"/>
                      </a:cubicBezTo>
                      <a:close/>
                    </a:path>
                  </a:pathLst>
                </a:cu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grpSp>
        </p:grpSp>
      </p:grpSp>
    </p:spTree>
    <p:extLst>
      <p:ext uri="{BB962C8B-B14F-4D97-AF65-F5344CB8AC3E}">
        <p14:creationId xmlns:p14="http://schemas.microsoft.com/office/powerpoint/2010/main" val="21762255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ï$lïďè"/>
        <p:cNvGrpSpPr/>
        <p:nvPr/>
      </p:nvGrpSpPr>
      <p:grpSpPr>
        <a:xfrm>
          <a:off x="0" y="0"/>
          <a:ext cx="0" cy="0"/>
          <a:chOff x="0" y="0"/>
          <a:chExt cx="0" cy="0"/>
        </a:xfrm>
      </p:grpSpPr>
      <p:graphicFrame>
        <p:nvGraphicFramePr>
          <p:cNvPr id="3" name="iṡḻîḍe" hidden="1">
            <a:extLst>
              <a:ext uri="{FF2B5EF4-FFF2-40B4-BE49-F238E27FC236}">
                <a16:creationId xmlns:a16="http://schemas.microsoft.com/office/drawing/2014/main"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í$ļïďè" hidden="1">
                        <a:extLst>
                          <a:ext uri="{FF2B5EF4-FFF2-40B4-BE49-F238E27FC236}">
                            <a16:creationId xmlns:a16="http://schemas.microsoft.com/office/drawing/2014/main" id="{A6A819F1-33AF-45D7-8BF6-2B0A9769CA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îşļiḑè" hidden="1">
            <a:extLst>
              <a:ext uri="{FF2B5EF4-FFF2-40B4-BE49-F238E27FC236}">
                <a16:creationId xmlns:a16="http://schemas.microsoft.com/office/drawing/2014/main"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i$lîdé"/>
          <p:cNvSpPr>
            <a:spLocks noGrp="1"/>
          </p:cNvSpPr>
          <p:nvPr>
            <p:ph type="ctrTitle"/>
          </p:nvPr>
        </p:nvSpPr>
        <p:spPr/>
        <p:txBody>
          <a:bodyPr/>
          <a:lstStyle/>
          <a:p>
            <a:r>
              <a:rPr lang="en-US" altLang="zh-CN" sz="8800" dirty="0"/>
              <a:t>THANK YOU!</a:t>
            </a:r>
            <a:br>
              <a:rPr lang="en-US" altLang="zh-CN" sz="3600" dirty="0"/>
            </a:br>
            <a:r>
              <a:rPr lang="en-GB" altLang="zh-CN" sz="2000" b="0" dirty="0">
                <a:solidFill>
                  <a:schemeClr val="accent1">
                    <a:lumMod val="40000"/>
                    <a:lumOff val="60000"/>
                  </a:schemeClr>
                </a:solidFill>
              </a:rPr>
              <a:t>In the face of the new types of the coronavirus pneumonia, do not believe nor spread rumours!</a:t>
            </a:r>
            <a:endParaRPr lang="zh-CN" altLang="en-US" sz="2000" b="0" dirty="0">
              <a:solidFill>
                <a:schemeClr val="accent1">
                  <a:lumMod val="40000"/>
                  <a:lumOff val="60000"/>
                </a:schemeClr>
              </a:solidFill>
            </a:endParaRPr>
          </a:p>
        </p:txBody>
      </p:sp>
      <p:sp>
        <p:nvSpPr>
          <p:cNvPr id="7" name="îṧḷíḓê"/>
          <p:cNvSpPr>
            <a:spLocks noGrp="1"/>
          </p:cNvSpPr>
          <p:nvPr>
            <p:ph type="body" sz="quarter" idx="18"/>
          </p:nvPr>
        </p:nvSpPr>
        <p:spPr/>
        <p:txBody>
          <a:bodyPr/>
          <a:lstStyle/>
          <a:p>
            <a:r>
              <a:rPr lang="en-US" altLang="en-US" dirty="0">
                <a:solidFill>
                  <a:srgbClr val="FBEDE5"/>
                </a:solidFill>
                <a:hlinkClick r:id="rId5">
                  <a:extLst>
                    <a:ext uri="{A12FA001-AC4F-418D-AE19-62706E023703}">
                      <ahyp:hlinkClr xmlns:ahyp="http://schemas.microsoft.com/office/drawing/2018/hyperlinkcolor" val="tx"/>
                    </a:ext>
                  </a:extLst>
                </a:hlinkClick>
              </a:rPr>
              <a:t>https://iSlide-PowerPoint.com</a:t>
            </a:r>
            <a:endParaRPr lang="en-US" altLang="en-US" dirty="0">
              <a:solidFill>
                <a:srgbClr val="FBEDE5"/>
              </a:solidFill>
            </a:endParaRPr>
          </a:p>
        </p:txBody>
      </p:sp>
      <p:sp>
        <p:nvSpPr>
          <p:cNvPr id="6" name="íSlíḋe"/>
          <p:cNvSpPr>
            <a:spLocks noGrp="1"/>
          </p:cNvSpPr>
          <p:nvPr>
            <p:ph type="body" sz="quarter" idx="10"/>
          </p:nvPr>
        </p:nvSpPr>
        <p:spPr/>
        <p:txBody>
          <a:bodyPr/>
          <a:lstStyle/>
          <a:p>
            <a:r>
              <a:rPr lang="en-US" altLang="zh-CN" dirty="0">
                <a:solidFill>
                  <a:schemeClr val="accent1">
                    <a:lumMod val="40000"/>
                    <a:lumOff val="60000"/>
                  </a:schemeClr>
                </a:solidFill>
              </a:rPr>
              <a:t>SPEAKERS NAME AND TITLE</a:t>
            </a:r>
          </a:p>
        </p:txBody>
      </p:sp>
    </p:spTree>
    <p:extLst>
      <p:ext uri="{BB962C8B-B14F-4D97-AF65-F5344CB8AC3E}">
        <p14:creationId xmlns:p14="http://schemas.microsoft.com/office/powerpoint/2010/main" val="12590430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grpSp>
        <p:nvGrpSpPr>
          <p:cNvPr id="47" name="组合 46">
            <a:extLst>
              <a:ext uri="{FF2B5EF4-FFF2-40B4-BE49-F238E27FC236}">
                <a16:creationId xmlns:a16="http://schemas.microsoft.com/office/drawing/2014/main" id="{C3B8E65B-8D23-4A0C-BA0F-4099D6663359}"/>
              </a:ext>
            </a:extLst>
          </p:cNvPr>
          <p:cNvGrpSpPr/>
          <p:nvPr/>
        </p:nvGrpSpPr>
        <p:grpSpPr>
          <a:xfrm>
            <a:off x="5252647" y="0"/>
            <a:ext cx="6939359" cy="6858000"/>
            <a:chOff x="5252643" y="0"/>
            <a:chExt cx="6939358" cy="6858000"/>
          </a:xfrm>
          <a:solidFill>
            <a:srgbClr val="F7F7F7"/>
          </a:solidFill>
        </p:grpSpPr>
        <p:sp>
          <p:nvSpPr>
            <p:cNvPr id="48" name="任意多边形: 形状 47">
              <a:extLst>
                <a:ext uri="{FF2B5EF4-FFF2-40B4-BE49-F238E27FC236}">
                  <a16:creationId xmlns:a16="http://schemas.microsoft.com/office/drawing/2014/main" id="{318E7F1B-E2A0-4D9A-826C-3801FAA34DB1}"/>
                </a:ext>
              </a:extLst>
            </p:cNvPr>
            <p:cNvSpPr>
              <a:spLocks/>
            </p:cNvSpPr>
            <p:nvPr/>
          </p:nvSpPr>
          <p:spPr>
            <a:xfrm rot="19800000">
              <a:off x="7350845" y="2199545"/>
              <a:ext cx="2772000" cy="2772000"/>
            </a:xfrm>
            <a:custGeom>
              <a:avLst/>
              <a:gdLst>
                <a:gd name="connsiteX0" fmla="*/ 786764 w 1905000"/>
                <a:gd name="connsiteY0" fmla="*/ 1857375 h 1866900"/>
                <a:gd name="connsiteX1" fmla="*/ 1116329 w 1905000"/>
                <a:gd name="connsiteY1" fmla="*/ 1857375 h 1866900"/>
                <a:gd name="connsiteX2" fmla="*/ 1047749 w 1905000"/>
                <a:gd name="connsiteY2" fmla="*/ 1866900 h 1866900"/>
                <a:gd name="connsiteX3" fmla="*/ 855344 w 1905000"/>
                <a:gd name="connsiteY3" fmla="*/ 1866900 h 1866900"/>
                <a:gd name="connsiteX4" fmla="*/ 786764 w 1905000"/>
                <a:gd name="connsiteY4" fmla="*/ 1857375 h 1866900"/>
                <a:gd name="connsiteX5" fmla="*/ 614362 w 1905000"/>
                <a:gd name="connsiteY5" fmla="*/ 1809750 h 1866900"/>
                <a:gd name="connsiteX6" fmla="*/ 1290637 w 1905000"/>
                <a:gd name="connsiteY6" fmla="*/ 1809750 h 1866900"/>
                <a:gd name="connsiteX7" fmla="*/ 1263967 w 1905000"/>
                <a:gd name="connsiteY7" fmla="*/ 1819275 h 1866900"/>
                <a:gd name="connsiteX8" fmla="*/ 640079 w 1905000"/>
                <a:gd name="connsiteY8" fmla="*/ 1819275 h 1866900"/>
                <a:gd name="connsiteX9" fmla="*/ 614362 w 1905000"/>
                <a:gd name="connsiteY9" fmla="*/ 1809750 h 1866900"/>
                <a:gd name="connsiteX10" fmla="*/ 509587 w 1905000"/>
                <a:gd name="connsiteY10" fmla="*/ 1762125 h 1866900"/>
                <a:gd name="connsiteX11" fmla="*/ 1396365 w 1905000"/>
                <a:gd name="connsiteY11" fmla="*/ 1762125 h 1866900"/>
                <a:gd name="connsiteX12" fmla="*/ 1377315 w 1905000"/>
                <a:gd name="connsiteY12" fmla="*/ 1771650 h 1866900"/>
                <a:gd name="connsiteX13" fmla="*/ 527685 w 1905000"/>
                <a:gd name="connsiteY13" fmla="*/ 1771650 h 1866900"/>
                <a:gd name="connsiteX14" fmla="*/ 509587 w 1905000"/>
                <a:gd name="connsiteY14" fmla="*/ 1762125 h 1866900"/>
                <a:gd name="connsiteX15" fmla="*/ 428625 w 1905000"/>
                <a:gd name="connsiteY15" fmla="*/ 1714500 h 1866900"/>
                <a:gd name="connsiteX16" fmla="*/ 1478280 w 1905000"/>
                <a:gd name="connsiteY16" fmla="*/ 1714500 h 1866900"/>
                <a:gd name="connsiteX17" fmla="*/ 1463040 w 1905000"/>
                <a:gd name="connsiteY17" fmla="*/ 1724025 h 1866900"/>
                <a:gd name="connsiteX18" fmla="*/ 443865 w 1905000"/>
                <a:gd name="connsiteY18" fmla="*/ 1724025 h 1866900"/>
                <a:gd name="connsiteX19" fmla="*/ 428625 w 1905000"/>
                <a:gd name="connsiteY19" fmla="*/ 1714500 h 1866900"/>
                <a:gd name="connsiteX20" fmla="*/ 362902 w 1905000"/>
                <a:gd name="connsiteY20" fmla="*/ 1666875 h 1866900"/>
                <a:gd name="connsiteX21" fmla="*/ 1544002 w 1905000"/>
                <a:gd name="connsiteY21" fmla="*/ 1666875 h 1866900"/>
                <a:gd name="connsiteX22" fmla="*/ 1531620 w 1905000"/>
                <a:gd name="connsiteY22" fmla="*/ 1676400 h 1866900"/>
                <a:gd name="connsiteX23" fmla="*/ 375285 w 1905000"/>
                <a:gd name="connsiteY23" fmla="*/ 1676400 h 1866900"/>
                <a:gd name="connsiteX24" fmla="*/ 362902 w 1905000"/>
                <a:gd name="connsiteY24" fmla="*/ 1666875 h 1866900"/>
                <a:gd name="connsiteX25" fmla="*/ 306705 w 1905000"/>
                <a:gd name="connsiteY25" fmla="*/ 1619250 h 1866900"/>
                <a:gd name="connsiteX26" fmla="*/ 1599247 w 1905000"/>
                <a:gd name="connsiteY26" fmla="*/ 1619250 h 1866900"/>
                <a:gd name="connsiteX27" fmla="*/ 1588770 w 1905000"/>
                <a:gd name="connsiteY27" fmla="*/ 1628775 h 1866900"/>
                <a:gd name="connsiteX28" fmla="*/ 317182 w 1905000"/>
                <a:gd name="connsiteY28" fmla="*/ 1628775 h 1866900"/>
                <a:gd name="connsiteX29" fmla="*/ 306705 w 1905000"/>
                <a:gd name="connsiteY29" fmla="*/ 1619250 h 1866900"/>
                <a:gd name="connsiteX30" fmla="*/ 258127 w 1905000"/>
                <a:gd name="connsiteY30" fmla="*/ 1571625 h 1866900"/>
                <a:gd name="connsiteX31" fmla="*/ 1646872 w 1905000"/>
                <a:gd name="connsiteY31" fmla="*/ 1571625 h 1866900"/>
                <a:gd name="connsiteX32" fmla="*/ 1637347 w 1905000"/>
                <a:gd name="connsiteY32" fmla="*/ 1581150 h 1866900"/>
                <a:gd name="connsiteX33" fmla="*/ 266699 w 1905000"/>
                <a:gd name="connsiteY33" fmla="*/ 1581150 h 1866900"/>
                <a:gd name="connsiteX34" fmla="*/ 258127 w 1905000"/>
                <a:gd name="connsiteY34" fmla="*/ 1571625 h 1866900"/>
                <a:gd name="connsiteX35" fmla="*/ 216217 w 1905000"/>
                <a:gd name="connsiteY35" fmla="*/ 1524000 h 1866900"/>
                <a:gd name="connsiteX36" fmla="*/ 1687830 w 1905000"/>
                <a:gd name="connsiteY36" fmla="*/ 1524000 h 1866900"/>
                <a:gd name="connsiteX37" fmla="*/ 1680209 w 1905000"/>
                <a:gd name="connsiteY37" fmla="*/ 1533525 h 1866900"/>
                <a:gd name="connsiteX38" fmla="*/ 223837 w 1905000"/>
                <a:gd name="connsiteY38" fmla="*/ 1533525 h 1866900"/>
                <a:gd name="connsiteX39" fmla="*/ 216217 w 1905000"/>
                <a:gd name="connsiteY39" fmla="*/ 1524000 h 1866900"/>
                <a:gd name="connsiteX40" fmla="*/ 180022 w 1905000"/>
                <a:gd name="connsiteY40" fmla="*/ 1476375 h 1866900"/>
                <a:gd name="connsiteX41" fmla="*/ 1724977 w 1905000"/>
                <a:gd name="connsiteY41" fmla="*/ 1476375 h 1866900"/>
                <a:gd name="connsiteX42" fmla="*/ 1718310 w 1905000"/>
                <a:gd name="connsiteY42" fmla="*/ 1485900 h 1866900"/>
                <a:gd name="connsiteX43" fmla="*/ 186690 w 1905000"/>
                <a:gd name="connsiteY43" fmla="*/ 1485900 h 1866900"/>
                <a:gd name="connsiteX44" fmla="*/ 180022 w 1905000"/>
                <a:gd name="connsiteY44" fmla="*/ 1476375 h 1866900"/>
                <a:gd name="connsiteX45" fmla="*/ 147637 w 1905000"/>
                <a:gd name="connsiteY45" fmla="*/ 1428750 h 1866900"/>
                <a:gd name="connsiteX46" fmla="*/ 1756410 w 1905000"/>
                <a:gd name="connsiteY46" fmla="*/ 1428750 h 1866900"/>
                <a:gd name="connsiteX47" fmla="*/ 1750695 w 1905000"/>
                <a:gd name="connsiteY47" fmla="*/ 1438275 h 1866900"/>
                <a:gd name="connsiteX48" fmla="*/ 153352 w 1905000"/>
                <a:gd name="connsiteY48" fmla="*/ 1438275 h 1866900"/>
                <a:gd name="connsiteX49" fmla="*/ 147637 w 1905000"/>
                <a:gd name="connsiteY49" fmla="*/ 1428750 h 1866900"/>
                <a:gd name="connsiteX50" fmla="*/ 119062 w 1905000"/>
                <a:gd name="connsiteY50" fmla="*/ 1381125 h 1866900"/>
                <a:gd name="connsiteX51" fmla="*/ 1785937 w 1905000"/>
                <a:gd name="connsiteY51" fmla="*/ 1381125 h 1866900"/>
                <a:gd name="connsiteX52" fmla="*/ 1780222 w 1905000"/>
                <a:gd name="connsiteY52" fmla="*/ 1390650 h 1866900"/>
                <a:gd name="connsiteX53" fmla="*/ 124777 w 1905000"/>
                <a:gd name="connsiteY53" fmla="*/ 1390650 h 1866900"/>
                <a:gd name="connsiteX54" fmla="*/ 119062 w 1905000"/>
                <a:gd name="connsiteY54" fmla="*/ 1381125 h 1866900"/>
                <a:gd name="connsiteX55" fmla="*/ 95250 w 1905000"/>
                <a:gd name="connsiteY55" fmla="*/ 1333500 h 1866900"/>
                <a:gd name="connsiteX56" fmla="*/ 1810703 w 1905000"/>
                <a:gd name="connsiteY56" fmla="*/ 1333500 h 1866900"/>
                <a:gd name="connsiteX57" fmla="*/ 1805940 w 1905000"/>
                <a:gd name="connsiteY57" fmla="*/ 1343025 h 1866900"/>
                <a:gd name="connsiteX58" fmla="*/ 100013 w 1905000"/>
                <a:gd name="connsiteY58" fmla="*/ 1343025 h 1866900"/>
                <a:gd name="connsiteX59" fmla="*/ 95250 w 1905000"/>
                <a:gd name="connsiteY59" fmla="*/ 1333500 h 1866900"/>
                <a:gd name="connsiteX60" fmla="*/ 73342 w 1905000"/>
                <a:gd name="connsiteY60" fmla="*/ 1285875 h 1866900"/>
                <a:gd name="connsiteX61" fmla="*/ 1830705 w 1905000"/>
                <a:gd name="connsiteY61" fmla="*/ 1285875 h 1866900"/>
                <a:gd name="connsiteX62" fmla="*/ 1826895 w 1905000"/>
                <a:gd name="connsiteY62" fmla="*/ 1295400 h 1866900"/>
                <a:gd name="connsiteX63" fmla="*/ 77152 w 1905000"/>
                <a:gd name="connsiteY63" fmla="*/ 1295400 h 1866900"/>
                <a:gd name="connsiteX64" fmla="*/ 73342 w 1905000"/>
                <a:gd name="connsiteY64" fmla="*/ 1285875 h 1866900"/>
                <a:gd name="connsiteX65" fmla="*/ 55245 w 1905000"/>
                <a:gd name="connsiteY65" fmla="*/ 1238250 h 1866900"/>
                <a:gd name="connsiteX66" fmla="*/ 1850708 w 1905000"/>
                <a:gd name="connsiteY66" fmla="*/ 1238250 h 1866900"/>
                <a:gd name="connsiteX67" fmla="*/ 1846898 w 1905000"/>
                <a:gd name="connsiteY67" fmla="*/ 1247775 h 1866900"/>
                <a:gd name="connsiteX68" fmla="*/ 59055 w 1905000"/>
                <a:gd name="connsiteY68" fmla="*/ 1247775 h 1866900"/>
                <a:gd name="connsiteX69" fmla="*/ 55245 w 1905000"/>
                <a:gd name="connsiteY69" fmla="*/ 1238250 h 1866900"/>
                <a:gd name="connsiteX70" fmla="*/ 40004 w 1905000"/>
                <a:gd name="connsiteY70" fmla="*/ 1190625 h 1866900"/>
                <a:gd name="connsiteX71" fmla="*/ 1865947 w 1905000"/>
                <a:gd name="connsiteY71" fmla="*/ 1190625 h 1866900"/>
                <a:gd name="connsiteX72" fmla="*/ 1863089 w 1905000"/>
                <a:gd name="connsiteY72" fmla="*/ 1200150 h 1866900"/>
                <a:gd name="connsiteX73" fmla="*/ 42862 w 1905000"/>
                <a:gd name="connsiteY73" fmla="*/ 1200150 h 1866900"/>
                <a:gd name="connsiteX74" fmla="*/ 40004 w 1905000"/>
                <a:gd name="connsiteY74" fmla="*/ 1190625 h 1866900"/>
                <a:gd name="connsiteX75" fmla="*/ 26669 w 1905000"/>
                <a:gd name="connsiteY75" fmla="*/ 1143000 h 1866900"/>
                <a:gd name="connsiteX76" fmla="*/ 1878329 w 1905000"/>
                <a:gd name="connsiteY76" fmla="*/ 1143000 h 1866900"/>
                <a:gd name="connsiteX77" fmla="*/ 1876424 w 1905000"/>
                <a:gd name="connsiteY77" fmla="*/ 1152525 h 1866900"/>
                <a:gd name="connsiteX78" fmla="*/ 29526 w 1905000"/>
                <a:gd name="connsiteY78" fmla="*/ 1152525 h 1866900"/>
                <a:gd name="connsiteX79" fmla="*/ 26669 w 1905000"/>
                <a:gd name="connsiteY79" fmla="*/ 1143000 h 1866900"/>
                <a:gd name="connsiteX80" fmla="*/ 16192 w 1905000"/>
                <a:gd name="connsiteY80" fmla="*/ 1095375 h 1866900"/>
                <a:gd name="connsiteX81" fmla="*/ 1888807 w 1905000"/>
                <a:gd name="connsiteY81" fmla="*/ 1095375 h 1866900"/>
                <a:gd name="connsiteX82" fmla="*/ 1886902 w 1905000"/>
                <a:gd name="connsiteY82" fmla="*/ 1104900 h 1866900"/>
                <a:gd name="connsiteX83" fmla="*/ 18097 w 1905000"/>
                <a:gd name="connsiteY83" fmla="*/ 1104900 h 1866900"/>
                <a:gd name="connsiteX84" fmla="*/ 16192 w 1905000"/>
                <a:gd name="connsiteY84" fmla="*/ 1095375 h 1866900"/>
                <a:gd name="connsiteX85" fmla="*/ 8572 w 1905000"/>
                <a:gd name="connsiteY85" fmla="*/ 1047750 h 1866900"/>
                <a:gd name="connsiteX86" fmla="*/ 1896427 w 1905000"/>
                <a:gd name="connsiteY86" fmla="*/ 1047750 h 1866900"/>
                <a:gd name="connsiteX87" fmla="*/ 1895475 w 1905000"/>
                <a:gd name="connsiteY87" fmla="*/ 1057275 h 1866900"/>
                <a:gd name="connsiteX88" fmla="*/ 9525 w 1905000"/>
                <a:gd name="connsiteY88" fmla="*/ 1057275 h 1866900"/>
                <a:gd name="connsiteX89" fmla="*/ 8572 w 1905000"/>
                <a:gd name="connsiteY89" fmla="*/ 1047750 h 1866900"/>
                <a:gd name="connsiteX90" fmla="*/ 3810 w 1905000"/>
                <a:gd name="connsiteY90" fmla="*/ 1000125 h 1866900"/>
                <a:gd name="connsiteX91" fmla="*/ 1902143 w 1905000"/>
                <a:gd name="connsiteY91" fmla="*/ 1000125 h 1866900"/>
                <a:gd name="connsiteX92" fmla="*/ 1901190 w 1905000"/>
                <a:gd name="connsiteY92" fmla="*/ 1009650 h 1866900"/>
                <a:gd name="connsiteX93" fmla="*/ 4762 w 1905000"/>
                <a:gd name="connsiteY93" fmla="*/ 1009650 h 1866900"/>
                <a:gd name="connsiteX94" fmla="*/ 3810 w 1905000"/>
                <a:gd name="connsiteY94" fmla="*/ 1000125 h 1866900"/>
                <a:gd name="connsiteX95" fmla="*/ 952 w 1905000"/>
                <a:gd name="connsiteY95" fmla="*/ 952500 h 1866900"/>
                <a:gd name="connsiteX96" fmla="*/ 1904047 w 1905000"/>
                <a:gd name="connsiteY96" fmla="*/ 952500 h 1866900"/>
                <a:gd name="connsiteX97" fmla="*/ 1904047 w 1905000"/>
                <a:gd name="connsiteY97" fmla="*/ 962025 h 1866900"/>
                <a:gd name="connsiteX98" fmla="*/ 952 w 1905000"/>
                <a:gd name="connsiteY98" fmla="*/ 962025 h 1866900"/>
                <a:gd name="connsiteX99" fmla="*/ 952 w 1905000"/>
                <a:gd name="connsiteY99" fmla="*/ 952500 h 1866900"/>
                <a:gd name="connsiteX100" fmla="*/ 0 w 1905000"/>
                <a:gd name="connsiteY100" fmla="*/ 904875 h 1866900"/>
                <a:gd name="connsiteX101" fmla="*/ 1905000 w 1905000"/>
                <a:gd name="connsiteY101" fmla="*/ 904875 h 1866900"/>
                <a:gd name="connsiteX102" fmla="*/ 1905000 w 1905000"/>
                <a:gd name="connsiteY102" fmla="*/ 914400 h 1866900"/>
                <a:gd name="connsiteX103" fmla="*/ 0 w 1905000"/>
                <a:gd name="connsiteY103" fmla="*/ 914400 h 1866900"/>
                <a:gd name="connsiteX104" fmla="*/ 0 w 1905000"/>
                <a:gd name="connsiteY104" fmla="*/ 904875 h 1866900"/>
                <a:gd name="connsiteX105" fmla="*/ 1905 w 1905000"/>
                <a:gd name="connsiteY105" fmla="*/ 857250 h 1866900"/>
                <a:gd name="connsiteX106" fmla="*/ 1902142 w 1905000"/>
                <a:gd name="connsiteY106" fmla="*/ 857250 h 1866900"/>
                <a:gd name="connsiteX107" fmla="*/ 1903095 w 1905000"/>
                <a:gd name="connsiteY107" fmla="*/ 866775 h 1866900"/>
                <a:gd name="connsiteX108" fmla="*/ 952 w 1905000"/>
                <a:gd name="connsiteY108" fmla="*/ 866775 h 1866900"/>
                <a:gd name="connsiteX109" fmla="*/ 1905 w 1905000"/>
                <a:gd name="connsiteY109" fmla="*/ 857250 h 1866900"/>
                <a:gd name="connsiteX110" fmla="*/ 6667 w 1905000"/>
                <a:gd name="connsiteY110" fmla="*/ 809625 h 1866900"/>
                <a:gd name="connsiteX111" fmla="*/ 1899285 w 1905000"/>
                <a:gd name="connsiteY111" fmla="*/ 809625 h 1866900"/>
                <a:gd name="connsiteX112" fmla="*/ 1900238 w 1905000"/>
                <a:gd name="connsiteY112" fmla="*/ 819150 h 1866900"/>
                <a:gd name="connsiteX113" fmla="*/ 5715 w 1905000"/>
                <a:gd name="connsiteY113" fmla="*/ 819150 h 1866900"/>
                <a:gd name="connsiteX114" fmla="*/ 6667 w 1905000"/>
                <a:gd name="connsiteY114" fmla="*/ 809625 h 1866900"/>
                <a:gd name="connsiteX115" fmla="*/ 13335 w 1905000"/>
                <a:gd name="connsiteY115" fmla="*/ 762000 h 1866900"/>
                <a:gd name="connsiteX116" fmla="*/ 1891665 w 1905000"/>
                <a:gd name="connsiteY116" fmla="*/ 762000 h 1866900"/>
                <a:gd name="connsiteX117" fmla="*/ 1893570 w 1905000"/>
                <a:gd name="connsiteY117" fmla="*/ 771525 h 1866900"/>
                <a:gd name="connsiteX118" fmla="*/ 11430 w 1905000"/>
                <a:gd name="connsiteY118" fmla="*/ 771525 h 1866900"/>
                <a:gd name="connsiteX119" fmla="*/ 13335 w 1905000"/>
                <a:gd name="connsiteY119" fmla="*/ 762000 h 1866900"/>
                <a:gd name="connsiteX120" fmla="*/ 21907 w 1905000"/>
                <a:gd name="connsiteY120" fmla="*/ 714375 h 1866900"/>
                <a:gd name="connsiteX121" fmla="*/ 1883092 w 1905000"/>
                <a:gd name="connsiteY121" fmla="*/ 714375 h 1866900"/>
                <a:gd name="connsiteX122" fmla="*/ 1884997 w 1905000"/>
                <a:gd name="connsiteY122" fmla="*/ 723900 h 1866900"/>
                <a:gd name="connsiteX123" fmla="*/ 20002 w 1905000"/>
                <a:gd name="connsiteY123" fmla="*/ 723900 h 1866900"/>
                <a:gd name="connsiteX124" fmla="*/ 21907 w 1905000"/>
                <a:gd name="connsiteY124" fmla="*/ 714375 h 1866900"/>
                <a:gd name="connsiteX125" fmla="*/ 34289 w 1905000"/>
                <a:gd name="connsiteY125" fmla="*/ 666750 h 1866900"/>
                <a:gd name="connsiteX126" fmla="*/ 1870710 w 1905000"/>
                <a:gd name="connsiteY126" fmla="*/ 666750 h 1866900"/>
                <a:gd name="connsiteX127" fmla="*/ 1873567 w 1905000"/>
                <a:gd name="connsiteY127" fmla="*/ 676275 h 1866900"/>
                <a:gd name="connsiteX128" fmla="*/ 31432 w 1905000"/>
                <a:gd name="connsiteY128" fmla="*/ 676275 h 1866900"/>
                <a:gd name="connsiteX129" fmla="*/ 34289 w 1905000"/>
                <a:gd name="connsiteY129" fmla="*/ 666750 h 1866900"/>
                <a:gd name="connsiteX130" fmla="*/ 48577 w 1905000"/>
                <a:gd name="connsiteY130" fmla="*/ 619125 h 1866900"/>
                <a:gd name="connsiteX131" fmla="*/ 1857375 w 1905000"/>
                <a:gd name="connsiteY131" fmla="*/ 619125 h 1866900"/>
                <a:gd name="connsiteX132" fmla="*/ 1860233 w 1905000"/>
                <a:gd name="connsiteY132" fmla="*/ 628650 h 1866900"/>
                <a:gd name="connsiteX133" fmla="*/ 45720 w 1905000"/>
                <a:gd name="connsiteY133" fmla="*/ 628650 h 1866900"/>
                <a:gd name="connsiteX134" fmla="*/ 48577 w 1905000"/>
                <a:gd name="connsiteY134" fmla="*/ 619125 h 1866900"/>
                <a:gd name="connsiteX135" fmla="*/ 65722 w 1905000"/>
                <a:gd name="connsiteY135" fmla="*/ 571500 h 1866900"/>
                <a:gd name="connsiteX136" fmla="*/ 1839277 w 1905000"/>
                <a:gd name="connsiteY136" fmla="*/ 571500 h 1866900"/>
                <a:gd name="connsiteX137" fmla="*/ 1843087 w 1905000"/>
                <a:gd name="connsiteY137" fmla="*/ 581025 h 1866900"/>
                <a:gd name="connsiteX138" fmla="*/ 61912 w 1905000"/>
                <a:gd name="connsiteY138" fmla="*/ 581025 h 1866900"/>
                <a:gd name="connsiteX139" fmla="*/ 65722 w 1905000"/>
                <a:gd name="connsiteY139" fmla="*/ 571500 h 1866900"/>
                <a:gd name="connsiteX140" fmla="*/ 85725 w 1905000"/>
                <a:gd name="connsiteY140" fmla="*/ 523875 h 1866900"/>
                <a:gd name="connsiteX141" fmla="*/ 1819275 w 1905000"/>
                <a:gd name="connsiteY141" fmla="*/ 523875 h 1866900"/>
                <a:gd name="connsiteX142" fmla="*/ 1823085 w 1905000"/>
                <a:gd name="connsiteY142" fmla="*/ 533400 h 1866900"/>
                <a:gd name="connsiteX143" fmla="*/ 80962 w 1905000"/>
                <a:gd name="connsiteY143" fmla="*/ 533400 h 1866900"/>
                <a:gd name="connsiteX144" fmla="*/ 85725 w 1905000"/>
                <a:gd name="connsiteY144" fmla="*/ 523875 h 1866900"/>
                <a:gd name="connsiteX145" fmla="*/ 109538 w 1905000"/>
                <a:gd name="connsiteY145" fmla="*/ 476250 h 1866900"/>
                <a:gd name="connsiteX146" fmla="*/ 1796415 w 1905000"/>
                <a:gd name="connsiteY146" fmla="*/ 476250 h 1866900"/>
                <a:gd name="connsiteX147" fmla="*/ 1801178 w 1905000"/>
                <a:gd name="connsiteY147" fmla="*/ 485775 h 1866900"/>
                <a:gd name="connsiteX148" fmla="*/ 104775 w 1905000"/>
                <a:gd name="connsiteY148" fmla="*/ 485775 h 1866900"/>
                <a:gd name="connsiteX149" fmla="*/ 109538 w 1905000"/>
                <a:gd name="connsiteY149" fmla="*/ 476250 h 1866900"/>
                <a:gd name="connsiteX150" fmla="*/ 136207 w 1905000"/>
                <a:gd name="connsiteY150" fmla="*/ 428625 h 1866900"/>
                <a:gd name="connsiteX151" fmla="*/ 1768792 w 1905000"/>
                <a:gd name="connsiteY151" fmla="*/ 428625 h 1866900"/>
                <a:gd name="connsiteX152" fmla="*/ 1774507 w 1905000"/>
                <a:gd name="connsiteY152" fmla="*/ 438150 h 1866900"/>
                <a:gd name="connsiteX153" fmla="*/ 130492 w 1905000"/>
                <a:gd name="connsiteY153" fmla="*/ 438150 h 1866900"/>
                <a:gd name="connsiteX154" fmla="*/ 136207 w 1905000"/>
                <a:gd name="connsiteY154" fmla="*/ 428625 h 1866900"/>
                <a:gd name="connsiteX155" fmla="*/ 166687 w 1905000"/>
                <a:gd name="connsiteY155" fmla="*/ 381000 h 1866900"/>
                <a:gd name="connsiteX156" fmla="*/ 1738312 w 1905000"/>
                <a:gd name="connsiteY156" fmla="*/ 381000 h 1866900"/>
                <a:gd name="connsiteX157" fmla="*/ 1744979 w 1905000"/>
                <a:gd name="connsiteY157" fmla="*/ 390525 h 1866900"/>
                <a:gd name="connsiteX158" fmla="*/ 160019 w 1905000"/>
                <a:gd name="connsiteY158" fmla="*/ 390525 h 1866900"/>
                <a:gd name="connsiteX159" fmla="*/ 166687 w 1905000"/>
                <a:gd name="connsiteY159" fmla="*/ 381000 h 1866900"/>
                <a:gd name="connsiteX160" fmla="*/ 201929 w 1905000"/>
                <a:gd name="connsiteY160" fmla="*/ 333375 h 1866900"/>
                <a:gd name="connsiteX161" fmla="*/ 1704022 w 1905000"/>
                <a:gd name="connsiteY161" fmla="*/ 333375 h 1866900"/>
                <a:gd name="connsiteX162" fmla="*/ 1711642 w 1905000"/>
                <a:gd name="connsiteY162" fmla="*/ 342900 h 1866900"/>
                <a:gd name="connsiteX163" fmla="*/ 194309 w 1905000"/>
                <a:gd name="connsiteY163" fmla="*/ 342900 h 1866900"/>
                <a:gd name="connsiteX164" fmla="*/ 201929 w 1905000"/>
                <a:gd name="connsiteY164" fmla="*/ 333375 h 1866900"/>
                <a:gd name="connsiteX165" fmla="*/ 240981 w 1905000"/>
                <a:gd name="connsiteY165" fmla="*/ 285750 h 1866900"/>
                <a:gd name="connsiteX166" fmla="*/ 1664017 w 1905000"/>
                <a:gd name="connsiteY166" fmla="*/ 285750 h 1866900"/>
                <a:gd name="connsiteX167" fmla="*/ 1672589 w 1905000"/>
                <a:gd name="connsiteY167" fmla="*/ 295275 h 1866900"/>
                <a:gd name="connsiteX168" fmla="*/ 232409 w 1905000"/>
                <a:gd name="connsiteY168" fmla="*/ 295275 h 1866900"/>
                <a:gd name="connsiteX169" fmla="*/ 240981 w 1905000"/>
                <a:gd name="connsiteY169" fmla="*/ 285750 h 1866900"/>
                <a:gd name="connsiteX170" fmla="*/ 286702 w 1905000"/>
                <a:gd name="connsiteY170" fmla="*/ 238125 h 1866900"/>
                <a:gd name="connsiteX171" fmla="*/ 1619250 w 1905000"/>
                <a:gd name="connsiteY171" fmla="*/ 238125 h 1866900"/>
                <a:gd name="connsiteX172" fmla="*/ 1628775 w 1905000"/>
                <a:gd name="connsiteY172" fmla="*/ 247650 h 1866900"/>
                <a:gd name="connsiteX173" fmla="*/ 277177 w 1905000"/>
                <a:gd name="connsiteY173" fmla="*/ 247650 h 1866900"/>
                <a:gd name="connsiteX174" fmla="*/ 286702 w 1905000"/>
                <a:gd name="connsiteY174" fmla="*/ 238125 h 1866900"/>
                <a:gd name="connsiteX175" fmla="*/ 339090 w 1905000"/>
                <a:gd name="connsiteY175" fmla="*/ 190500 h 1866900"/>
                <a:gd name="connsiteX176" fmla="*/ 1565910 w 1905000"/>
                <a:gd name="connsiteY176" fmla="*/ 190500 h 1866900"/>
                <a:gd name="connsiteX177" fmla="*/ 1577340 w 1905000"/>
                <a:gd name="connsiteY177" fmla="*/ 200025 h 1866900"/>
                <a:gd name="connsiteX178" fmla="*/ 327660 w 1905000"/>
                <a:gd name="connsiteY178" fmla="*/ 200025 h 1866900"/>
                <a:gd name="connsiteX179" fmla="*/ 339090 w 1905000"/>
                <a:gd name="connsiteY179" fmla="*/ 190500 h 1866900"/>
                <a:gd name="connsiteX180" fmla="*/ 400049 w 1905000"/>
                <a:gd name="connsiteY180" fmla="*/ 142875 h 1866900"/>
                <a:gd name="connsiteX181" fmla="*/ 1503997 w 1905000"/>
                <a:gd name="connsiteY181" fmla="*/ 142875 h 1866900"/>
                <a:gd name="connsiteX182" fmla="*/ 1517332 w 1905000"/>
                <a:gd name="connsiteY182" fmla="*/ 152400 h 1866900"/>
                <a:gd name="connsiteX183" fmla="*/ 386714 w 1905000"/>
                <a:gd name="connsiteY183" fmla="*/ 152400 h 1866900"/>
                <a:gd name="connsiteX184" fmla="*/ 400049 w 1905000"/>
                <a:gd name="connsiteY184" fmla="*/ 142875 h 1866900"/>
                <a:gd name="connsiteX185" fmla="*/ 474345 w 1905000"/>
                <a:gd name="connsiteY185" fmla="*/ 95250 h 1866900"/>
                <a:gd name="connsiteX186" fmla="*/ 1429702 w 1905000"/>
                <a:gd name="connsiteY186" fmla="*/ 95250 h 1866900"/>
                <a:gd name="connsiteX187" fmla="*/ 1445895 w 1905000"/>
                <a:gd name="connsiteY187" fmla="*/ 104775 h 1866900"/>
                <a:gd name="connsiteX188" fmla="*/ 458152 w 1905000"/>
                <a:gd name="connsiteY188" fmla="*/ 104775 h 1866900"/>
                <a:gd name="connsiteX189" fmla="*/ 474345 w 1905000"/>
                <a:gd name="connsiteY189" fmla="*/ 95250 h 1866900"/>
                <a:gd name="connsiteX190" fmla="*/ 568642 w 1905000"/>
                <a:gd name="connsiteY190" fmla="*/ 47625 h 1866900"/>
                <a:gd name="connsiteX191" fmla="*/ 1337309 w 1905000"/>
                <a:gd name="connsiteY191" fmla="*/ 47625 h 1866900"/>
                <a:gd name="connsiteX192" fmla="*/ 1358265 w 1905000"/>
                <a:gd name="connsiteY192" fmla="*/ 57150 h 1866900"/>
                <a:gd name="connsiteX193" fmla="*/ 547687 w 1905000"/>
                <a:gd name="connsiteY193" fmla="*/ 57150 h 1866900"/>
                <a:gd name="connsiteX194" fmla="*/ 568642 w 1905000"/>
                <a:gd name="connsiteY194" fmla="*/ 47625 h 1866900"/>
                <a:gd name="connsiteX195" fmla="*/ 702945 w 1905000"/>
                <a:gd name="connsiteY195" fmla="*/ 0 h 1866900"/>
                <a:gd name="connsiteX196" fmla="*/ 1203960 w 1905000"/>
                <a:gd name="connsiteY196" fmla="*/ 0 h 1866900"/>
                <a:gd name="connsiteX197" fmla="*/ 1236345 w 1905000"/>
                <a:gd name="connsiteY197" fmla="*/ 9525 h 1866900"/>
                <a:gd name="connsiteX198" fmla="*/ 670560 w 1905000"/>
                <a:gd name="connsiteY198" fmla="*/ 9525 h 1866900"/>
                <a:gd name="connsiteX199" fmla="*/ 702945 w 1905000"/>
                <a:gd name="connsiteY199" fmla="*/ 0 h 186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1905000" h="1866900">
                  <a:moveTo>
                    <a:pt x="786764" y="1857375"/>
                  </a:moveTo>
                  <a:lnTo>
                    <a:pt x="1116329" y="1857375"/>
                  </a:lnTo>
                  <a:cubicBezTo>
                    <a:pt x="1093469" y="1861185"/>
                    <a:pt x="1070609" y="1864995"/>
                    <a:pt x="1047749" y="1866900"/>
                  </a:cubicBezTo>
                  <a:lnTo>
                    <a:pt x="855344" y="1866900"/>
                  </a:lnTo>
                  <a:cubicBezTo>
                    <a:pt x="832484" y="1864995"/>
                    <a:pt x="809624" y="1861185"/>
                    <a:pt x="786764" y="1857375"/>
                  </a:cubicBezTo>
                  <a:close/>
                  <a:moveTo>
                    <a:pt x="614362" y="1809750"/>
                  </a:moveTo>
                  <a:lnTo>
                    <a:pt x="1290637" y="1809750"/>
                  </a:lnTo>
                  <a:cubicBezTo>
                    <a:pt x="1281112" y="1812608"/>
                    <a:pt x="1272540" y="1816417"/>
                    <a:pt x="1263967" y="1819275"/>
                  </a:cubicBezTo>
                  <a:lnTo>
                    <a:pt x="640079" y="1819275"/>
                  </a:lnTo>
                  <a:cubicBezTo>
                    <a:pt x="631507" y="1816417"/>
                    <a:pt x="622935" y="1812608"/>
                    <a:pt x="614362" y="1809750"/>
                  </a:cubicBezTo>
                  <a:close/>
                  <a:moveTo>
                    <a:pt x="509587" y="1762125"/>
                  </a:moveTo>
                  <a:lnTo>
                    <a:pt x="1396365" y="1762125"/>
                  </a:lnTo>
                  <a:cubicBezTo>
                    <a:pt x="1389697" y="1764983"/>
                    <a:pt x="1383982" y="1768792"/>
                    <a:pt x="1377315" y="1771650"/>
                  </a:cubicBezTo>
                  <a:lnTo>
                    <a:pt x="527685" y="1771650"/>
                  </a:lnTo>
                  <a:cubicBezTo>
                    <a:pt x="521969" y="1768792"/>
                    <a:pt x="515302" y="1764983"/>
                    <a:pt x="509587" y="1762125"/>
                  </a:cubicBezTo>
                  <a:close/>
                  <a:moveTo>
                    <a:pt x="428625" y="1714500"/>
                  </a:moveTo>
                  <a:lnTo>
                    <a:pt x="1478280" y="1714500"/>
                  </a:lnTo>
                  <a:cubicBezTo>
                    <a:pt x="1472565" y="1717358"/>
                    <a:pt x="1467803" y="1721167"/>
                    <a:pt x="1463040" y="1724025"/>
                  </a:cubicBezTo>
                  <a:lnTo>
                    <a:pt x="443865" y="1724025"/>
                  </a:lnTo>
                  <a:cubicBezTo>
                    <a:pt x="438150" y="1721167"/>
                    <a:pt x="433388" y="1717358"/>
                    <a:pt x="428625" y="1714500"/>
                  </a:cubicBezTo>
                  <a:close/>
                  <a:moveTo>
                    <a:pt x="362902" y="1666875"/>
                  </a:moveTo>
                  <a:lnTo>
                    <a:pt x="1544002" y="1666875"/>
                  </a:lnTo>
                  <a:cubicBezTo>
                    <a:pt x="1540192" y="1669733"/>
                    <a:pt x="1535430" y="1673542"/>
                    <a:pt x="1531620" y="1676400"/>
                  </a:cubicBezTo>
                  <a:lnTo>
                    <a:pt x="375285" y="1676400"/>
                  </a:lnTo>
                  <a:cubicBezTo>
                    <a:pt x="370522" y="1673542"/>
                    <a:pt x="366712" y="1669733"/>
                    <a:pt x="362902" y="1666875"/>
                  </a:cubicBezTo>
                  <a:close/>
                  <a:moveTo>
                    <a:pt x="306705" y="1619250"/>
                  </a:moveTo>
                  <a:lnTo>
                    <a:pt x="1599247" y="1619250"/>
                  </a:lnTo>
                  <a:cubicBezTo>
                    <a:pt x="1595438" y="1622108"/>
                    <a:pt x="1592580" y="1625917"/>
                    <a:pt x="1588770" y="1628775"/>
                  </a:cubicBezTo>
                  <a:lnTo>
                    <a:pt x="317182" y="1628775"/>
                  </a:lnTo>
                  <a:cubicBezTo>
                    <a:pt x="313373" y="1625917"/>
                    <a:pt x="310515" y="1622108"/>
                    <a:pt x="306705" y="1619250"/>
                  </a:cubicBezTo>
                  <a:close/>
                  <a:moveTo>
                    <a:pt x="258127" y="1571625"/>
                  </a:moveTo>
                  <a:lnTo>
                    <a:pt x="1646872" y="1571625"/>
                  </a:lnTo>
                  <a:cubicBezTo>
                    <a:pt x="1643062" y="1574483"/>
                    <a:pt x="1640205" y="1578292"/>
                    <a:pt x="1637347" y="1581150"/>
                  </a:cubicBezTo>
                  <a:lnTo>
                    <a:pt x="266699" y="1581150"/>
                  </a:lnTo>
                  <a:cubicBezTo>
                    <a:pt x="263842" y="1578292"/>
                    <a:pt x="260984" y="1574483"/>
                    <a:pt x="258127" y="1571625"/>
                  </a:cubicBezTo>
                  <a:close/>
                  <a:moveTo>
                    <a:pt x="216217" y="1524000"/>
                  </a:moveTo>
                  <a:lnTo>
                    <a:pt x="1687830" y="1524000"/>
                  </a:lnTo>
                  <a:cubicBezTo>
                    <a:pt x="1684972" y="1526858"/>
                    <a:pt x="1683067" y="1530667"/>
                    <a:pt x="1680209" y="1533525"/>
                  </a:cubicBezTo>
                  <a:lnTo>
                    <a:pt x="223837" y="1533525"/>
                  </a:lnTo>
                  <a:cubicBezTo>
                    <a:pt x="221932" y="1530667"/>
                    <a:pt x="219074" y="1526858"/>
                    <a:pt x="216217" y="1524000"/>
                  </a:cubicBezTo>
                  <a:close/>
                  <a:moveTo>
                    <a:pt x="180022" y="1476375"/>
                  </a:moveTo>
                  <a:lnTo>
                    <a:pt x="1724977" y="1476375"/>
                  </a:lnTo>
                  <a:cubicBezTo>
                    <a:pt x="1723072" y="1479233"/>
                    <a:pt x="1720215" y="1483042"/>
                    <a:pt x="1718310" y="1485900"/>
                  </a:cubicBezTo>
                  <a:lnTo>
                    <a:pt x="186690" y="1485900"/>
                  </a:lnTo>
                  <a:cubicBezTo>
                    <a:pt x="184785" y="1483042"/>
                    <a:pt x="181927" y="1479233"/>
                    <a:pt x="180022" y="1476375"/>
                  </a:cubicBezTo>
                  <a:close/>
                  <a:moveTo>
                    <a:pt x="147637" y="1428750"/>
                  </a:moveTo>
                  <a:lnTo>
                    <a:pt x="1756410" y="1428750"/>
                  </a:lnTo>
                  <a:cubicBezTo>
                    <a:pt x="1754505" y="1431608"/>
                    <a:pt x="1752600" y="1435417"/>
                    <a:pt x="1750695" y="1438275"/>
                  </a:cubicBezTo>
                  <a:lnTo>
                    <a:pt x="153352" y="1438275"/>
                  </a:lnTo>
                  <a:cubicBezTo>
                    <a:pt x="151447" y="1435417"/>
                    <a:pt x="149542" y="1431608"/>
                    <a:pt x="147637" y="1428750"/>
                  </a:cubicBezTo>
                  <a:close/>
                  <a:moveTo>
                    <a:pt x="119062" y="1381125"/>
                  </a:moveTo>
                  <a:lnTo>
                    <a:pt x="1785937" y="1381125"/>
                  </a:lnTo>
                  <a:cubicBezTo>
                    <a:pt x="1784032" y="1383983"/>
                    <a:pt x="1782127" y="1387792"/>
                    <a:pt x="1780222" y="1390650"/>
                  </a:cubicBezTo>
                  <a:lnTo>
                    <a:pt x="124777" y="1390650"/>
                  </a:lnTo>
                  <a:cubicBezTo>
                    <a:pt x="122872" y="1387792"/>
                    <a:pt x="120967" y="1383983"/>
                    <a:pt x="119062" y="1381125"/>
                  </a:cubicBezTo>
                  <a:close/>
                  <a:moveTo>
                    <a:pt x="95250" y="1333500"/>
                  </a:moveTo>
                  <a:lnTo>
                    <a:pt x="1810703" y="1333500"/>
                  </a:lnTo>
                  <a:cubicBezTo>
                    <a:pt x="1808798" y="1336358"/>
                    <a:pt x="1807845" y="1340167"/>
                    <a:pt x="1805940" y="1343025"/>
                  </a:cubicBezTo>
                  <a:lnTo>
                    <a:pt x="100013" y="1343025"/>
                  </a:lnTo>
                  <a:cubicBezTo>
                    <a:pt x="98108" y="1340167"/>
                    <a:pt x="97155" y="1336358"/>
                    <a:pt x="95250" y="1333500"/>
                  </a:cubicBezTo>
                  <a:close/>
                  <a:moveTo>
                    <a:pt x="73342" y="1285875"/>
                  </a:moveTo>
                  <a:lnTo>
                    <a:pt x="1830705" y="1285875"/>
                  </a:lnTo>
                  <a:cubicBezTo>
                    <a:pt x="1829752" y="1288733"/>
                    <a:pt x="1827847" y="1292542"/>
                    <a:pt x="1826895" y="1295400"/>
                  </a:cubicBezTo>
                  <a:lnTo>
                    <a:pt x="77152" y="1295400"/>
                  </a:lnTo>
                  <a:cubicBezTo>
                    <a:pt x="76200" y="1292542"/>
                    <a:pt x="74295" y="1288733"/>
                    <a:pt x="73342" y="1285875"/>
                  </a:cubicBezTo>
                  <a:close/>
                  <a:moveTo>
                    <a:pt x="55245" y="1238250"/>
                  </a:moveTo>
                  <a:lnTo>
                    <a:pt x="1850708" y="1238250"/>
                  </a:lnTo>
                  <a:cubicBezTo>
                    <a:pt x="1848803" y="1241108"/>
                    <a:pt x="1847850" y="1244917"/>
                    <a:pt x="1846898" y="1247775"/>
                  </a:cubicBezTo>
                  <a:lnTo>
                    <a:pt x="59055" y="1247775"/>
                  </a:lnTo>
                  <a:cubicBezTo>
                    <a:pt x="57150" y="1244917"/>
                    <a:pt x="56197" y="1241108"/>
                    <a:pt x="55245" y="1238250"/>
                  </a:cubicBezTo>
                  <a:close/>
                  <a:moveTo>
                    <a:pt x="40004" y="1190625"/>
                  </a:moveTo>
                  <a:lnTo>
                    <a:pt x="1865947" y="1190625"/>
                  </a:lnTo>
                  <a:cubicBezTo>
                    <a:pt x="1864994" y="1193483"/>
                    <a:pt x="1864042" y="1197292"/>
                    <a:pt x="1863089" y="1200150"/>
                  </a:cubicBezTo>
                  <a:lnTo>
                    <a:pt x="42862" y="1200150"/>
                  </a:lnTo>
                  <a:cubicBezTo>
                    <a:pt x="41909" y="1197292"/>
                    <a:pt x="40957" y="1193483"/>
                    <a:pt x="40004" y="1190625"/>
                  </a:cubicBezTo>
                  <a:close/>
                  <a:moveTo>
                    <a:pt x="26669" y="1143000"/>
                  </a:moveTo>
                  <a:lnTo>
                    <a:pt x="1878329" y="1143000"/>
                  </a:lnTo>
                  <a:cubicBezTo>
                    <a:pt x="1878329" y="1145858"/>
                    <a:pt x="1877377" y="1149667"/>
                    <a:pt x="1876424" y="1152525"/>
                  </a:cubicBezTo>
                  <a:lnTo>
                    <a:pt x="29526" y="1152525"/>
                  </a:lnTo>
                  <a:cubicBezTo>
                    <a:pt x="28574" y="1149667"/>
                    <a:pt x="27622" y="1145858"/>
                    <a:pt x="26669" y="1143000"/>
                  </a:cubicBezTo>
                  <a:close/>
                  <a:moveTo>
                    <a:pt x="16192" y="1095375"/>
                  </a:moveTo>
                  <a:lnTo>
                    <a:pt x="1888807" y="1095375"/>
                  </a:lnTo>
                  <a:cubicBezTo>
                    <a:pt x="1887855" y="1098233"/>
                    <a:pt x="1887855" y="1102042"/>
                    <a:pt x="1886902" y="1104900"/>
                  </a:cubicBezTo>
                  <a:lnTo>
                    <a:pt x="18097" y="1104900"/>
                  </a:lnTo>
                  <a:cubicBezTo>
                    <a:pt x="17144" y="1102042"/>
                    <a:pt x="17144" y="1098233"/>
                    <a:pt x="16192" y="1095375"/>
                  </a:cubicBezTo>
                  <a:close/>
                  <a:moveTo>
                    <a:pt x="8572" y="1047750"/>
                  </a:moveTo>
                  <a:lnTo>
                    <a:pt x="1896427" y="1047750"/>
                  </a:lnTo>
                  <a:cubicBezTo>
                    <a:pt x="1896427" y="1050608"/>
                    <a:pt x="1895475" y="1054417"/>
                    <a:pt x="1895475" y="1057275"/>
                  </a:cubicBezTo>
                  <a:lnTo>
                    <a:pt x="9525" y="1057275"/>
                  </a:lnTo>
                  <a:cubicBezTo>
                    <a:pt x="9525" y="1054417"/>
                    <a:pt x="8572" y="1050608"/>
                    <a:pt x="8572" y="1047750"/>
                  </a:cubicBezTo>
                  <a:close/>
                  <a:moveTo>
                    <a:pt x="3810" y="1000125"/>
                  </a:moveTo>
                  <a:lnTo>
                    <a:pt x="1902143" y="1000125"/>
                  </a:lnTo>
                  <a:cubicBezTo>
                    <a:pt x="1902143" y="1002983"/>
                    <a:pt x="1901190" y="1006792"/>
                    <a:pt x="1901190" y="1009650"/>
                  </a:cubicBezTo>
                  <a:lnTo>
                    <a:pt x="4762" y="1009650"/>
                  </a:lnTo>
                  <a:cubicBezTo>
                    <a:pt x="4762" y="1006792"/>
                    <a:pt x="3810" y="1002983"/>
                    <a:pt x="3810" y="1000125"/>
                  </a:cubicBezTo>
                  <a:close/>
                  <a:moveTo>
                    <a:pt x="952" y="952500"/>
                  </a:moveTo>
                  <a:lnTo>
                    <a:pt x="1904047" y="952500"/>
                  </a:lnTo>
                  <a:cubicBezTo>
                    <a:pt x="1904047" y="955358"/>
                    <a:pt x="1904047" y="959167"/>
                    <a:pt x="1904047" y="962025"/>
                  </a:cubicBezTo>
                  <a:lnTo>
                    <a:pt x="952" y="962025"/>
                  </a:lnTo>
                  <a:cubicBezTo>
                    <a:pt x="952" y="959167"/>
                    <a:pt x="952" y="955358"/>
                    <a:pt x="952" y="952500"/>
                  </a:cubicBezTo>
                  <a:close/>
                  <a:moveTo>
                    <a:pt x="0" y="904875"/>
                  </a:moveTo>
                  <a:lnTo>
                    <a:pt x="1905000" y="904875"/>
                  </a:lnTo>
                  <a:cubicBezTo>
                    <a:pt x="1905000" y="907733"/>
                    <a:pt x="1905000" y="911542"/>
                    <a:pt x="1905000" y="914400"/>
                  </a:cubicBezTo>
                  <a:lnTo>
                    <a:pt x="0" y="914400"/>
                  </a:lnTo>
                  <a:cubicBezTo>
                    <a:pt x="0" y="911542"/>
                    <a:pt x="0" y="907733"/>
                    <a:pt x="0" y="904875"/>
                  </a:cubicBezTo>
                  <a:close/>
                  <a:moveTo>
                    <a:pt x="1905" y="857250"/>
                  </a:moveTo>
                  <a:lnTo>
                    <a:pt x="1902142" y="857250"/>
                  </a:lnTo>
                  <a:cubicBezTo>
                    <a:pt x="1903095" y="860108"/>
                    <a:pt x="1903095" y="863917"/>
                    <a:pt x="1903095" y="866775"/>
                  </a:cubicBezTo>
                  <a:lnTo>
                    <a:pt x="952" y="866775"/>
                  </a:lnTo>
                  <a:cubicBezTo>
                    <a:pt x="1905" y="863917"/>
                    <a:pt x="1905" y="860108"/>
                    <a:pt x="1905" y="857250"/>
                  </a:cubicBezTo>
                  <a:close/>
                  <a:moveTo>
                    <a:pt x="6667" y="809625"/>
                  </a:moveTo>
                  <a:lnTo>
                    <a:pt x="1899285" y="809625"/>
                  </a:lnTo>
                  <a:cubicBezTo>
                    <a:pt x="1899285" y="812483"/>
                    <a:pt x="1900238" y="816292"/>
                    <a:pt x="1900238" y="819150"/>
                  </a:cubicBezTo>
                  <a:lnTo>
                    <a:pt x="5715" y="819150"/>
                  </a:lnTo>
                  <a:cubicBezTo>
                    <a:pt x="5715" y="816292"/>
                    <a:pt x="6667" y="812483"/>
                    <a:pt x="6667" y="809625"/>
                  </a:cubicBezTo>
                  <a:close/>
                  <a:moveTo>
                    <a:pt x="13335" y="762000"/>
                  </a:moveTo>
                  <a:lnTo>
                    <a:pt x="1891665" y="762000"/>
                  </a:lnTo>
                  <a:cubicBezTo>
                    <a:pt x="1892618" y="764858"/>
                    <a:pt x="1892618" y="768667"/>
                    <a:pt x="1893570" y="771525"/>
                  </a:cubicBezTo>
                  <a:lnTo>
                    <a:pt x="11430" y="771525"/>
                  </a:lnTo>
                  <a:cubicBezTo>
                    <a:pt x="12382" y="768667"/>
                    <a:pt x="12382" y="764858"/>
                    <a:pt x="13335" y="762000"/>
                  </a:cubicBezTo>
                  <a:close/>
                  <a:moveTo>
                    <a:pt x="21907" y="714375"/>
                  </a:moveTo>
                  <a:lnTo>
                    <a:pt x="1883092" y="714375"/>
                  </a:lnTo>
                  <a:cubicBezTo>
                    <a:pt x="1884045" y="717233"/>
                    <a:pt x="1884045" y="721042"/>
                    <a:pt x="1884997" y="723900"/>
                  </a:cubicBezTo>
                  <a:lnTo>
                    <a:pt x="20002" y="723900"/>
                  </a:lnTo>
                  <a:cubicBezTo>
                    <a:pt x="20955" y="721042"/>
                    <a:pt x="20955" y="717233"/>
                    <a:pt x="21907" y="714375"/>
                  </a:cubicBezTo>
                  <a:close/>
                  <a:moveTo>
                    <a:pt x="34289" y="666750"/>
                  </a:moveTo>
                  <a:lnTo>
                    <a:pt x="1870710" y="666750"/>
                  </a:lnTo>
                  <a:cubicBezTo>
                    <a:pt x="1871662" y="669608"/>
                    <a:pt x="1872615" y="673417"/>
                    <a:pt x="1873567" y="676275"/>
                  </a:cubicBezTo>
                  <a:lnTo>
                    <a:pt x="31432" y="676275"/>
                  </a:lnTo>
                  <a:cubicBezTo>
                    <a:pt x="32385" y="673417"/>
                    <a:pt x="33337" y="669608"/>
                    <a:pt x="34289" y="666750"/>
                  </a:cubicBezTo>
                  <a:close/>
                  <a:moveTo>
                    <a:pt x="48577" y="619125"/>
                  </a:moveTo>
                  <a:lnTo>
                    <a:pt x="1857375" y="619125"/>
                  </a:lnTo>
                  <a:cubicBezTo>
                    <a:pt x="1858328" y="621983"/>
                    <a:pt x="1859280" y="625792"/>
                    <a:pt x="1860233" y="628650"/>
                  </a:cubicBezTo>
                  <a:lnTo>
                    <a:pt x="45720" y="628650"/>
                  </a:lnTo>
                  <a:cubicBezTo>
                    <a:pt x="46672" y="625792"/>
                    <a:pt x="47625" y="621983"/>
                    <a:pt x="48577" y="619125"/>
                  </a:cubicBezTo>
                  <a:close/>
                  <a:moveTo>
                    <a:pt x="65722" y="571500"/>
                  </a:moveTo>
                  <a:lnTo>
                    <a:pt x="1839277" y="571500"/>
                  </a:lnTo>
                  <a:cubicBezTo>
                    <a:pt x="1840230" y="574357"/>
                    <a:pt x="1842135" y="578168"/>
                    <a:pt x="1843087" y="581025"/>
                  </a:cubicBezTo>
                  <a:lnTo>
                    <a:pt x="61912" y="581025"/>
                  </a:lnTo>
                  <a:cubicBezTo>
                    <a:pt x="62864" y="578168"/>
                    <a:pt x="64770" y="574357"/>
                    <a:pt x="65722" y="571500"/>
                  </a:cubicBezTo>
                  <a:close/>
                  <a:moveTo>
                    <a:pt x="85725" y="523875"/>
                  </a:moveTo>
                  <a:lnTo>
                    <a:pt x="1819275" y="523875"/>
                  </a:lnTo>
                  <a:cubicBezTo>
                    <a:pt x="1820227" y="526732"/>
                    <a:pt x="1822132" y="530543"/>
                    <a:pt x="1823085" y="533400"/>
                  </a:cubicBezTo>
                  <a:lnTo>
                    <a:pt x="80962" y="533400"/>
                  </a:lnTo>
                  <a:cubicBezTo>
                    <a:pt x="82867" y="530543"/>
                    <a:pt x="83820" y="526732"/>
                    <a:pt x="85725" y="523875"/>
                  </a:cubicBezTo>
                  <a:close/>
                  <a:moveTo>
                    <a:pt x="109538" y="476250"/>
                  </a:moveTo>
                  <a:lnTo>
                    <a:pt x="1796415" y="476250"/>
                  </a:lnTo>
                  <a:cubicBezTo>
                    <a:pt x="1798320" y="479107"/>
                    <a:pt x="1799273" y="482918"/>
                    <a:pt x="1801178" y="485775"/>
                  </a:cubicBezTo>
                  <a:lnTo>
                    <a:pt x="104775" y="485775"/>
                  </a:lnTo>
                  <a:cubicBezTo>
                    <a:pt x="105728" y="482918"/>
                    <a:pt x="107633" y="479107"/>
                    <a:pt x="109538" y="476250"/>
                  </a:cubicBezTo>
                  <a:close/>
                  <a:moveTo>
                    <a:pt x="136207" y="428625"/>
                  </a:moveTo>
                  <a:lnTo>
                    <a:pt x="1768792" y="428625"/>
                  </a:lnTo>
                  <a:cubicBezTo>
                    <a:pt x="1770697" y="431482"/>
                    <a:pt x="1772602" y="435293"/>
                    <a:pt x="1774507" y="438150"/>
                  </a:cubicBezTo>
                  <a:lnTo>
                    <a:pt x="130492" y="438150"/>
                  </a:lnTo>
                  <a:cubicBezTo>
                    <a:pt x="132397" y="435293"/>
                    <a:pt x="134302" y="431482"/>
                    <a:pt x="136207" y="428625"/>
                  </a:cubicBezTo>
                  <a:close/>
                  <a:moveTo>
                    <a:pt x="166687" y="381000"/>
                  </a:moveTo>
                  <a:lnTo>
                    <a:pt x="1738312" y="381000"/>
                  </a:lnTo>
                  <a:cubicBezTo>
                    <a:pt x="1741169" y="383857"/>
                    <a:pt x="1743074" y="387668"/>
                    <a:pt x="1744979" y="390525"/>
                  </a:cubicBezTo>
                  <a:lnTo>
                    <a:pt x="160019" y="390525"/>
                  </a:lnTo>
                  <a:cubicBezTo>
                    <a:pt x="162877" y="387668"/>
                    <a:pt x="164782" y="383857"/>
                    <a:pt x="166687" y="381000"/>
                  </a:cubicBezTo>
                  <a:close/>
                  <a:moveTo>
                    <a:pt x="201929" y="333375"/>
                  </a:moveTo>
                  <a:lnTo>
                    <a:pt x="1704022" y="333375"/>
                  </a:lnTo>
                  <a:cubicBezTo>
                    <a:pt x="1706879" y="336232"/>
                    <a:pt x="1708784" y="340043"/>
                    <a:pt x="1711642" y="342900"/>
                  </a:cubicBezTo>
                  <a:lnTo>
                    <a:pt x="194309" y="342900"/>
                  </a:lnTo>
                  <a:cubicBezTo>
                    <a:pt x="197167" y="340043"/>
                    <a:pt x="199072" y="336232"/>
                    <a:pt x="201929" y="333375"/>
                  </a:cubicBezTo>
                  <a:close/>
                  <a:moveTo>
                    <a:pt x="240981" y="285750"/>
                  </a:moveTo>
                  <a:lnTo>
                    <a:pt x="1664017" y="285750"/>
                  </a:lnTo>
                  <a:cubicBezTo>
                    <a:pt x="1666874" y="288607"/>
                    <a:pt x="1669732" y="292418"/>
                    <a:pt x="1672589" y="295275"/>
                  </a:cubicBezTo>
                  <a:lnTo>
                    <a:pt x="232409" y="295275"/>
                  </a:lnTo>
                  <a:cubicBezTo>
                    <a:pt x="235267" y="292418"/>
                    <a:pt x="238124" y="288607"/>
                    <a:pt x="240981" y="285750"/>
                  </a:cubicBezTo>
                  <a:close/>
                  <a:moveTo>
                    <a:pt x="286702" y="238125"/>
                  </a:moveTo>
                  <a:lnTo>
                    <a:pt x="1619250" y="238125"/>
                  </a:lnTo>
                  <a:cubicBezTo>
                    <a:pt x="1622107" y="240982"/>
                    <a:pt x="1625917" y="244793"/>
                    <a:pt x="1628775" y="247650"/>
                  </a:cubicBezTo>
                  <a:lnTo>
                    <a:pt x="277177" y="247650"/>
                  </a:lnTo>
                  <a:cubicBezTo>
                    <a:pt x="280034" y="244793"/>
                    <a:pt x="282892" y="240982"/>
                    <a:pt x="286702" y="238125"/>
                  </a:cubicBezTo>
                  <a:close/>
                  <a:moveTo>
                    <a:pt x="339090" y="190500"/>
                  </a:moveTo>
                  <a:lnTo>
                    <a:pt x="1565910" y="190500"/>
                  </a:lnTo>
                  <a:cubicBezTo>
                    <a:pt x="1569720" y="193357"/>
                    <a:pt x="1573530" y="197168"/>
                    <a:pt x="1577340" y="200025"/>
                  </a:cubicBezTo>
                  <a:lnTo>
                    <a:pt x="327660" y="200025"/>
                  </a:lnTo>
                  <a:cubicBezTo>
                    <a:pt x="331470" y="197168"/>
                    <a:pt x="335280" y="193357"/>
                    <a:pt x="339090" y="190500"/>
                  </a:cubicBezTo>
                  <a:close/>
                  <a:moveTo>
                    <a:pt x="400049" y="142875"/>
                  </a:moveTo>
                  <a:lnTo>
                    <a:pt x="1503997" y="142875"/>
                  </a:lnTo>
                  <a:cubicBezTo>
                    <a:pt x="1508759" y="145733"/>
                    <a:pt x="1512569" y="149542"/>
                    <a:pt x="1517332" y="152400"/>
                  </a:cubicBezTo>
                  <a:lnTo>
                    <a:pt x="386714" y="152400"/>
                  </a:lnTo>
                  <a:cubicBezTo>
                    <a:pt x="391477" y="149542"/>
                    <a:pt x="395287" y="145733"/>
                    <a:pt x="400049" y="142875"/>
                  </a:cubicBezTo>
                  <a:close/>
                  <a:moveTo>
                    <a:pt x="474345" y="95250"/>
                  </a:moveTo>
                  <a:lnTo>
                    <a:pt x="1429702" y="95250"/>
                  </a:lnTo>
                  <a:cubicBezTo>
                    <a:pt x="1435417" y="98108"/>
                    <a:pt x="1440180" y="101917"/>
                    <a:pt x="1445895" y="104775"/>
                  </a:cubicBezTo>
                  <a:lnTo>
                    <a:pt x="458152" y="104775"/>
                  </a:lnTo>
                  <a:cubicBezTo>
                    <a:pt x="463867" y="101917"/>
                    <a:pt x="468630" y="98108"/>
                    <a:pt x="474345" y="95250"/>
                  </a:cubicBezTo>
                  <a:close/>
                  <a:moveTo>
                    <a:pt x="568642" y="47625"/>
                  </a:moveTo>
                  <a:lnTo>
                    <a:pt x="1337309" y="47625"/>
                  </a:lnTo>
                  <a:cubicBezTo>
                    <a:pt x="1343977" y="50483"/>
                    <a:pt x="1351597" y="54292"/>
                    <a:pt x="1358265" y="57150"/>
                  </a:cubicBezTo>
                  <a:lnTo>
                    <a:pt x="547687" y="57150"/>
                  </a:lnTo>
                  <a:cubicBezTo>
                    <a:pt x="554355" y="54292"/>
                    <a:pt x="561975" y="50483"/>
                    <a:pt x="568642" y="47625"/>
                  </a:cubicBezTo>
                  <a:close/>
                  <a:moveTo>
                    <a:pt x="702945" y="0"/>
                  </a:moveTo>
                  <a:lnTo>
                    <a:pt x="1203960" y="0"/>
                  </a:lnTo>
                  <a:cubicBezTo>
                    <a:pt x="1214438" y="2858"/>
                    <a:pt x="1225867" y="5715"/>
                    <a:pt x="1236345" y="9525"/>
                  </a:cubicBezTo>
                  <a:lnTo>
                    <a:pt x="670560" y="9525"/>
                  </a:lnTo>
                  <a:cubicBezTo>
                    <a:pt x="681037" y="5715"/>
                    <a:pt x="692467" y="2858"/>
                    <a:pt x="702945" y="0"/>
                  </a:cubicBezTo>
                  <a:close/>
                </a:path>
              </a:pathLst>
            </a:custGeom>
            <a:grpFill/>
            <a:ln w="14015" cap="flat">
              <a:noFill/>
              <a:prstDash val="solid"/>
              <a:miter/>
            </a:ln>
          </p:spPr>
          <p:txBody>
            <a:bodyPr rtlCol="0" anchor="ctr"/>
            <a:lstStyle/>
            <a:p>
              <a:pPr lvl="0"/>
              <a:endParaRPr lang="zh-CN" altLang="en-US"/>
            </a:p>
          </p:txBody>
        </p:sp>
        <p:sp>
          <p:nvSpPr>
            <p:cNvPr id="49" name="任意多边形: 形状 48">
              <a:extLst>
                <a:ext uri="{FF2B5EF4-FFF2-40B4-BE49-F238E27FC236}">
                  <a16:creationId xmlns:a16="http://schemas.microsoft.com/office/drawing/2014/main" id="{5BB64C10-DD97-4DF8-B000-003D623AC820}"/>
                </a:ext>
              </a:extLst>
            </p:cNvPr>
            <p:cNvSpPr/>
            <p:nvPr/>
          </p:nvSpPr>
          <p:spPr>
            <a:xfrm>
              <a:off x="9421670" y="0"/>
              <a:ext cx="2770331" cy="1398732"/>
            </a:xfrm>
            <a:custGeom>
              <a:avLst/>
              <a:gdLst>
                <a:gd name="connsiteX0" fmla="*/ 685 w 2770331"/>
                <a:gd name="connsiteY0" fmla="*/ 0 h 1398732"/>
                <a:gd name="connsiteX1" fmla="*/ 2769647 w 2770331"/>
                <a:gd name="connsiteY1" fmla="*/ 0 h 1398732"/>
                <a:gd name="connsiteX2" fmla="*/ 2770331 w 2770331"/>
                <a:gd name="connsiteY2" fmla="*/ 13546 h 1398732"/>
                <a:gd name="connsiteX3" fmla="*/ 2770331 w 2770331"/>
                <a:gd name="connsiteY3" fmla="*/ 13586 h 1398732"/>
                <a:gd name="connsiteX4" fmla="*/ 2763181 w 2770331"/>
                <a:gd name="connsiteY4" fmla="*/ 155191 h 1398732"/>
                <a:gd name="connsiteX5" fmla="*/ 1385167 w 2770331"/>
                <a:gd name="connsiteY5" fmla="*/ 1398732 h 1398732"/>
                <a:gd name="connsiteX6" fmla="*/ 0 w 2770331"/>
                <a:gd name="connsiteY6" fmla="*/ 13566 h 1398732"/>
                <a:gd name="connsiteX7" fmla="*/ 685 w 2770331"/>
                <a:gd name="connsiteY7" fmla="*/ 0 h 1398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0331" h="1398732">
                  <a:moveTo>
                    <a:pt x="685" y="0"/>
                  </a:moveTo>
                  <a:lnTo>
                    <a:pt x="2769647" y="0"/>
                  </a:lnTo>
                  <a:lnTo>
                    <a:pt x="2770331" y="13546"/>
                  </a:lnTo>
                  <a:lnTo>
                    <a:pt x="2770331" y="13586"/>
                  </a:lnTo>
                  <a:lnTo>
                    <a:pt x="2763181" y="155191"/>
                  </a:lnTo>
                  <a:cubicBezTo>
                    <a:pt x="2692246" y="853670"/>
                    <a:pt x="2102359" y="1398732"/>
                    <a:pt x="1385167" y="1398732"/>
                  </a:cubicBezTo>
                  <a:cubicBezTo>
                    <a:pt x="620160" y="1398732"/>
                    <a:pt x="0" y="778572"/>
                    <a:pt x="0" y="13566"/>
                  </a:cubicBezTo>
                  <a:lnTo>
                    <a:pt x="685" y="0"/>
                  </a:lnTo>
                  <a:close/>
                </a:path>
              </a:pathLst>
            </a:custGeom>
            <a:grpFill/>
            <a:ln w="11088" cap="flat">
              <a:noFill/>
              <a:prstDash val="solid"/>
              <a:miter/>
            </a:ln>
          </p:spPr>
          <p:txBody>
            <a:bodyPr rtlCol="0" anchor="ctr"/>
            <a:lstStyle/>
            <a:p>
              <a:pPr lvl="0"/>
              <a:endParaRPr lang="zh-CN" altLang="en-US"/>
            </a:p>
          </p:txBody>
        </p:sp>
        <p:sp>
          <p:nvSpPr>
            <p:cNvPr id="50" name="任意多边形: 形状 49">
              <a:extLst>
                <a:ext uri="{FF2B5EF4-FFF2-40B4-BE49-F238E27FC236}">
                  <a16:creationId xmlns:a16="http://schemas.microsoft.com/office/drawing/2014/main" id="{9968D30F-EFE9-42F5-898F-60E1C5FABD5E}"/>
                </a:ext>
              </a:extLst>
            </p:cNvPr>
            <p:cNvSpPr/>
            <p:nvPr/>
          </p:nvSpPr>
          <p:spPr>
            <a:xfrm>
              <a:off x="5252643" y="3384444"/>
              <a:ext cx="4217150" cy="3473556"/>
            </a:xfrm>
            <a:custGeom>
              <a:avLst/>
              <a:gdLst>
                <a:gd name="connsiteX0" fmla="*/ 2852892 w 4217150"/>
                <a:gd name="connsiteY0" fmla="*/ 466 h 3473556"/>
                <a:gd name="connsiteX1" fmla="*/ 3516107 w 4217150"/>
                <a:gd name="connsiteY1" fmla="*/ 187901 h 3473556"/>
                <a:gd name="connsiteX2" fmla="*/ 4029249 w 4217150"/>
                <a:gd name="connsiteY2" fmla="*/ 2103072 h 3473556"/>
                <a:gd name="connsiteX3" fmla="*/ 3237888 w 4217150"/>
                <a:gd name="connsiteY3" fmla="*/ 3473556 h 3473556"/>
                <a:gd name="connsiteX4" fmla="*/ 0 w 4217150"/>
                <a:gd name="connsiteY4" fmla="*/ 3473556 h 3473556"/>
                <a:gd name="connsiteX5" fmla="*/ 1600936 w 4217150"/>
                <a:gd name="connsiteY5" fmla="*/ 701044 h 3473556"/>
                <a:gd name="connsiteX6" fmla="*/ 2852892 w 4217150"/>
                <a:gd name="connsiteY6" fmla="*/ 466 h 3473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7150" h="3473556">
                  <a:moveTo>
                    <a:pt x="2852892" y="466"/>
                  </a:moveTo>
                  <a:cubicBezTo>
                    <a:pt x="3078904" y="6295"/>
                    <a:pt x="3306679" y="66976"/>
                    <a:pt x="3516107" y="187901"/>
                  </a:cubicBezTo>
                  <a:cubicBezTo>
                    <a:pt x="4186277" y="574861"/>
                    <a:pt x="4416209" y="1432902"/>
                    <a:pt x="4029249" y="2103072"/>
                  </a:cubicBezTo>
                  <a:lnTo>
                    <a:pt x="3237888" y="3473556"/>
                  </a:lnTo>
                  <a:lnTo>
                    <a:pt x="0" y="3473556"/>
                  </a:lnTo>
                  <a:lnTo>
                    <a:pt x="1600936" y="701044"/>
                  </a:lnTo>
                  <a:cubicBezTo>
                    <a:pt x="1866971" y="240302"/>
                    <a:pt x="2355666" y="-12359"/>
                    <a:pt x="2852892" y="466"/>
                  </a:cubicBezTo>
                  <a:close/>
                </a:path>
              </a:pathLst>
            </a:custGeom>
            <a:grpFill/>
            <a:ln w="14015" cap="flat">
              <a:noFill/>
              <a:prstDash val="solid"/>
              <a:miter/>
            </a:ln>
          </p:spPr>
          <p:txBody>
            <a:bodyPr rtlCol="0" anchor="ctr"/>
            <a:lstStyle/>
            <a:p>
              <a:pPr lvl="0"/>
              <a:endParaRPr lang="zh-CN" altLang="en-US"/>
            </a:p>
          </p:txBody>
        </p:sp>
      </p:grpSp>
      <p:grpSp>
        <p:nvGrpSpPr>
          <p:cNvPr id="6" name="组合 5">
            <a:extLst>
              <a:ext uri="{FF2B5EF4-FFF2-40B4-BE49-F238E27FC236}">
                <a16:creationId xmlns:a16="http://schemas.microsoft.com/office/drawing/2014/main" id="{FCBBF52A-9743-4508-AB77-11B57E837547}"/>
              </a:ext>
            </a:extLst>
          </p:cNvPr>
          <p:cNvGrpSpPr/>
          <p:nvPr/>
        </p:nvGrpSpPr>
        <p:grpSpPr>
          <a:xfrm>
            <a:off x="660400" y="2340017"/>
            <a:ext cx="2890521" cy="1850256"/>
            <a:chOff x="3422179" y="1150240"/>
            <a:chExt cx="2890521" cy="1850257"/>
          </a:xfrm>
        </p:grpSpPr>
        <p:sp>
          <p:nvSpPr>
            <p:cNvPr id="7" name="矩形 189">
              <a:extLst>
                <a:ext uri="{FF2B5EF4-FFF2-40B4-BE49-F238E27FC236}">
                  <a16:creationId xmlns:a16="http://schemas.microsoft.com/office/drawing/2014/main" id="{63B72852-A360-4EF8-A2F9-3A064EA5CCA7}"/>
                </a:ext>
              </a:extLst>
            </p:cNvPr>
            <p:cNvSpPr/>
            <p:nvPr/>
          </p:nvSpPr>
          <p:spPr>
            <a:xfrm>
              <a:off x="3422179" y="2665341"/>
              <a:ext cx="2890520" cy="335156"/>
            </a:xfrm>
            <a:prstGeom prst="rect">
              <a:avLst/>
            </a:prstGeom>
            <a:noFill/>
            <a:ln>
              <a:noFill/>
            </a:ln>
          </p:spPr>
          <p:txBody>
            <a:bodyPr wrap="square" anchor="ctr">
              <a:spAutoFit/>
            </a:bodyPr>
            <a:lstStyle/>
            <a:p>
              <a:pPr defTabSz="914332">
                <a:lnSpc>
                  <a:spcPct val="150000"/>
                </a:lnSpc>
                <a:defRPr/>
              </a:pPr>
              <a:r>
                <a:rPr lang="en-US" altLang="zh-CN" sz="1200" dirty="0">
                  <a:solidFill>
                    <a:srgbClr val="F73434"/>
                  </a:solidFill>
                  <a:latin typeface="Arial" panose="020B0604020202020204" pitchFamily="34" charset="0"/>
                  <a:ea typeface="微软雅黑" panose="020B0503020204020204" pitchFamily="34" charset="-122"/>
                  <a:sym typeface="Arial" panose="020B0604020202020204" pitchFamily="34" charset="0"/>
                  <a:hlinkClick r:id="rId2"/>
                </a:rPr>
                <a:t>https://iSlide-PowerPoint.com</a:t>
              </a:r>
              <a:endParaRPr lang="zh-CN" altLang="en-US" sz="1200" dirty="0">
                <a:solidFill>
                  <a:srgbClr val="F73434"/>
                </a:solidFill>
                <a:latin typeface="Arial" panose="020B0604020202020204" pitchFamily="34" charset="0"/>
                <a:ea typeface="微软雅黑" panose="020B0503020204020204" pitchFamily="34" charset="-122"/>
                <a:sym typeface="Arial" panose="020B0604020202020204" pitchFamily="34" charset="0"/>
              </a:endParaRPr>
            </a:p>
          </p:txBody>
        </p:sp>
        <p:sp>
          <p:nvSpPr>
            <p:cNvPr id="8" name="矩形 190">
              <a:extLst>
                <a:ext uri="{FF2B5EF4-FFF2-40B4-BE49-F238E27FC236}">
                  <a16:creationId xmlns:a16="http://schemas.microsoft.com/office/drawing/2014/main" id="{F754BA71-8184-4828-95E4-4301AEC6A769}"/>
                </a:ext>
              </a:extLst>
            </p:cNvPr>
            <p:cNvSpPr/>
            <p:nvPr/>
          </p:nvSpPr>
          <p:spPr>
            <a:xfrm>
              <a:off x="3422180" y="1150240"/>
              <a:ext cx="2890520" cy="966419"/>
            </a:xfrm>
            <a:prstGeom prst="rect">
              <a:avLst/>
            </a:prstGeom>
            <a:noFill/>
            <a:ln>
              <a:noFill/>
            </a:ln>
          </p:spPr>
          <p:txBody>
            <a:bodyPr wrap="square" anchor="t">
              <a:spAutoFit/>
            </a:bodyPr>
            <a:lstStyle/>
            <a:p>
              <a:pPr defTabSz="914332">
                <a:lnSpc>
                  <a:spcPct val="120000"/>
                </a:lnSpc>
                <a:defRPr/>
              </a:pPr>
              <a:r>
                <a:rPr lang="en-US" altLang="zh-CN"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One-click Optimizations!</a:t>
              </a:r>
            </a:p>
            <a:p>
              <a:pPr defTabSz="914332">
                <a:defRPr/>
              </a:pPr>
              <a:endParaRPr lang="en-US" altLang="zh-CN" sz="1000" dirty="0">
                <a:solidFill>
                  <a:srgbClr val="000000"/>
                </a:solidFill>
                <a:latin typeface="Arial" panose="020B0604020202020204" pitchFamily="34" charset="0"/>
                <a:ea typeface="微软雅黑" panose="020B0503020204020204" pitchFamily="34" charset="-122"/>
                <a:sym typeface="Arial" panose="020B0604020202020204" pitchFamily="34" charset="0"/>
              </a:endParaRPr>
            </a:p>
            <a:p>
              <a:pPr defTabSz="914332">
                <a:defRPr/>
              </a:pPr>
              <a:r>
                <a:rPr lang="en-US" altLang="zh-CN" sz="100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One-click Optimization Features &amp; </a:t>
              </a:r>
            </a:p>
            <a:p>
              <a:pPr defTabSz="914332">
                <a:defRPr/>
              </a:pPr>
              <a:r>
                <a:rPr lang="en-US" altLang="zh-CN" sz="100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Massive Presentation Resources</a:t>
              </a:r>
            </a:p>
            <a:p>
              <a:pPr defTabSz="914332">
                <a:defRPr/>
              </a:pPr>
              <a:r>
                <a:rPr lang="en-US" altLang="zh-CN" sz="100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Great Presentation Made Easy with iSlide</a:t>
              </a:r>
              <a:endParaRPr lang="zh-CN" altLang="en-US" sz="100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35" name="组合 34">
            <a:extLst>
              <a:ext uri="{FF2B5EF4-FFF2-40B4-BE49-F238E27FC236}">
                <a16:creationId xmlns:a16="http://schemas.microsoft.com/office/drawing/2014/main" id="{40A731D2-FA13-40C5-BFF0-59E41A667BE9}"/>
              </a:ext>
            </a:extLst>
          </p:cNvPr>
          <p:cNvGrpSpPr/>
          <p:nvPr/>
        </p:nvGrpSpPr>
        <p:grpSpPr>
          <a:xfrm>
            <a:off x="3937427" y="2352595"/>
            <a:ext cx="7581473" cy="2678801"/>
            <a:chOff x="3898800" y="2179738"/>
            <a:chExt cx="7619676" cy="2546152"/>
          </a:xfrm>
        </p:grpSpPr>
        <p:sp>
          <p:nvSpPr>
            <p:cNvPr id="20" name="矩形 19">
              <a:extLst>
                <a:ext uri="{FF2B5EF4-FFF2-40B4-BE49-F238E27FC236}">
                  <a16:creationId xmlns:a16="http://schemas.microsoft.com/office/drawing/2014/main" id="{5647BAD5-E81A-4998-ACB8-5A097424CA8E}"/>
                </a:ext>
              </a:extLst>
            </p:cNvPr>
            <p:cNvSpPr/>
            <p:nvPr/>
          </p:nvSpPr>
          <p:spPr>
            <a:xfrm>
              <a:off x="3898800" y="2495333"/>
              <a:ext cx="7619676" cy="2230557"/>
            </a:xfrm>
            <a:prstGeom prst="rect">
              <a:avLst/>
            </a:prstGeom>
            <a:ln w="3175">
              <a:noFill/>
            </a:ln>
          </p:spPr>
          <p:txBody>
            <a:bodyPr wrap="square">
              <a:noAutofit/>
            </a:bodyPr>
            <a:lstStyle/>
            <a:p>
              <a:pPr>
                <a:lnSpc>
                  <a:spcPct val="150000"/>
                </a:lnSpc>
              </a:pPr>
              <a:endParaRPr lang="en-US" altLang="zh-CN" sz="900" dirty="0">
                <a:solidFill>
                  <a:schemeClr val="accent3"/>
                </a:solidFill>
                <a:latin typeface="Arial" panose="020B0604020202020204" pitchFamily="34" charset="0"/>
                <a:ea typeface="微软雅黑" panose="020B0503020204020204" pitchFamily="34" charset="-122"/>
                <a:sym typeface="Arial" panose="020B0604020202020204" pitchFamily="34" charset="0"/>
              </a:endParaRP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This presentation file is supplied by iSlide.</a:t>
              </a: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iSlide respects all intellectual property rights and protects all the rights its users acquired. Here iSlide solemnly reminds you:</a:t>
              </a:r>
            </a:p>
            <a:p>
              <a:pPr>
                <a:lnSpc>
                  <a:spcPct val="150000"/>
                </a:lnSpc>
              </a:pPr>
              <a:endPar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endParaRP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The ownership and intellectual property of any content in this PowerPoint presentation belongs to its owner or the assignee of this ownership. What you purchased or got for free is the right to use the content. The usage should be subject to the terms of “Copyright Notice”, “User License Agreement”, “Premium Agreement” and more Agreements of iSlide official website (https://islide-powerpoint.com ) :</a:t>
              </a: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1.You may not use all or part of the content for sale; or rent, lend; or distribute it in any directly profitable way.</a:t>
              </a: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2.You may not provide the resource of iSlide add-in/platform to any website, platform, application on the Internet or mobile Internet in any way.</a:t>
              </a:r>
            </a:p>
          </p:txBody>
        </p:sp>
        <p:sp>
          <p:nvSpPr>
            <p:cNvPr id="34" name="矩形 33">
              <a:extLst>
                <a:ext uri="{FF2B5EF4-FFF2-40B4-BE49-F238E27FC236}">
                  <a16:creationId xmlns:a16="http://schemas.microsoft.com/office/drawing/2014/main" id="{AE7ED207-8B71-4A21-A9A5-7C044C1FB5F6}"/>
                </a:ext>
              </a:extLst>
            </p:cNvPr>
            <p:cNvSpPr/>
            <p:nvPr/>
          </p:nvSpPr>
          <p:spPr>
            <a:xfrm>
              <a:off x="3898800" y="2179738"/>
              <a:ext cx="1854160" cy="292536"/>
            </a:xfrm>
            <a:prstGeom prst="rect">
              <a:avLst/>
            </a:prstGeom>
          </p:spPr>
          <p:txBody>
            <a:bodyPr wrap="none">
              <a:spAutoFit/>
            </a:bodyPr>
            <a:lstStyle/>
            <a:p>
              <a:r>
                <a:rPr lang="en-US" altLang="zh-CN" sz="1400" b="1" dirty="0">
                  <a:solidFill>
                    <a:srgbClr val="F73434"/>
                  </a:solidFill>
                  <a:latin typeface="Arial" panose="020B0604020202020204" pitchFamily="34" charset="0"/>
                  <a:ea typeface="微软雅黑" panose="020B0503020204020204" pitchFamily="34" charset="-122"/>
                  <a:sym typeface="Arial" panose="020B0604020202020204" pitchFamily="34" charset="0"/>
                </a:rPr>
                <a:t>IMPORTANT NOTE:</a:t>
              </a:r>
              <a:endParaRPr lang="zh-CN" altLang="en-US" sz="1400" b="1" dirty="0">
                <a:solidFill>
                  <a:srgbClr val="F73434"/>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14" name="组合 13">
            <a:extLst>
              <a:ext uri="{FF2B5EF4-FFF2-40B4-BE49-F238E27FC236}">
                <a16:creationId xmlns:a16="http://schemas.microsoft.com/office/drawing/2014/main" id="{D6757B43-6712-4BAE-8670-B715B10BFA4C}"/>
              </a:ext>
            </a:extLst>
          </p:cNvPr>
          <p:cNvGrpSpPr/>
          <p:nvPr/>
        </p:nvGrpSpPr>
        <p:grpSpPr>
          <a:xfrm>
            <a:off x="660400" y="1193800"/>
            <a:ext cx="1595567" cy="451484"/>
            <a:chOff x="683269" y="1142808"/>
            <a:chExt cx="1595567" cy="451484"/>
          </a:xfrm>
        </p:grpSpPr>
        <p:grpSp>
          <p:nvGrpSpPr>
            <p:cNvPr id="15" name="图形 2">
              <a:extLst>
                <a:ext uri="{FF2B5EF4-FFF2-40B4-BE49-F238E27FC236}">
                  <a16:creationId xmlns:a16="http://schemas.microsoft.com/office/drawing/2014/main" id="{A540713F-FC29-4BB1-A3F5-C1360CCAFA2B}"/>
                </a:ext>
              </a:extLst>
            </p:cNvPr>
            <p:cNvGrpSpPr/>
            <p:nvPr/>
          </p:nvGrpSpPr>
          <p:grpSpPr>
            <a:xfrm>
              <a:off x="683269" y="1142808"/>
              <a:ext cx="450234" cy="451484"/>
              <a:chOff x="683269" y="1142808"/>
              <a:chExt cx="450234" cy="451484"/>
            </a:xfrm>
          </p:grpSpPr>
          <p:sp>
            <p:nvSpPr>
              <p:cNvPr id="17" name="任意多边形: 形状 16">
                <a:extLst>
                  <a:ext uri="{FF2B5EF4-FFF2-40B4-BE49-F238E27FC236}">
                    <a16:creationId xmlns:a16="http://schemas.microsoft.com/office/drawing/2014/main" id="{B52E13E3-2F81-47A6-9CF9-D29EFF6EC715}"/>
                  </a:ext>
                </a:extLst>
              </p:cNvPr>
              <p:cNvSpPr/>
              <p:nvPr/>
            </p:nvSpPr>
            <p:spPr>
              <a:xfrm>
                <a:off x="683269" y="1142808"/>
                <a:ext cx="450234" cy="451484"/>
              </a:xfrm>
              <a:custGeom>
                <a:avLst/>
                <a:gdLst>
                  <a:gd name="connsiteX0" fmla="*/ 450234 w 450234"/>
                  <a:gd name="connsiteY0" fmla="*/ 225742 h 451484"/>
                  <a:gd name="connsiteX1" fmla="*/ 225117 w 450234"/>
                  <a:gd name="connsiteY1" fmla="*/ 451484 h 451484"/>
                  <a:gd name="connsiteX2" fmla="*/ 0 w 450234"/>
                  <a:gd name="connsiteY2" fmla="*/ 225742 h 451484"/>
                  <a:gd name="connsiteX3" fmla="*/ 225117 w 450234"/>
                  <a:gd name="connsiteY3" fmla="*/ 0 h 451484"/>
                  <a:gd name="connsiteX4" fmla="*/ 450234 w 450234"/>
                  <a:gd name="connsiteY4" fmla="*/ 225742 h 451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234" h="451484">
                    <a:moveTo>
                      <a:pt x="450234" y="225742"/>
                    </a:moveTo>
                    <a:cubicBezTo>
                      <a:pt x="450234" y="350416"/>
                      <a:pt x="349446" y="451484"/>
                      <a:pt x="225117" y="451484"/>
                    </a:cubicBezTo>
                    <a:cubicBezTo>
                      <a:pt x="100788" y="451484"/>
                      <a:pt x="0" y="350416"/>
                      <a:pt x="0" y="225742"/>
                    </a:cubicBezTo>
                    <a:cubicBezTo>
                      <a:pt x="0" y="101068"/>
                      <a:pt x="100788" y="0"/>
                      <a:pt x="225117" y="0"/>
                    </a:cubicBezTo>
                    <a:cubicBezTo>
                      <a:pt x="349446" y="0"/>
                      <a:pt x="450234" y="101068"/>
                      <a:pt x="450234" y="225742"/>
                    </a:cubicBezTo>
                    <a:close/>
                  </a:path>
                </a:pathLst>
              </a:custGeom>
              <a:solidFill>
                <a:srgbClr val="FFFFFF"/>
              </a:solidFill>
              <a:ln w="2462" cap="flat">
                <a:noFill/>
                <a:prstDash val="solid"/>
                <a:miter/>
              </a:ln>
            </p:spPr>
            <p:txBody>
              <a:bodyPr rtlCol="0" anchor="ctr"/>
              <a:lstStyle/>
              <a:p>
                <a:endParaRPr lang="zh-CN" altLang="en-US"/>
              </a:p>
            </p:txBody>
          </p:sp>
          <p:sp>
            <p:nvSpPr>
              <p:cNvPr id="18" name="任意多边形: 形状 17">
                <a:extLst>
                  <a:ext uri="{FF2B5EF4-FFF2-40B4-BE49-F238E27FC236}">
                    <a16:creationId xmlns:a16="http://schemas.microsoft.com/office/drawing/2014/main" id="{2802B983-0393-404D-8EF6-C2BC0F6D1A21}"/>
                  </a:ext>
                </a:extLst>
              </p:cNvPr>
              <p:cNvSpPr/>
              <p:nvPr/>
            </p:nvSpPr>
            <p:spPr>
              <a:xfrm>
                <a:off x="683269" y="1142808"/>
                <a:ext cx="450234" cy="450003"/>
              </a:xfrm>
              <a:custGeom>
                <a:avLst/>
                <a:gdLst>
                  <a:gd name="connsiteX0" fmla="*/ 132059 w 450234"/>
                  <a:gd name="connsiteY0" fmla="*/ 431254 h 450003"/>
                  <a:gd name="connsiteX1" fmla="*/ 0 w 450234"/>
                  <a:gd name="connsiteY1" fmla="*/ 225495 h 450003"/>
                  <a:gd name="connsiteX2" fmla="*/ 225117 w 450234"/>
                  <a:gd name="connsiteY2" fmla="*/ 0 h 450003"/>
                  <a:gd name="connsiteX3" fmla="*/ 450234 w 450234"/>
                  <a:gd name="connsiteY3" fmla="*/ 225495 h 450003"/>
                  <a:gd name="connsiteX4" fmla="*/ 248320 w 450234"/>
                  <a:gd name="connsiteY4" fmla="*/ 450004 h 450003"/>
                  <a:gd name="connsiteX5" fmla="*/ 282384 w 450234"/>
                  <a:gd name="connsiteY5" fmla="*/ 289394 h 450003"/>
                  <a:gd name="connsiteX6" fmla="*/ 274238 w 450234"/>
                  <a:gd name="connsiteY6" fmla="*/ 244986 h 450003"/>
                  <a:gd name="connsiteX7" fmla="*/ 236965 w 450234"/>
                  <a:gd name="connsiteY7" fmla="*/ 219327 h 450003"/>
                  <a:gd name="connsiteX8" fmla="*/ 236719 w 450234"/>
                  <a:gd name="connsiteY8" fmla="*/ 219327 h 450003"/>
                  <a:gd name="connsiteX9" fmla="*/ 192534 w 450234"/>
                  <a:gd name="connsiteY9" fmla="*/ 227469 h 450003"/>
                  <a:gd name="connsiteX10" fmla="*/ 166863 w 450234"/>
                  <a:gd name="connsiteY10" fmla="*/ 264723 h 450003"/>
                  <a:gd name="connsiteX11" fmla="*/ 132059 w 450234"/>
                  <a:gd name="connsiteY11" fmla="*/ 431254 h 450003"/>
                  <a:gd name="connsiteX12" fmla="*/ 255478 w 450234"/>
                  <a:gd name="connsiteY12" fmla="*/ 75741 h 450003"/>
                  <a:gd name="connsiteX13" fmla="*/ 314473 w 450234"/>
                  <a:gd name="connsiteY13" fmla="*/ 134705 h 450003"/>
                  <a:gd name="connsiteX14" fmla="*/ 255478 w 450234"/>
                  <a:gd name="connsiteY14" fmla="*/ 193669 h 450003"/>
                  <a:gd name="connsiteX15" fmla="*/ 196484 w 450234"/>
                  <a:gd name="connsiteY15" fmla="*/ 134705 h 450003"/>
                  <a:gd name="connsiteX16" fmla="*/ 255478 w 450234"/>
                  <a:gd name="connsiteY16" fmla="*/ 75741 h 45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0234" h="450003">
                    <a:moveTo>
                      <a:pt x="132059" y="431254"/>
                    </a:moveTo>
                    <a:cubicBezTo>
                      <a:pt x="54058" y="395727"/>
                      <a:pt x="0" y="317026"/>
                      <a:pt x="0" y="225495"/>
                    </a:cubicBezTo>
                    <a:cubicBezTo>
                      <a:pt x="0" y="101152"/>
                      <a:pt x="100957" y="0"/>
                      <a:pt x="225117" y="0"/>
                    </a:cubicBezTo>
                    <a:cubicBezTo>
                      <a:pt x="349277" y="0"/>
                      <a:pt x="450234" y="101152"/>
                      <a:pt x="450234" y="225495"/>
                    </a:cubicBezTo>
                    <a:cubicBezTo>
                      <a:pt x="450234" y="342190"/>
                      <a:pt x="361866" y="438162"/>
                      <a:pt x="248320" y="450004"/>
                    </a:cubicBezTo>
                    <a:lnTo>
                      <a:pt x="282384" y="289394"/>
                    </a:lnTo>
                    <a:cubicBezTo>
                      <a:pt x="285593" y="274098"/>
                      <a:pt x="282631" y="258061"/>
                      <a:pt x="274238" y="244986"/>
                    </a:cubicBezTo>
                    <a:cubicBezTo>
                      <a:pt x="265599" y="231910"/>
                      <a:pt x="252269" y="222535"/>
                      <a:pt x="236965" y="219327"/>
                    </a:cubicBezTo>
                    <a:cubicBezTo>
                      <a:pt x="236965" y="219327"/>
                      <a:pt x="236965" y="219327"/>
                      <a:pt x="236719" y="219327"/>
                    </a:cubicBezTo>
                    <a:cubicBezTo>
                      <a:pt x="221415" y="216120"/>
                      <a:pt x="205370" y="219081"/>
                      <a:pt x="192534" y="227469"/>
                    </a:cubicBezTo>
                    <a:cubicBezTo>
                      <a:pt x="179452" y="236104"/>
                      <a:pt x="170072" y="249426"/>
                      <a:pt x="166863" y="264723"/>
                    </a:cubicBezTo>
                    <a:lnTo>
                      <a:pt x="132059" y="431254"/>
                    </a:lnTo>
                    <a:close/>
                    <a:moveTo>
                      <a:pt x="255478" y="75741"/>
                    </a:moveTo>
                    <a:cubicBezTo>
                      <a:pt x="288061" y="75741"/>
                      <a:pt x="314473" y="102386"/>
                      <a:pt x="314473" y="134705"/>
                    </a:cubicBezTo>
                    <a:cubicBezTo>
                      <a:pt x="314473" y="167024"/>
                      <a:pt x="288061" y="193669"/>
                      <a:pt x="255478" y="193669"/>
                    </a:cubicBezTo>
                    <a:cubicBezTo>
                      <a:pt x="222896" y="193669"/>
                      <a:pt x="196484" y="167024"/>
                      <a:pt x="196484" y="134705"/>
                    </a:cubicBezTo>
                    <a:cubicBezTo>
                      <a:pt x="196484" y="102386"/>
                      <a:pt x="222896" y="75741"/>
                      <a:pt x="255478" y="75741"/>
                    </a:cubicBezTo>
                    <a:close/>
                  </a:path>
                </a:pathLst>
              </a:custGeom>
              <a:gradFill flip="none" rotWithShape="1">
                <a:gsLst>
                  <a:gs pos="0">
                    <a:srgbClr val="F93E36"/>
                  </a:gs>
                  <a:gs pos="100000">
                    <a:srgbClr val="FE6440"/>
                  </a:gs>
                </a:gsLst>
                <a:lin ang="18900000" scaled="1"/>
                <a:tileRect/>
              </a:gradFill>
              <a:ln w="2462" cap="flat">
                <a:noFill/>
                <a:prstDash val="solid"/>
                <a:miter/>
              </a:ln>
            </p:spPr>
            <p:txBody>
              <a:bodyPr rtlCol="0" anchor="ctr"/>
              <a:lstStyle/>
              <a:p>
                <a:endParaRPr lang="zh-CN" altLang="en-US" dirty="0"/>
              </a:p>
            </p:txBody>
          </p:sp>
        </p:grpSp>
        <p:sp>
          <p:nvSpPr>
            <p:cNvPr id="16" name="任意多边形: 形状 15">
              <a:extLst>
                <a:ext uri="{FF2B5EF4-FFF2-40B4-BE49-F238E27FC236}">
                  <a16:creationId xmlns:a16="http://schemas.microsoft.com/office/drawing/2014/main" id="{2C1218BD-82A2-4F82-84D5-EBFDB414ABDB}"/>
                </a:ext>
              </a:extLst>
            </p:cNvPr>
            <p:cNvSpPr/>
            <p:nvPr/>
          </p:nvSpPr>
          <p:spPr>
            <a:xfrm>
              <a:off x="1223599" y="1212380"/>
              <a:ext cx="1055237" cy="315374"/>
            </a:xfrm>
            <a:custGeom>
              <a:avLst/>
              <a:gdLst>
                <a:gd name="connsiteX0" fmla="*/ 952120 w 1055237"/>
                <a:gd name="connsiteY0" fmla="*/ 133688 h 315374"/>
                <a:gd name="connsiteX1" fmla="*/ 916514 w 1055237"/>
                <a:gd name="connsiteY1" fmla="*/ 136186 h 315374"/>
                <a:gd name="connsiteX2" fmla="*/ 874304 w 1055237"/>
                <a:gd name="connsiteY2" fmla="*/ 188982 h 315374"/>
                <a:gd name="connsiteX3" fmla="*/ 982913 w 1055237"/>
                <a:gd name="connsiteY3" fmla="*/ 149508 h 315374"/>
                <a:gd name="connsiteX4" fmla="*/ 952120 w 1055237"/>
                <a:gd name="connsiteY4" fmla="*/ 133688 h 315374"/>
                <a:gd name="connsiteX5" fmla="*/ 657333 w 1055237"/>
                <a:gd name="connsiteY5" fmla="*/ 128044 h 315374"/>
                <a:gd name="connsiteX6" fmla="*/ 588218 w 1055237"/>
                <a:gd name="connsiteY6" fmla="*/ 197123 h 315374"/>
                <a:gd name="connsiteX7" fmla="*/ 657333 w 1055237"/>
                <a:gd name="connsiteY7" fmla="*/ 266203 h 315374"/>
                <a:gd name="connsiteX8" fmla="*/ 726448 w 1055237"/>
                <a:gd name="connsiteY8" fmla="*/ 201071 h 315374"/>
                <a:gd name="connsiteX9" fmla="*/ 726448 w 1055237"/>
                <a:gd name="connsiteY9" fmla="*/ 193423 h 315374"/>
                <a:gd name="connsiteX10" fmla="*/ 657333 w 1055237"/>
                <a:gd name="connsiteY10" fmla="*/ 128044 h 315374"/>
                <a:gd name="connsiteX11" fmla="*/ 944739 w 1055237"/>
                <a:gd name="connsiteY11" fmla="*/ 79018 h 315374"/>
                <a:gd name="connsiteX12" fmla="*/ 1050054 w 1055237"/>
                <a:gd name="connsiteY12" fmla="*/ 156663 h 315374"/>
                <a:gd name="connsiteX13" fmla="*/ 1055237 w 1055237"/>
                <a:gd name="connsiteY13" fmla="*/ 175660 h 315374"/>
                <a:gd name="connsiteX14" fmla="*/ 1004142 w 1055237"/>
                <a:gd name="connsiteY14" fmla="*/ 194163 h 315374"/>
                <a:gd name="connsiteX15" fmla="*/ 887387 w 1055237"/>
                <a:gd name="connsiteY15" fmla="*/ 236598 h 315374"/>
                <a:gd name="connsiteX16" fmla="*/ 960945 w 1055237"/>
                <a:gd name="connsiteY16" fmla="*/ 257815 h 315374"/>
                <a:gd name="connsiteX17" fmla="*/ 1000933 w 1055237"/>
                <a:gd name="connsiteY17" fmla="*/ 215381 h 315374"/>
                <a:gd name="connsiteX18" fmla="*/ 1052275 w 1055237"/>
                <a:gd name="connsiteY18" fmla="*/ 230677 h 315374"/>
                <a:gd name="connsiteX19" fmla="*/ 979211 w 1055237"/>
                <a:gd name="connsiteY19" fmla="*/ 308145 h 315374"/>
                <a:gd name="connsiteX20" fmla="*/ 827405 w 1055237"/>
                <a:gd name="connsiteY20" fmla="*/ 237585 h 315374"/>
                <a:gd name="connsiteX21" fmla="*/ 898248 w 1055237"/>
                <a:gd name="connsiteY21" fmla="*/ 86103 h 315374"/>
                <a:gd name="connsiteX22" fmla="*/ 944739 w 1055237"/>
                <a:gd name="connsiteY22" fmla="*/ 79018 h 315374"/>
                <a:gd name="connsiteX23" fmla="*/ 451469 w 1055237"/>
                <a:gd name="connsiteY23" fmla="*/ 78948 h 315374"/>
                <a:gd name="connsiteX24" fmla="*/ 500837 w 1055237"/>
                <a:gd name="connsiteY24" fmla="*/ 78948 h 315374"/>
                <a:gd name="connsiteX25" fmla="*/ 500837 w 1055237"/>
                <a:gd name="connsiteY25" fmla="*/ 315299 h 315374"/>
                <a:gd name="connsiteX26" fmla="*/ 451469 w 1055237"/>
                <a:gd name="connsiteY26" fmla="*/ 315299 h 315374"/>
                <a:gd name="connsiteX27" fmla="*/ 4937 w 1055237"/>
                <a:gd name="connsiteY27" fmla="*/ 78948 h 315374"/>
                <a:gd name="connsiteX28" fmla="*/ 54305 w 1055237"/>
                <a:gd name="connsiteY28" fmla="*/ 78948 h 315374"/>
                <a:gd name="connsiteX29" fmla="*/ 54305 w 1055237"/>
                <a:gd name="connsiteY29" fmla="*/ 315299 h 315374"/>
                <a:gd name="connsiteX30" fmla="*/ 4937 w 1055237"/>
                <a:gd name="connsiteY30" fmla="*/ 315299 h 315374"/>
                <a:gd name="connsiteX31" fmla="*/ 775815 w 1055237"/>
                <a:gd name="connsiteY31" fmla="*/ 0 h 315374"/>
                <a:gd name="connsiteX32" fmla="*/ 775815 w 1055237"/>
                <a:gd name="connsiteY32" fmla="*/ 315299 h 315374"/>
                <a:gd name="connsiteX33" fmla="*/ 726448 w 1055237"/>
                <a:gd name="connsiteY33" fmla="*/ 315299 h 315374"/>
                <a:gd name="connsiteX34" fmla="*/ 726448 w 1055237"/>
                <a:gd name="connsiteY34" fmla="*/ 293095 h 315374"/>
                <a:gd name="connsiteX35" fmla="*/ 657333 w 1055237"/>
                <a:gd name="connsiteY35" fmla="*/ 315299 h 315374"/>
                <a:gd name="connsiteX36" fmla="*/ 538850 w 1055237"/>
                <a:gd name="connsiteY36" fmla="*/ 197123 h 315374"/>
                <a:gd name="connsiteX37" fmla="*/ 657333 w 1055237"/>
                <a:gd name="connsiteY37" fmla="*/ 78948 h 315374"/>
                <a:gd name="connsiteX38" fmla="*/ 726448 w 1055237"/>
                <a:gd name="connsiteY38" fmla="*/ 101152 h 315374"/>
                <a:gd name="connsiteX39" fmla="*/ 726448 w 1055237"/>
                <a:gd name="connsiteY39" fmla="*/ 247 h 315374"/>
                <a:gd name="connsiteX40" fmla="*/ 476153 w 1055237"/>
                <a:gd name="connsiteY40" fmla="*/ 0 h 315374"/>
                <a:gd name="connsiteX41" fmla="*/ 505773 w 1055237"/>
                <a:gd name="connsiteY41" fmla="*/ 29606 h 315374"/>
                <a:gd name="connsiteX42" fmla="*/ 476153 w 1055237"/>
                <a:gd name="connsiteY42" fmla="*/ 59211 h 315374"/>
                <a:gd name="connsiteX43" fmla="*/ 446532 w 1055237"/>
                <a:gd name="connsiteY43" fmla="*/ 29606 h 315374"/>
                <a:gd name="connsiteX44" fmla="*/ 476153 w 1055237"/>
                <a:gd name="connsiteY44" fmla="*/ 0 h 315374"/>
                <a:gd name="connsiteX45" fmla="*/ 352733 w 1055237"/>
                <a:gd name="connsiteY45" fmla="*/ 0 h 315374"/>
                <a:gd name="connsiteX46" fmla="*/ 402101 w 1055237"/>
                <a:gd name="connsiteY46" fmla="*/ 0 h 315374"/>
                <a:gd name="connsiteX47" fmla="*/ 402101 w 1055237"/>
                <a:gd name="connsiteY47" fmla="*/ 315299 h 315374"/>
                <a:gd name="connsiteX48" fmla="*/ 352733 w 1055237"/>
                <a:gd name="connsiteY48" fmla="*/ 315299 h 315374"/>
                <a:gd name="connsiteX49" fmla="*/ 205370 w 1055237"/>
                <a:gd name="connsiteY49" fmla="*/ 0 h 315374"/>
                <a:gd name="connsiteX50" fmla="*/ 297194 w 1055237"/>
                <a:gd name="connsiteY50" fmla="*/ 29112 h 315374"/>
                <a:gd name="connsiteX51" fmla="*/ 300897 w 1055237"/>
                <a:gd name="connsiteY51" fmla="*/ 32319 h 315374"/>
                <a:gd name="connsiteX52" fmla="*/ 271523 w 1055237"/>
                <a:gd name="connsiteY52" fmla="*/ 67599 h 315374"/>
                <a:gd name="connsiteX53" fmla="*/ 268808 w 1055237"/>
                <a:gd name="connsiteY53" fmla="*/ 65132 h 315374"/>
                <a:gd name="connsiteX54" fmla="*/ 267573 w 1055237"/>
                <a:gd name="connsiteY54" fmla="*/ 63899 h 315374"/>
                <a:gd name="connsiteX55" fmla="*/ 203149 w 1055237"/>
                <a:gd name="connsiteY55" fmla="*/ 44408 h 315374"/>
                <a:gd name="connsiteX56" fmla="*/ 148844 w 1055237"/>
                <a:gd name="connsiteY56" fmla="*/ 90050 h 315374"/>
                <a:gd name="connsiteX57" fmla="*/ 159952 w 1055237"/>
                <a:gd name="connsiteY57" fmla="*/ 116942 h 315374"/>
                <a:gd name="connsiteX58" fmla="*/ 192288 w 1055237"/>
                <a:gd name="connsiteY58" fmla="*/ 130758 h 315374"/>
                <a:gd name="connsiteX59" fmla="*/ 230054 w 1055237"/>
                <a:gd name="connsiteY59" fmla="*/ 136185 h 315374"/>
                <a:gd name="connsiteX60" fmla="*/ 288308 w 1055237"/>
                <a:gd name="connsiteY60" fmla="*/ 159376 h 315374"/>
                <a:gd name="connsiteX61" fmla="*/ 311511 w 1055237"/>
                <a:gd name="connsiteY61" fmla="*/ 223275 h 315374"/>
                <a:gd name="connsiteX62" fmla="*/ 279422 w 1055237"/>
                <a:gd name="connsiteY62" fmla="*/ 291121 h 315374"/>
                <a:gd name="connsiteX63" fmla="*/ 198459 w 1055237"/>
                <a:gd name="connsiteY63" fmla="*/ 315299 h 315374"/>
                <a:gd name="connsiteX64" fmla="*/ 92071 w 1055237"/>
                <a:gd name="connsiteY64" fmla="*/ 280512 h 315374"/>
                <a:gd name="connsiteX65" fmla="*/ 122432 w 1055237"/>
                <a:gd name="connsiteY65" fmla="*/ 244739 h 315374"/>
                <a:gd name="connsiteX66" fmla="*/ 199199 w 1055237"/>
                <a:gd name="connsiteY66" fmla="*/ 269657 h 315374"/>
                <a:gd name="connsiteX67" fmla="*/ 260909 w 1055237"/>
                <a:gd name="connsiteY67" fmla="*/ 225002 h 315374"/>
                <a:gd name="connsiteX68" fmla="*/ 249307 w 1055237"/>
                <a:gd name="connsiteY68" fmla="*/ 194410 h 315374"/>
                <a:gd name="connsiteX69" fmla="*/ 218206 w 1055237"/>
                <a:gd name="connsiteY69" fmla="*/ 181827 h 315374"/>
                <a:gd name="connsiteX70" fmla="*/ 179699 w 1055237"/>
                <a:gd name="connsiteY70" fmla="*/ 176399 h 315374"/>
                <a:gd name="connsiteX71" fmla="*/ 120704 w 1055237"/>
                <a:gd name="connsiteY71" fmla="*/ 151235 h 315374"/>
                <a:gd name="connsiteX72" fmla="*/ 99229 w 1055237"/>
                <a:gd name="connsiteY72" fmla="*/ 91777 h 315374"/>
                <a:gd name="connsiteX73" fmla="*/ 205370 w 1055237"/>
                <a:gd name="connsiteY73" fmla="*/ 0 h 315374"/>
                <a:gd name="connsiteX74" fmla="*/ 29621 w 1055237"/>
                <a:gd name="connsiteY74" fmla="*/ 0 h 315374"/>
                <a:gd name="connsiteX75" fmla="*/ 59241 w 1055237"/>
                <a:gd name="connsiteY75" fmla="*/ 29606 h 315374"/>
                <a:gd name="connsiteX76" fmla="*/ 29621 w 1055237"/>
                <a:gd name="connsiteY76" fmla="*/ 59211 h 315374"/>
                <a:gd name="connsiteX77" fmla="*/ 0 w 1055237"/>
                <a:gd name="connsiteY77" fmla="*/ 29606 h 315374"/>
                <a:gd name="connsiteX78" fmla="*/ 29621 w 1055237"/>
                <a:gd name="connsiteY78" fmla="*/ 0 h 315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055237" h="315374">
                  <a:moveTo>
                    <a:pt x="952120" y="133688"/>
                  </a:moveTo>
                  <a:cubicBezTo>
                    <a:pt x="940642" y="131252"/>
                    <a:pt x="928362" y="131869"/>
                    <a:pt x="916514" y="136186"/>
                  </a:cubicBezTo>
                  <a:cubicBezTo>
                    <a:pt x="892817" y="144821"/>
                    <a:pt x="877266" y="165791"/>
                    <a:pt x="874304" y="188982"/>
                  </a:cubicBezTo>
                  <a:lnTo>
                    <a:pt x="982913" y="149508"/>
                  </a:lnTo>
                  <a:cubicBezTo>
                    <a:pt x="974274" y="141614"/>
                    <a:pt x="963598" y="136124"/>
                    <a:pt x="952120" y="133688"/>
                  </a:cubicBezTo>
                  <a:close/>
                  <a:moveTo>
                    <a:pt x="657333" y="128044"/>
                  </a:moveTo>
                  <a:cubicBezTo>
                    <a:pt x="619073" y="128044"/>
                    <a:pt x="588218" y="158883"/>
                    <a:pt x="588218" y="197123"/>
                  </a:cubicBezTo>
                  <a:cubicBezTo>
                    <a:pt x="588218" y="235364"/>
                    <a:pt x="619319" y="266203"/>
                    <a:pt x="657333" y="266203"/>
                  </a:cubicBezTo>
                  <a:cubicBezTo>
                    <a:pt x="694359" y="266203"/>
                    <a:pt x="724473" y="237338"/>
                    <a:pt x="726448" y="201071"/>
                  </a:cubicBezTo>
                  <a:lnTo>
                    <a:pt x="726448" y="193423"/>
                  </a:lnTo>
                  <a:cubicBezTo>
                    <a:pt x="724473" y="156909"/>
                    <a:pt x="694359" y="128044"/>
                    <a:pt x="657333" y="128044"/>
                  </a:cubicBezTo>
                  <a:close/>
                  <a:moveTo>
                    <a:pt x="944739" y="79018"/>
                  </a:moveTo>
                  <a:cubicBezTo>
                    <a:pt x="990813" y="81308"/>
                    <a:pt x="1033207" y="110590"/>
                    <a:pt x="1050054" y="156663"/>
                  </a:cubicBezTo>
                  <a:cubicBezTo>
                    <a:pt x="1052275" y="162831"/>
                    <a:pt x="1054003" y="169245"/>
                    <a:pt x="1055237" y="175660"/>
                  </a:cubicBezTo>
                  <a:lnTo>
                    <a:pt x="1004142" y="194163"/>
                  </a:lnTo>
                  <a:lnTo>
                    <a:pt x="887387" y="236598"/>
                  </a:lnTo>
                  <a:cubicBezTo>
                    <a:pt x="904172" y="258309"/>
                    <a:pt x="933792" y="267684"/>
                    <a:pt x="960945" y="257815"/>
                  </a:cubicBezTo>
                  <a:cubicBezTo>
                    <a:pt x="980198" y="250907"/>
                    <a:pt x="995009" y="235118"/>
                    <a:pt x="1000933" y="215381"/>
                  </a:cubicBezTo>
                  <a:lnTo>
                    <a:pt x="1052275" y="230677"/>
                  </a:lnTo>
                  <a:cubicBezTo>
                    <a:pt x="1041661" y="266697"/>
                    <a:pt x="1014509" y="295315"/>
                    <a:pt x="979211" y="308145"/>
                  </a:cubicBezTo>
                  <a:cubicBezTo>
                    <a:pt x="917748" y="330595"/>
                    <a:pt x="849867" y="299016"/>
                    <a:pt x="827405" y="237585"/>
                  </a:cubicBezTo>
                  <a:cubicBezTo>
                    <a:pt x="804942" y="176400"/>
                    <a:pt x="836785" y="108307"/>
                    <a:pt x="898248" y="86103"/>
                  </a:cubicBezTo>
                  <a:cubicBezTo>
                    <a:pt x="913614" y="80490"/>
                    <a:pt x="929381" y="78255"/>
                    <a:pt x="944739" y="79018"/>
                  </a:cubicBezTo>
                  <a:close/>
                  <a:moveTo>
                    <a:pt x="451469" y="78948"/>
                  </a:moveTo>
                  <a:lnTo>
                    <a:pt x="500837" y="78948"/>
                  </a:lnTo>
                  <a:lnTo>
                    <a:pt x="500837" y="315299"/>
                  </a:lnTo>
                  <a:lnTo>
                    <a:pt x="451469" y="315299"/>
                  </a:lnTo>
                  <a:close/>
                  <a:moveTo>
                    <a:pt x="4937" y="78948"/>
                  </a:moveTo>
                  <a:lnTo>
                    <a:pt x="54305" y="78948"/>
                  </a:lnTo>
                  <a:lnTo>
                    <a:pt x="54305" y="315299"/>
                  </a:lnTo>
                  <a:lnTo>
                    <a:pt x="4937" y="315299"/>
                  </a:lnTo>
                  <a:close/>
                  <a:moveTo>
                    <a:pt x="775815" y="0"/>
                  </a:moveTo>
                  <a:lnTo>
                    <a:pt x="775815" y="315299"/>
                  </a:lnTo>
                  <a:lnTo>
                    <a:pt x="726448" y="315299"/>
                  </a:lnTo>
                  <a:lnTo>
                    <a:pt x="726448" y="293095"/>
                  </a:lnTo>
                  <a:cubicBezTo>
                    <a:pt x="706947" y="307157"/>
                    <a:pt x="683004" y="315299"/>
                    <a:pt x="657333" y="315299"/>
                  </a:cubicBezTo>
                  <a:cubicBezTo>
                    <a:pt x="591920" y="315299"/>
                    <a:pt x="538850" y="262255"/>
                    <a:pt x="538850" y="197123"/>
                  </a:cubicBezTo>
                  <a:cubicBezTo>
                    <a:pt x="538850" y="131991"/>
                    <a:pt x="591920" y="78948"/>
                    <a:pt x="657333" y="78948"/>
                  </a:cubicBezTo>
                  <a:cubicBezTo>
                    <a:pt x="683004" y="78948"/>
                    <a:pt x="706947" y="87090"/>
                    <a:pt x="726448" y="101152"/>
                  </a:cubicBezTo>
                  <a:lnTo>
                    <a:pt x="726448" y="247"/>
                  </a:lnTo>
                  <a:close/>
                  <a:moveTo>
                    <a:pt x="476153" y="0"/>
                  </a:moveTo>
                  <a:cubicBezTo>
                    <a:pt x="492444" y="0"/>
                    <a:pt x="505773" y="13322"/>
                    <a:pt x="505773" y="29606"/>
                  </a:cubicBezTo>
                  <a:cubicBezTo>
                    <a:pt x="505773" y="45889"/>
                    <a:pt x="492444" y="59211"/>
                    <a:pt x="476153" y="59211"/>
                  </a:cubicBezTo>
                  <a:cubicBezTo>
                    <a:pt x="459861" y="59211"/>
                    <a:pt x="446532" y="45889"/>
                    <a:pt x="446532" y="29606"/>
                  </a:cubicBezTo>
                  <a:cubicBezTo>
                    <a:pt x="446532" y="13322"/>
                    <a:pt x="459861" y="0"/>
                    <a:pt x="476153" y="0"/>
                  </a:cubicBezTo>
                  <a:close/>
                  <a:moveTo>
                    <a:pt x="352733" y="0"/>
                  </a:moveTo>
                  <a:lnTo>
                    <a:pt x="402101" y="0"/>
                  </a:lnTo>
                  <a:lnTo>
                    <a:pt x="402101" y="315299"/>
                  </a:lnTo>
                  <a:lnTo>
                    <a:pt x="352733" y="315299"/>
                  </a:lnTo>
                  <a:close/>
                  <a:moveTo>
                    <a:pt x="205370" y="0"/>
                  </a:moveTo>
                  <a:cubicBezTo>
                    <a:pt x="245111" y="0"/>
                    <a:pt x="273004" y="8882"/>
                    <a:pt x="297194" y="29112"/>
                  </a:cubicBezTo>
                  <a:lnTo>
                    <a:pt x="300897" y="32319"/>
                  </a:lnTo>
                  <a:lnTo>
                    <a:pt x="271523" y="67599"/>
                  </a:lnTo>
                  <a:cubicBezTo>
                    <a:pt x="271523" y="67599"/>
                    <a:pt x="269795" y="66119"/>
                    <a:pt x="268808" y="65132"/>
                  </a:cubicBezTo>
                  <a:cubicBezTo>
                    <a:pt x="268314" y="64639"/>
                    <a:pt x="267820" y="63899"/>
                    <a:pt x="267573" y="63899"/>
                  </a:cubicBezTo>
                  <a:cubicBezTo>
                    <a:pt x="246839" y="46875"/>
                    <a:pt x="222402" y="44408"/>
                    <a:pt x="203149" y="44408"/>
                  </a:cubicBezTo>
                  <a:cubicBezTo>
                    <a:pt x="163161" y="44408"/>
                    <a:pt x="148844" y="69080"/>
                    <a:pt x="148844" y="90050"/>
                  </a:cubicBezTo>
                  <a:cubicBezTo>
                    <a:pt x="148844" y="100412"/>
                    <a:pt x="152793" y="110034"/>
                    <a:pt x="159952" y="116942"/>
                  </a:cubicBezTo>
                  <a:cubicBezTo>
                    <a:pt x="167604" y="124096"/>
                    <a:pt x="179205" y="129031"/>
                    <a:pt x="192288" y="130758"/>
                  </a:cubicBezTo>
                  <a:lnTo>
                    <a:pt x="230054" y="136185"/>
                  </a:lnTo>
                  <a:cubicBezTo>
                    <a:pt x="256466" y="139886"/>
                    <a:pt x="274485" y="147041"/>
                    <a:pt x="288308" y="159376"/>
                  </a:cubicBezTo>
                  <a:cubicBezTo>
                    <a:pt x="303612" y="173932"/>
                    <a:pt x="311264" y="195396"/>
                    <a:pt x="311511" y="223275"/>
                  </a:cubicBezTo>
                  <a:cubicBezTo>
                    <a:pt x="311511" y="251153"/>
                    <a:pt x="300403" y="274591"/>
                    <a:pt x="279422" y="291121"/>
                  </a:cubicBezTo>
                  <a:cubicBezTo>
                    <a:pt x="259428" y="306664"/>
                    <a:pt x="230548" y="315299"/>
                    <a:pt x="198459" y="315299"/>
                  </a:cubicBezTo>
                  <a:cubicBezTo>
                    <a:pt x="151066" y="315299"/>
                    <a:pt x="118730" y="304690"/>
                    <a:pt x="92071" y="280512"/>
                  </a:cubicBezTo>
                  <a:lnTo>
                    <a:pt x="122432" y="244739"/>
                  </a:lnTo>
                  <a:cubicBezTo>
                    <a:pt x="141192" y="261515"/>
                    <a:pt x="166369" y="269657"/>
                    <a:pt x="199199" y="269657"/>
                  </a:cubicBezTo>
                  <a:cubicBezTo>
                    <a:pt x="252763" y="269657"/>
                    <a:pt x="260909" y="241778"/>
                    <a:pt x="260909" y="225002"/>
                  </a:cubicBezTo>
                  <a:cubicBezTo>
                    <a:pt x="260909" y="212173"/>
                    <a:pt x="256959" y="201811"/>
                    <a:pt x="249307" y="194410"/>
                  </a:cubicBezTo>
                  <a:cubicBezTo>
                    <a:pt x="241902" y="187502"/>
                    <a:pt x="233757" y="184294"/>
                    <a:pt x="218206" y="181827"/>
                  </a:cubicBezTo>
                  <a:lnTo>
                    <a:pt x="179699" y="176399"/>
                  </a:lnTo>
                  <a:cubicBezTo>
                    <a:pt x="153534" y="172452"/>
                    <a:pt x="134034" y="164311"/>
                    <a:pt x="120704" y="151235"/>
                  </a:cubicBezTo>
                  <a:cubicBezTo>
                    <a:pt x="106388" y="136679"/>
                    <a:pt x="99229" y="117188"/>
                    <a:pt x="99229" y="91777"/>
                  </a:cubicBezTo>
                  <a:cubicBezTo>
                    <a:pt x="99476" y="36020"/>
                    <a:pt x="140945" y="0"/>
                    <a:pt x="205370" y="0"/>
                  </a:cubicBezTo>
                  <a:close/>
                  <a:moveTo>
                    <a:pt x="29621" y="0"/>
                  </a:moveTo>
                  <a:cubicBezTo>
                    <a:pt x="45980" y="0"/>
                    <a:pt x="59241" y="13255"/>
                    <a:pt x="59241" y="29606"/>
                  </a:cubicBezTo>
                  <a:cubicBezTo>
                    <a:pt x="59241" y="45956"/>
                    <a:pt x="45980" y="59211"/>
                    <a:pt x="29621" y="59211"/>
                  </a:cubicBezTo>
                  <a:cubicBezTo>
                    <a:pt x="13262" y="59211"/>
                    <a:pt x="0" y="45956"/>
                    <a:pt x="0" y="29606"/>
                  </a:cubicBezTo>
                  <a:cubicBezTo>
                    <a:pt x="0" y="13255"/>
                    <a:pt x="13262" y="0"/>
                    <a:pt x="29621" y="0"/>
                  </a:cubicBezTo>
                  <a:close/>
                </a:path>
              </a:pathLst>
            </a:custGeom>
            <a:solidFill>
              <a:srgbClr val="2F2F2F"/>
            </a:solidFill>
            <a:ln w="2462" cap="flat">
              <a:noFill/>
              <a:prstDash val="solid"/>
              <a:miter/>
            </a:ln>
          </p:spPr>
          <p:txBody>
            <a:bodyPr rtlCol="0" anchor="ctr"/>
            <a:lstStyle/>
            <a:p>
              <a:endParaRPr lang="zh-CN" altLang="en-US"/>
            </a:p>
          </p:txBody>
        </p:sp>
      </p:grpSp>
    </p:spTree>
    <p:extLst>
      <p:ext uri="{BB962C8B-B14F-4D97-AF65-F5344CB8AC3E}">
        <p14:creationId xmlns:p14="http://schemas.microsoft.com/office/powerpoint/2010/main" val="12371926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29314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0" y="0"/>
            <a:ext cx="11132599" cy="6858000"/>
            <a:chOff x="0" y="0"/>
            <a:chExt cx="11132599" cy="6858000"/>
          </a:xfrm>
        </p:grpSpPr>
        <p:grpSp>
          <p:nvGrpSpPr>
            <p:cNvPr id="6" name="íṡľïḓé"/>
            <p:cNvGrpSpPr/>
            <p:nvPr/>
          </p:nvGrpSpPr>
          <p:grpSpPr>
            <a:xfrm>
              <a:off x="0" y="0"/>
              <a:ext cx="4646078" cy="6858000"/>
              <a:chOff x="0" y="0"/>
              <a:chExt cx="4646078" cy="6858000"/>
            </a:xfrm>
          </p:grpSpPr>
          <p:sp>
            <p:nvSpPr>
              <p:cNvPr id="25" name="ïṡļiḓe"/>
              <p:cNvSpPr/>
              <p:nvPr/>
            </p:nvSpPr>
            <p:spPr bwMode="auto">
              <a:xfrm>
                <a:off x="0" y="2279659"/>
                <a:ext cx="2320475" cy="3462689"/>
              </a:xfrm>
              <a:custGeom>
                <a:avLst/>
                <a:gdLst>
                  <a:gd name="connsiteX0" fmla="*/ 864869 w 1724024"/>
                  <a:gd name="connsiteY0" fmla="*/ 0 h 2572646"/>
                  <a:gd name="connsiteX1" fmla="*/ 1724024 w 1724024"/>
                  <a:gd name="connsiteY1" fmla="*/ 859155 h 2572646"/>
                  <a:gd name="connsiteX2" fmla="*/ 0 w 1724024"/>
                  <a:gd name="connsiteY2" fmla="*/ 2572646 h 2572646"/>
                  <a:gd name="connsiteX3" fmla="*/ 0 w 1724024"/>
                  <a:gd name="connsiteY3" fmla="*/ 859596 h 2572646"/>
                </a:gdLst>
                <a:ahLst/>
                <a:cxnLst>
                  <a:cxn ang="0">
                    <a:pos x="connsiteX0" y="connsiteY0"/>
                  </a:cxn>
                  <a:cxn ang="0">
                    <a:pos x="connsiteX1" y="connsiteY1"/>
                  </a:cxn>
                  <a:cxn ang="0">
                    <a:pos x="connsiteX2" y="connsiteY2"/>
                  </a:cxn>
                  <a:cxn ang="0">
                    <a:pos x="connsiteX3" y="connsiteY3"/>
                  </a:cxn>
                </a:cxnLst>
                <a:rect l="l" t="t" r="r" b="b"/>
                <a:pathLst>
                  <a:path w="1724024" h="2572646">
                    <a:moveTo>
                      <a:pt x="864869" y="0"/>
                    </a:moveTo>
                    <a:lnTo>
                      <a:pt x="1724024" y="859155"/>
                    </a:lnTo>
                    <a:lnTo>
                      <a:pt x="0" y="2572646"/>
                    </a:lnTo>
                    <a:lnTo>
                      <a:pt x="0" y="859596"/>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normAutofit/>
              </a:bodyPr>
              <a:lstStyle>
                <a:defPPr>
                  <a:defRPr lang="id-ID"/>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id-ID"/>
              </a:p>
            </p:txBody>
          </p:sp>
          <p:sp>
            <p:nvSpPr>
              <p:cNvPr id="26" name="íṩļîḑé"/>
              <p:cNvSpPr/>
              <p:nvPr/>
            </p:nvSpPr>
            <p:spPr bwMode="auto">
              <a:xfrm>
                <a:off x="0" y="1119140"/>
                <a:ext cx="1164083" cy="2316915"/>
              </a:xfrm>
              <a:custGeom>
                <a:avLst/>
                <a:gdLst>
                  <a:gd name="connsiteX0" fmla="*/ 0 w 864869"/>
                  <a:gd name="connsiteY0" fmla="*/ 0 h 1721379"/>
                  <a:gd name="connsiteX1" fmla="*/ 864869 w 864869"/>
                  <a:gd name="connsiteY1" fmla="*/ 862224 h 1721379"/>
                  <a:gd name="connsiteX2" fmla="*/ 475 w 864869"/>
                  <a:gd name="connsiteY2" fmla="*/ 1721379 h 1721379"/>
                  <a:gd name="connsiteX3" fmla="*/ 0 w 864869"/>
                  <a:gd name="connsiteY3" fmla="*/ 1720905 h 1721379"/>
                </a:gdLst>
                <a:ahLst/>
                <a:cxnLst>
                  <a:cxn ang="0">
                    <a:pos x="connsiteX0" y="connsiteY0"/>
                  </a:cxn>
                  <a:cxn ang="0">
                    <a:pos x="connsiteX1" y="connsiteY1"/>
                  </a:cxn>
                  <a:cxn ang="0">
                    <a:pos x="connsiteX2" y="connsiteY2"/>
                  </a:cxn>
                  <a:cxn ang="0">
                    <a:pos x="connsiteX3" y="connsiteY3"/>
                  </a:cxn>
                </a:cxnLst>
                <a:rect l="l" t="t" r="r" b="b"/>
                <a:pathLst>
                  <a:path w="864869" h="1721379">
                    <a:moveTo>
                      <a:pt x="0" y="0"/>
                    </a:moveTo>
                    <a:lnTo>
                      <a:pt x="864869" y="862224"/>
                    </a:lnTo>
                    <a:lnTo>
                      <a:pt x="475" y="1721379"/>
                    </a:lnTo>
                    <a:lnTo>
                      <a:pt x="0" y="1720905"/>
                    </a:lnTo>
                    <a:close/>
                  </a:path>
                </a:pathLst>
              </a:custGeom>
              <a:solidFill>
                <a:schemeClr val="bg1">
                  <a:lumMod val="85000"/>
                </a:schemeClr>
              </a:solidFill>
              <a:ln>
                <a:solidFill>
                  <a:schemeClr val="bg1">
                    <a:lumMod val="95000"/>
                  </a:schemeClr>
                </a:solidFill>
              </a:ln>
            </p:spPr>
            <p:txBody>
              <a:bodyPr vert="horz" wrap="square" lIns="91440" tIns="45720" rIns="91440" bIns="45720" numCol="1" anchor="t" anchorCtr="0" compatLnSpc="1">
                <a:prstTxWarp prst="textNoShape">
                  <a:avLst/>
                </a:prstTxWarp>
                <a:normAutofit/>
              </a:bodyPr>
              <a:lstStyle>
                <a:defPPr>
                  <a:defRPr lang="id-ID"/>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id-ID"/>
              </a:p>
            </p:txBody>
          </p:sp>
          <p:sp>
            <p:nvSpPr>
              <p:cNvPr id="27" name="îṧḷïḑè"/>
              <p:cNvSpPr/>
              <p:nvPr/>
            </p:nvSpPr>
            <p:spPr bwMode="auto">
              <a:xfrm>
                <a:off x="0" y="0"/>
                <a:ext cx="3489686" cy="3455074"/>
              </a:xfrm>
              <a:custGeom>
                <a:avLst/>
                <a:gdLst>
                  <a:gd name="connsiteX0" fmla="*/ 0 w 2592704"/>
                  <a:gd name="connsiteY0" fmla="*/ 0 h 2566988"/>
                  <a:gd name="connsiteX1" fmla="*/ 879633 w 2592704"/>
                  <a:gd name="connsiteY1" fmla="*/ 0 h 2566988"/>
                  <a:gd name="connsiteX2" fmla="*/ 2592704 w 2592704"/>
                  <a:gd name="connsiteY2" fmla="*/ 1707833 h 2566988"/>
                  <a:gd name="connsiteX3" fmla="*/ 1728310 w 2592704"/>
                  <a:gd name="connsiteY3" fmla="*/ 2566988 h 2566988"/>
                  <a:gd name="connsiteX4" fmla="*/ 0 w 2592704"/>
                  <a:gd name="connsiteY4" fmla="*/ 842197 h 256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2704" h="2566988">
                    <a:moveTo>
                      <a:pt x="0" y="0"/>
                    </a:moveTo>
                    <a:lnTo>
                      <a:pt x="879633" y="0"/>
                    </a:lnTo>
                    <a:lnTo>
                      <a:pt x="2592704" y="1707833"/>
                    </a:lnTo>
                    <a:lnTo>
                      <a:pt x="1728310" y="2566988"/>
                    </a:lnTo>
                    <a:lnTo>
                      <a:pt x="0" y="84219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defPPr>
                  <a:defRPr lang="id-ID"/>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id-ID"/>
              </a:p>
            </p:txBody>
          </p:sp>
          <p:sp>
            <p:nvSpPr>
              <p:cNvPr id="28" name="ïṧ1iḑê"/>
              <p:cNvSpPr/>
              <p:nvPr/>
            </p:nvSpPr>
            <p:spPr bwMode="auto">
              <a:xfrm>
                <a:off x="0" y="2260637"/>
                <a:ext cx="4646078" cy="4597363"/>
              </a:xfrm>
              <a:custGeom>
                <a:avLst/>
                <a:gdLst>
                  <a:gd name="connsiteX0" fmla="*/ 2592704 w 3451859"/>
                  <a:gd name="connsiteY0" fmla="*/ 0 h 3415665"/>
                  <a:gd name="connsiteX1" fmla="*/ 3451859 w 3451859"/>
                  <a:gd name="connsiteY1" fmla="*/ 859155 h 3415665"/>
                  <a:gd name="connsiteX2" fmla="*/ 879633 w 3451859"/>
                  <a:gd name="connsiteY2" fmla="*/ 3415665 h 3415665"/>
                  <a:gd name="connsiteX3" fmla="*/ 0 w 3451859"/>
                  <a:gd name="connsiteY3" fmla="*/ 3415665 h 3415665"/>
                  <a:gd name="connsiteX4" fmla="*/ 0 w 3451859"/>
                  <a:gd name="connsiteY4" fmla="*/ 2576895 h 34156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1859" h="3415665">
                    <a:moveTo>
                      <a:pt x="2592704" y="0"/>
                    </a:moveTo>
                    <a:lnTo>
                      <a:pt x="3451859" y="859155"/>
                    </a:lnTo>
                    <a:lnTo>
                      <a:pt x="879633" y="3415665"/>
                    </a:lnTo>
                    <a:lnTo>
                      <a:pt x="0" y="3415665"/>
                    </a:lnTo>
                    <a:lnTo>
                      <a:pt x="0" y="2576895"/>
                    </a:lnTo>
                    <a:close/>
                  </a:path>
                </a:pathLst>
              </a:custGeom>
              <a:solidFill>
                <a:schemeClr val="accent1"/>
              </a:solidFill>
              <a:ln>
                <a:noFill/>
              </a:ln>
            </p:spPr>
            <p:txBody>
              <a:bodyPr vert="horz" wrap="square" lIns="91440" tIns="45720" rIns="91440" bIns="45720" numCol="1" anchor="t" anchorCtr="0" compatLnSpc="1">
                <a:prstTxWarp prst="textNoShape">
                  <a:avLst/>
                </a:prstTxWarp>
                <a:normAutofit/>
              </a:bodyPr>
              <a:lstStyle>
                <a:defPPr>
                  <a:defRPr lang="id-ID"/>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id-ID"/>
              </a:p>
            </p:txBody>
          </p:sp>
          <p:sp>
            <p:nvSpPr>
              <p:cNvPr id="29" name="iṡ1iďé"/>
              <p:cNvSpPr txBox="1"/>
              <p:nvPr/>
            </p:nvSpPr>
            <p:spPr>
              <a:xfrm rot="18883833">
                <a:off x="144593" y="3943690"/>
                <a:ext cx="4356893" cy="1231257"/>
              </a:xfrm>
              <a:prstGeom prst="rect">
                <a:avLst/>
              </a:prstGeom>
            </p:spPr>
            <p:txBody>
              <a:bodyPr wrap="square" lIns="91440" tIns="45720" rIns="91440" bIns="45720" anchor="ctr" anchorCtr="0">
                <a:normAutofit/>
              </a:bodyPr>
              <a:lstStyle>
                <a:defPPr>
                  <a:defRPr lang="id-ID"/>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r>
                  <a:rPr lang="id-ID" sz="6600">
                    <a:solidFill>
                      <a:schemeClr val="bg2"/>
                    </a:solidFill>
                  </a:rPr>
                  <a:t>CO</a:t>
                </a:r>
                <a:r>
                  <a:rPr lang="id-ID" sz="100">
                    <a:solidFill>
                      <a:schemeClr val="bg2"/>
                    </a:solidFill>
                  </a:rPr>
                  <a:t> </a:t>
                </a:r>
                <a:r>
                  <a:rPr lang="id-ID" sz="6600">
                    <a:solidFill>
                      <a:schemeClr val="bg2"/>
                    </a:solidFill>
                  </a:rPr>
                  <a:t>NTENT</a:t>
                </a:r>
                <a:endParaRPr lang="id-ID" sz="6600" dirty="0">
                  <a:solidFill>
                    <a:schemeClr val="bg2"/>
                  </a:solidFill>
                </a:endParaRPr>
              </a:p>
            </p:txBody>
          </p:sp>
        </p:grpSp>
        <p:grpSp>
          <p:nvGrpSpPr>
            <p:cNvPr id="7" name="iṧlïdé"/>
            <p:cNvGrpSpPr/>
            <p:nvPr/>
          </p:nvGrpSpPr>
          <p:grpSpPr>
            <a:xfrm>
              <a:off x="6079590" y="2373086"/>
              <a:ext cx="5053009" cy="861180"/>
              <a:chOff x="6079590" y="1379079"/>
              <a:chExt cx="5053009" cy="861180"/>
            </a:xfrm>
          </p:grpSpPr>
          <p:grpSp>
            <p:nvGrpSpPr>
              <p:cNvPr id="20" name="ïṡḷïḓê"/>
              <p:cNvGrpSpPr/>
              <p:nvPr/>
            </p:nvGrpSpPr>
            <p:grpSpPr>
              <a:xfrm>
                <a:off x="6916519" y="1692607"/>
                <a:ext cx="194460" cy="234124"/>
                <a:chOff x="6932220" y="2026513"/>
                <a:chExt cx="194460" cy="234124"/>
              </a:xfrm>
            </p:grpSpPr>
            <p:sp>
              <p:nvSpPr>
                <p:cNvPr id="23" name="iş1ïḍe"/>
                <p:cNvSpPr/>
                <p:nvPr/>
              </p:nvSpPr>
              <p:spPr bwMode="auto">
                <a:xfrm>
                  <a:off x="6932220" y="2026513"/>
                  <a:ext cx="194460" cy="155899"/>
                </a:xfrm>
                <a:custGeom>
                  <a:avLst/>
                  <a:gdLst>
                    <a:gd name="T0" fmla="*/ 0 w 353"/>
                    <a:gd name="T1" fmla="*/ 0 h 283"/>
                    <a:gd name="T2" fmla="*/ 282 w 353"/>
                    <a:gd name="T3" fmla="*/ 283 h 283"/>
                    <a:gd name="T4" fmla="*/ 353 w 353"/>
                    <a:gd name="T5" fmla="*/ 212 h 283"/>
                    <a:gd name="T6" fmla="*/ 141 w 353"/>
                    <a:gd name="T7" fmla="*/ 0 h 283"/>
                    <a:gd name="T8" fmla="*/ 0 w 353"/>
                    <a:gd name="T9" fmla="*/ 0 h 283"/>
                  </a:gdLst>
                  <a:ahLst/>
                  <a:cxnLst>
                    <a:cxn ang="0">
                      <a:pos x="T0" y="T1"/>
                    </a:cxn>
                    <a:cxn ang="0">
                      <a:pos x="T2" y="T3"/>
                    </a:cxn>
                    <a:cxn ang="0">
                      <a:pos x="T4" y="T5"/>
                    </a:cxn>
                    <a:cxn ang="0">
                      <a:pos x="T6" y="T7"/>
                    </a:cxn>
                    <a:cxn ang="0">
                      <a:pos x="T8" y="T9"/>
                    </a:cxn>
                  </a:cxnLst>
                  <a:rect l="0" t="0" r="r" b="b"/>
                  <a:pathLst>
                    <a:path w="353" h="283">
                      <a:moveTo>
                        <a:pt x="0" y="0"/>
                      </a:moveTo>
                      <a:lnTo>
                        <a:pt x="282" y="283"/>
                      </a:lnTo>
                      <a:lnTo>
                        <a:pt x="353" y="212"/>
                      </a:lnTo>
                      <a:lnTo>
                        <a:pt x="141" y="0"/>
                      </a:lnTo>
                      <a:lnTo>
                        <a:pt x="0" y="0"/>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normAutofit fontScale="40000" lnSpcReduction="20000"/>
                </a:bodyPr>
                <a:lstStyle>
                  <a:defPPr>
                    <a:defRPr lang="id-ID"/>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id-ID"/>
                </a:p>
              </p:txBody>
            </p:sp>
            <p:sp>
              <p:nvSpPr>
                <p:cNvPr id="24" name="îşľîḍè"/>
                <p:cNvSpPr/>
                <p:nvPr/>
              </p:nvSpPr>
              <p:spPr bwMode="auto">
                <a:xfrm>
                  <a:off x="6932220" y="2104738"/>
                  <a:ext cx="194460" cy="155899"/>
                </a:xfrm>
                <a:custGeom>
                  <a:avLst/>
                  <a:gdLst>
                    <a:gd name="T0" fmla="*/ 0 w 353"/>
                    <a:gd name="T1" fmla="*/ 283 h 283"/>
                    <a:gd name="T2" fmla="*/ 282 w 353"/>
                    <a:gd name="T3" fmla="*/ 0 h 283"/>
                    <a:gd name="T4" fmla="*/ 353 w 353"/>
                    <a:gd name="T5" fmla="*/ 71 h 283"/>
                    <a:gd name="T6" fmla="*/ 141 w 353"/>
                    <a:gd name="T7" fmla="*/ 283 h 283"/>
                    <a:gd name="T8" fmla="*/ 0 w 353"/>
                    <a:gd name="T9" fmla="*/ 283 h 283"/>
                  </a:gdLst>
                  <a:ahLst/>
                  <a:cxnLst>
                    <a:cxn ang="0">
                      <a:pos x="T0" y="T1"/>
                    </a:cxn>
                    <a:cxn ang="0">
                      <a:pos x="T2" y="T3"/>
                    </a:cxn>
                    <a:cxn ang="0">
                      <a:pos x="T4" y="T5"/>
                    </a:cxn>
                    <a:cxn ang="0">
                      <a:pos x="T6" y="T7"/>
                    </a:cxn>
                    <a:cxn ang="0">
                      <a:pos x="T8" y="T9"/>
                    </a:cxn>
                  </a:cxnLst>
                  <a:rect l="0" t="0" r="r" b="b"/>
                  <a:pathLst>
                    <a:path w="353" h="283">
                      <a:moveTo>
                        <a:pt x="0" y="283"/>
                      </a:moveTo>
                      <a:lnTo>
                        <a:pt x="282" y="0"/>
                      </a:lnTo>
                      <a:lnTo>
                        <a:pt x="353" y="71"/>
                      </a:lnTo>
                      <a:lnTo>
                        <a:pt x="141" y="283"/>
                      </a:lnTo>
                      <a:lnTo>
                        <a:pt x="0" y="283"/>
                      </a:lnTo>
                      <a:close/>
                    </a:path>
                  </a:pathLst>
                </a:custGeom>
                <a:solidFill>
                  <a:schemeClr val="accent1"/>
                </a:solidFill>
                <a:ln>
                  <a:noFill/>
                </a:ln>
              </p:spPr>
              <p:txBody>
                <a:bodyPr vert="horz" wrap="square" lIns="91440" tIns="45720" rIns="91440" bIns="45720" numCol="1" anchor="t" anchorCtr="0" compatLnSpc="1">
                  <a:prstTxWarp prst="textNoShape">
                    <a:avLst/>
                  </a:prstTxWarp>
                  <a:normAutofit fontScale="40000" lnSpcReduction="20000"/>
                </a:bodyPr>
                <a:lstStyle>
                  <a:defPPr>
                    <a:defRPr lang="id-ID"/>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id-ID"/>
                </a:p>
              </p:txBody>
            </p:sp>
          </p:grpSp>
          <p:sp>
            <p:nvSpPr>
              <p:cNvPr id="21" name="íṥlîďé">
                <a:extLst>
                  <a:ext uri="{FF2B5EF4-FFF2-40B4-BE49-F238E27FC236}">
                    <a16:creationId xmlns:a16="http://schemas.microsoft.com/office/drawing/2014/main" id="{E709B91D-7F24-4B51-969D-56245AC1600A}"/>
                  </a:ext>
                </a:extLst>
              </p:cNvPr>
              <p:cNvSpPr/>
              <p:nvPr/>
            </p:nvSpPr>
            <p:spPr bwMode="auto">
              <a:xfrm>
                <a:off x="6079590" y="1440047"/>
                <a:ext cx="739244" cy="739244"/>
              </a:xfrm>
              <a:prstGeom prst="rect">
                <a:avLst/>
              </a:prstGeom>
              <a:noFill/>
              <a:ln w="19050">
                <a:noFill/>
                <a:round/>
                <a:headEnd/>
                <a:tailEnd/>
              </a:ln>
            </p:spPr>
            <p:txBody>
              <a:bodyPr rot="0" spcFirstLastPara="0" vert="horz" wrap="square" lIns="91440" tIns="45720" rIns="91440" bIns="45720" anchor="ctr" anchorCtr="0" forceAA="0" compatLnSpc="1">
                <a:prstTxWarp prst="textNoShape">
                  <a:avLst/>
                </a:prstTxWarp>
                <a:normAutofit/>
              </a:bodyPr>
              <a:lstStyle/>
              <a:p>
                <a:pPr algn="ctr"/>
                <a:r>
                  <a:rPr lang="en-US" altLang="zh-CN" sz="2800" dirty="0">
                    <a:solidFill>
                      <a:schemeClr val="bg1">
                        <a:lumMod val="65000"/>
                      </a:schemeClr>
                    </a:solidFill>
                  </a:rPr>
                  <a:t>0</a:t>
                </a:r>
                <a:r>
                  <a:rPr lang="en-US" altLang="zh-CN" sz="100" dirty="0">
                    <a:solidFill>
                      <a:schemeClr val="bg1">
                        <a:lumMod val="65000"/>
                      </a:schemeClr>
                    </a:solidFill>
                  </a:rPr>
                  <a:t> </a:t>
                </a:r>
                <a:r>
                  <a:rPr lang="en-US" altLang="zh-CN" sz="2800" dirty="0">
                    <a:solidFill>
                      <a:schemeClr val="bg1">
                        <a:lumMod val="65000"/>
                      </a:schemeClr>
                    </a:solidFill>
                  </a:rPr>
                  <a:t>1</a:t>
                </a:r>
              </a:p>
            </p:txBody>
          </p:sp>
          <p:sp>
            <p:nvSpPr>
              <p:cNvPr id="22" name="ïṡľîďé">
                <a:extLst>
                  <a:ext uri="{FF2B5EF4-FFF2-40B4-BE49-F238E27FC236}">
                    <a16:creationId xmlns:a16="http://schemas.microsoft.com/office/drawing/2014/main" id="{F8E07573-A8E5-42F7-B445-E2E8E3B47ABD}"/>
                  </a:ext>
                </a:extLst>
              </p:cNvPr>
              <p:cNvSpPr/>
              <p:nvPr/>
            </p:nvSpPr>
            <p:spPr bwMode="auto">
              <a:xfrm>
                <a:off x="7368467" y="1379079"/>
                <a:ext cx="3764132" cy="861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en-US" altLang="zh-CN" b="1" dirty="0"/>
                  <a:t>Public virus prevention measures</a:t>
                </a:r>
              </a:p>
            </p:txBody>
          </p:sp>
        </p:grpSp>
        <p:grpSp>
          <p:nvGrpSpPr>
            <p:cNvPr id="8" name="îS1ïde"/>
            <p:cNvGrpSpPr/>
            <p:nvPr/>
          </p:nvGrpSpPr>
          <p:grpSpPr>
            <a:xfrm>
              <a:off x="6079590" y="3201610"/>
              <a:ext cx="5053009" cy="861180"/>
              <a:chOff x="6079590" y="1379079"/>
              <a:chExt cx="5053009" cy="861180"/>
            </a:xfrm>
          </p:grpSpPr>
          <p:grpSp>
            <p:nvGrpSpPr>
              <p:cNvPr id="15" name="îṧľíḓè"/>
              <p:cNvGrpSpPr/>
              <p:nvPr/>
            </p:nvGrpSpPr>
            <p:grpSpPr>
              <a:xfrm>
                <a:off x="6916519" y="1692607"/>
                <a:ext cx="194460" cy="234124"/>
                <a:chOff x="6932220" y="2026513"/>
                <a:chExt cx="194460" cy="234124"/>
              </a:xfrm>
            </p:grpSpPr>
            <p:sp>
              <p:nvSpPr>
                <p:cNvPr id="18" name="íşḻïďè"/>
                <p:cNvSpPr/>
                <p:nvPr/>
              </p:nvSpPr>
              <p:spPr bwMode="auto">
                <a:xfrm>
                  <a:off x="6932220" y="2026513"/>
                  <a:ext cx="194460" cy="155899"/>
                </a:xfrm>
                <a:custGeom>
                  <a:avLst/>
                  <a:gdLst>
                    <a:gd name="T0" fmla="*/ 0 w 353"/>
                    <a:gd name="T1" fmla="*/ 0 h 283"/>
                    <a:gd name="T2" fmla="*/ 282 w 353"/>
                    <a:gd name="T3" fmla="*/ 283 h 283"/>
                    <a:gd name="T4" fmla="*/ 353 w 353"/>
                    <a:gd name="T5" fmla="*/ 212 h 283"/>
                    <a:gd name="T6" fmla="*/ 141 w 353"/>
                    <a:gd name="T7" fmla="*/ 0 h 283"/>
                    <a:gd name="T8" fmla="*/ 0 w 353"/>
                    <a:gd name="T9" fmla="*/ 0 h 283"/>
                  </a:gdLst>
                  <a:ahLst/>
                  <a:cxnLst>
                    <a:cxn ang="0">
                      <a:pos x="T0" y="T1"/>
                    </a:cxn>
                    <a:cxn ang="0">
                      <a:pos x="T2" y="T3"/>
                    </a:cxn>
                    <a:cxn ang="0">
                      <a:pos x="T4" y="T5"/>
                    </a:cxn>
                    <a:cxn ang="0">
                      <a:pos x="T6" y="T7"/>
                    </a:cxn>
                    <a:cxn ang="0">
                      <a:pos x="T8" y="T9"/>
                    </a:cxn>
                  </a:cxnLst>
                  <a:rect l="0" t="0" r="r" b="b"/>
                  <a:pathLst>
                    <a:path w="353" h="283">
                      <a:moveTo>
                        <a:pt x="0" y="0"/>
                      </a:moveTo>
                      <a:lnTo>
                        <a:pt x="282" y="283"/>
                      </a:lnTo>
                      <a:lnTo>
                        <a:pt x="353" y="212"/>
                      </a:lnTo>
                      <a:lnTo>
                        <a:pt x="141" y="0"/>
                      </a:lnTo>
                      <a:lnTo>
                        <a:pt x="0" y="0"/>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normAutofit fontScale="40000" lnSpcReduction="20000"/>
                </a:bodyPr>
                <a:lstStyle>
                  <a:defPPr>
                    <a:defRPr lang="id-ID"/>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id-ID"/>
                </a:p>
              </p:txBody>
            </p:sp>
            <p:sp>
              <p:nvSpPr>
                <p:cNvPr id="19" name="ïsľïḍé"/>
                <p:cNvSpPr/>
                <p:nvPr/>
              </p:nvSpPr>
              <p:spPr bwMode="auto">
                <a:xfrm>
                  <a:off x="6932220" y="2104738"/>
                  <a:ext cx="194460" cy="155899"/>
                </a:xfrm>
                <a:custGeom>
                  <a:avLst/>
                  <a:gdLst>
                    <a:gd name="T0" fmla="*/ 0 w 353"/>
                    <a:gd name="T1" fmla="*/ 283 h 283"/>
                    <a:gd name="T2" fmla="*/ 282 w 353"/>
                    <a:gd name="T3" fmla="*/ 0 h 283"/>
                    <a:gd name="T4" fmla="*/ 353 w 353"/>
                    <a:gd name="T5" fmla="*/ 71 h 283"/>
                    <a:gd name="T6" fmla="*/ 141 w 353"/>
                    <a:gd name="T7" fmla="*/ 283 h 283"/>
                    <a:gd name="T8" fmla="*/ 0 w 353"/>
                    <a:gd name="T9" fmla="*/ 283 h 283"/>
                  </a:gdLst>
                  <a:ahLst/>
                  <a:cxnLst>
                    <a:cxn ang="0">
                      <a:pos x="T0" y="T1"/>
                    </a:cxn>
                    <a:cxn ang="0">
                      <a:pos x="T2" y="T3"/>
                    </a:cxn>
                    <a:cxn ang="0">
                      <a:pos x="T4" y="T5"/>
                    </a:cxn>
                    <a:cxn ang="0">
                      <a:pos x="T6" y="T7"/>
                    </a:cxn>
                    <a:cxn ang="0">
                      <a:pos x="T8" y="T9"/>
                    </a:cxn>
                  </a:cxnLst>
                  <a:rect l="0" t="0" r="r" b="b"/>
                  <a:pathLst>
                    <a:path w="353" h="283">
                      <a:moveTo>
                        <a:pt x="0" y="283"/>
                      </a:moveTo>
                      <a:lnTo>
                        <a:pt x="282" y="0"/>
                      </a:lnTo>
                      <a:lnTo>
                        <a:pt x="353" y="71"/>
                      </a:lnTo>
                      <a:lnTo>
                        <a:pt x="141" y="283"/>
                      </a:lnTo>
                      <a:lnTo>
                        <a:pt x="0" y="283"/>
                      </a:lnTo>
                      <a:close/>
                    </a:path>
                  </a:pathLst>
                </a:custGeom>
                <a:solidFill>
                  <a:schemeClr val="accent1"/>
                </a:solidFill>
                <a:ln>
                  <a:noFill/>
                </a:ln>
              </p:spPr>
              <p:txBody>
                <a:bodyPr vert="horz" wrap="square" lIns="91440" tIns="45720" rIns="91440" bIns="45720" numCol="1" anchor="t" anchorCtr="0" compatLnSpc="1">
                  <a:prstTxWarp prst="textNoShape">
                    <a:avLst/>
                  </a:prstTxWarp>
                  <a:normAutofit fontScale="40000" lnSpcReduction="20000"/>
                </a:bodyPr>
                <a:lstStyle>
                  <a:defPPr>
                    <a:defRPr lang="id-ID"/>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id-ID"/>
                </a:p>
              </p:txBody>
            </p:sp>
          </p:grpSp>
          <p:sp>
            <p:nvSpPr>
              <p:cNvPr id="16" name="îŝlîdé">
                <a:extLst>
                  <a:ext uri="{FF2B5EF4-FFF2-40B4-BE49-F238E27FC236}">
                    <a16:creationId xmlns:a16="http://schemas.microsoft.com/office/drawing/2014/main" id="{E709B91D-7F24-4B51-969D-56245AC1600A}"/>
                  </a:ext>
                </a:extLst>
              </p:cNvPr>
              <p:cNvSpPr/>
              <p:nvPr/>
            </p:nvSpPr>
            <p:spPr bwMode="auto">
              <a:xfrm>
                <a:off x="6079590" y="1440047"/>
                <a:ext cx="739244" cy="739244"/>
              </a:xfrm>
              <a:prstGeom prst="rect">
                <a:avLst/>
              </a:prstGeom>
              <a:noFill/>
              <a:ln w="19050">
                <a:noFill/>
                <a:round/>
                <a:headEnd/>
                <a:tailEnd/>
              </a:ln>
            </p:spPr>
            <p:txBody>
              <a:bodyPr rot="0" spcFirstLastPara="0" vert="horz" wrap="square" lIns="91440" tIns="45720" rIns="91440" bIns="45720" anchor="ctr" anchorCtr="0" forceAA="0" compatLnSpc="1">
                <a:prstTxWarp prst="textNoShape">
                  <a:avLst/>
                </a:prstTxWarp>
                <a:normAutofit/>
              </a:bodyPr>
              <a:lstStyle/>
              <a:p>
                <a:pPr algn="ctr"/>
                <a:r>
                  <a:rPr lang="en-US" altLang="zh-CN" sz="2800">
                    <a:solidFill>
                      <a:schemeClr val="bg1">
                        <a:lumMod val="65000"/>
                      </a:schemeClr>
                    </a:solidFill>
                  </a:rPr>
                  <a:t>0</a:t>
                </a:r>
                <a:r>
                  <a:rPr lang="en-US" altLang="zh-CN" sz="100">
                    <a:solidFill>
                      <a:schemeClr val="bg1">
                        <a:lumMod val="65000"/>
                      </a:schemeClr>
                    </a:solidFill>
                  </a:rPr>
                  <a:t> </a:t>
                </a:r>
                <a:r>
                  <a:rPr lang="en-US" altLang="zh-CN" sz="2800">
                    <a:solidFill>
                      <a:schemeClr val="bg1">
                        <a:lumMod val="65000"/>
                      </a:schemeClr>
                    </a:solidFill>
                  </a:rPr>
                  <a:t>2</a:t>
                </a:r>
                <a:endParaRPr lang="en-US" altLang="zh-CN" sz="2800" dirty="0">
                  <a:solidFill>
                    <a:schemeClr val="bg1">
                      <a:lumMod val="65000"/>
                    </a:schemeClr>
                  </a:solidFill>
                </a:endParaRPr>
              </a:p>
            </p:txBody>
          </p:sp>
          <p:sp>
            <p:nvSpPr>
              <p:cNvPr id="17" name="ï$ľîḓe">
                <a:extLst>
                  <a:ext uri="{FF2B5EF4-FFF2-40B4-BE49-F238E27FC236}">
                    <a16:creationId xmlns:a16="http://schemas.microsoft.com/office/drawing/2014/main" id="{F8E07573-A8E5-42F7-B445-E2E8E3B47ABD}"/>
                  </a:ext>
                </a:extLst>
              </p:cNvPr>
              <p:cNvSpPr/>
              <p:nvPr/>
            </p:nvSpPr>
            <p:spPr bwMode="auto">
              <a:xfrm>
                <a:off x="7368467" y="1379079"/>
                <a:ext cx="3764132" cy="861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lnSpcReduction="1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en-US" altLang="zh-CN" b="1" dirty="0"/>
                  <a:t>Prevention in after virus epidemic areas</a:t>
                </a:r>
              </a:p>
            </p:txBody>
          </p:sp>
        </p:grpSp>
        <p:grpSp>
          <p:nvGrpSpPr>
            <p:cNvPr id="9" name="ïs1íḋê"/>
            <p:cNvGrpSpPr/>
            <p:nvPr/>
          </p:nvGrpSpPr>
          <p:grpSpPr>
            <a:xfrm>
              <a:off x="6079590" y="4030134"/>
              <a:ext cx="5053009" cy="861180"/>
              <a:chOff x="6079590" y="1379079"/>
              <a:chExt cx="5053009" cy="861180"/>
            </a:xfrm>
          </p:grpSpPr>
          <p:grpSp>
            <p:nvGrpSpPr>
              <p:cNvPr id="10" name="iṩḷíḍé"/>
              <p:cNvGrpSpPr/>
              <p:nvPr/>
            </p:nvGrpSpPr>
            <p:grpSpPr>
              <a:xfrm>
                <a:off x="6916519" y="1692607"/>
                <a:ext cx="194460" cy="234124"/>
                <a:chOff x="6932220" y="2026513"/>
                <a:chExt cx="194460" cy="234124"/>
              </a:xfrm>
            </p:grpSpPr>
            <p:sp>
              <p:nvSpPr>
                <p:cNvPr id="13" name="îśļîḋé"/>
                <p:cNvSpPr/>
                <p:nvPr/>
              </p:nvSpPr>
              <p:spPr bwMode="auto">
                <a:xfrm>
                  <a:off x="6932220" y="2026513"/>
                  <a:ext cx="194460" cy="155899"/>
                </a:xfrm>
                <a:custGeom>
                  <a:avLst/>
                  <a:gdLst>
                    <a:gd name="T0" fmla="*/ 0 w 353"/>
                    <a:gd name="T1" fmla="*/ 0 h 283"/>
                    <a:gd name="T2" fmla="*/ 282 w 353"/>
                    <a:gd name="T3" fmla="*/ 283 h 283"/>
                    <a:gd name="T4" fmla="*/ 353 w 353"/>
                    <a:gd name="T5" fmla="*/ 212 h 283"/>
                    <a:gd name="T6" fmla="*/ 141 w 353"/>
                    <a:gd name="T7" fmla="*/ 0 h 283"/>
                    <a:gd name="T8" fmla="*/ 0 w 353"/>
                    <a:gd name="T9" fmla="*/ 0 h 283"/>
                  </a:gdLst>
                  <a:ahLst/>
                  <a:cxnLst>
                    <a:cxn ang="0">
                      <a:pos x="T0" y="T1"/>
                    </a:cxn>
                    <a:cxn ang="0">
                      <a:pos x="T2" y="T3"/>
                    </a:cxn>
                    <a:cxn ang="0">
                      <a:pos x="T4" y="T5"/>
                    </a:cxn>
                    <a:cxn ang="0">
                      <a:pos x="T6" y="T7"/>
                    </a:cxn>
                    <a:cxn ang="0">
                      <a:pos x="T8" y="T9"/>
                    </a:cxn>
                  </a:cxnLst>
                  <a:rect l="0" t="0" r="r" b="b"/>
                  <a:pathLst>
                    <a:path w="353" h="283">
                      <a:moveTo>
                        <a:pt x="0" y="0"/>
                      </a:moveTo>
                      <a:lnTo>
                        <a:pt x="282" y="283"/>
                      </a:lnTo>
                      <a:lnTo>
                        <a:pt x="353" y="212"/>
                      </a:lnTo>
                      <a:lnTo>
                        <a:pt x="141" y="0"/>
                      </a:lnTo>
                      <a:lnTo>
                        <a:pt x="0" y="0"/>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normAutofit fontScale="40000" lnSpcReduction="20000"/>
                </a:bodyPr>
                <a:lstStyle>
                  <a:defPPr>
                    <a:defRPr lang="id-ID"/>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id-ID"/>
                </a:p>
              </p:txBody>
            </p:sp>
            <p:sp>
              <p:nvSpPr>
                <p:cNvPr id="14" name="iṥ1îḑé"/>
                <p:cNvSpPr/>
                <p:nvPr/>
              </p:nvSpPr>
              <p:spPr bwMode="auto">
                <a:xfrm>
                  <a:off x="6932220" y="2104738"/>
                  <a:ext cx="194460" cy="155899"/>
                </a:xfrm>
                <a:custGeom>
                  <a:avLst/>
                  <a:gdLst>
                    <a:gd name="T0" fmla="*/ 0 w 353"/>
                    <a:gd name="T1" fmla="*/ 283 h 283"/>
                    <a:gd name="T2" fmla="*/ 282 w 353"/>
                    <a:gd name="T3" fmla="*/ 0 h 283"/>
                    <a:gd name="T4" fmla="*/ 353 w 353"/>
                    <a:gd name="T5" fmla="*/ 71 h 283"/>
                    <a:gd name="T6" fmla="*/ 141 w 353"/>
                    <a:gd name="T7" fmla="*/ 283 h 283"/>
                    <a:gd name="T8" fmla="*/ 0 w 353"/>
                    <a:gd name="T9" fmla="*/ 283 h 283"/>
                  </a:gdLst>
                  <a:ahLst/>
                  <a:cxnLst>
                    <a:cxn ang="0">
                      <a:pos x="T0" y="T1"/>
                    </a:cxn>
                    <a:cxn ang="0">
                      <a:pos x="T2" y="T3"/>
                    </a:cxn>
                    <a:cxn ang="0">
                      <a:pos x="T4" y="T5"/>
                    </a:cxn>
                    <a:cxn ang="0">
                      <a:pos x="T6" y="T7"/>
                    </a:cxn>
                    <a:cxn ang="0">
                      <a:pos x="T8" y="T9"/>
                    </a:cxn>
                  </a:cxnLst>
                  <a:rect l="0" t="0" r="r" b="b"/>
                  <a:pathLst>
                    <a:path w="353" h="283">
                      <a:moveTo>
                        <a:pt x="0" y="283"/>
                      </a:moveTo>
                      <a:lnTo>
                        <a:pt x="282" y="0"/>
                      </a:lnTo>
                      <a:lnTo>
                        <a:pt x="353" y="71"/>
                      </a:lnTo>
                      <a:lnTo>
                        <a:pt x="141" y="283"/>
                      </a:lnTo>
                      <a:lnTo>
                        <a:pt x="0" y="283"/>
                      </a:lnTo>
                      <a:close/>
                    </a:path>
                  </a:pathLst>
                </a:custGeom>
                <a:solidFill>
                  <a:schemeClr val="accent1"/>
                </a:solidFill>
                <a:ln>
                  <a:noFill/>
                </a:ln>
              </p:spPr>
              <p:txBody>
                <a:bodyPr vert="horz" wrap="square" lIns="91440" tIns="45720" rIns="91440" bIns="45720" numCol="1" anchor="t" anchorCtr="0" compatLnSpc="1">
                  <a:prstTxWarp prst="textNoShape">
                    <a:avLst/>
                  </a:prstTxWarp>
                  <a:normAutofit fontScale="40000" lnSpcReduction="20000"/>
                </a:bodyPr>
                <a:lstStyle>
                  <a:defPPr>
                    <a:defRPr lang="id-ID"/>
                  </a:defPPr>
                  <a:lvl1pPr marL="0" algn="l" defTabSz="685800" rtl="0" eaLnBrk="1" latinLnBrk="0" hangingPunct="1">
                    <a:defRPr sz="1350" kern="1200">
                      <a:solidFill>
                        <a:schemeClr val="tx1"/>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endParaRPr lang="id-ID"/>
                </a:p>
              </p:txBody>
            </p:sp>
          </p:grpSp>
          <p:sp>
            <p:nvSpPr>
              <p:cNvPr id="11" name="íşḻiḓe">
                <a:extLst>
                  <a:ext uri="{FF2B5EF4-FFF2-40B4-BE49-F238E27FC236}">
                    <a16:creationId xmlns:a16="http://schemas.microsoft.com/office/drawing/2014/main" id="{E709B91D-7F24-4B51-969D-56245AC1600A}"/>
                  </a:ext>
                </a:extLst>
              </p:cNvPr>
              <p:cNvSpPr/>
              <p:nvPr/>
            </p:nvSpPr>
            <p:spPr bwMode="auto">
              <a:xfrm>
                <a:off x="6079590" y="1440047"/>
                <a:ext cx="739244" cy="739244"/>
              </a:xfrm>
              <a:prstGeom prst="rect">
                <a:avLst/>
              </a:prstGeom>
              <a:noFill/>
              <a:ln w="19050">
                <a:noFill/>
                <a:round/>
                <a:headEnd/>
                <a:tailEnd/>
              </a:ln>
            </p:spPr>
            <p:txBody>
              <a:bodyPr rot="0" spcFirstLastPara="0" vert="horz" wrap="square" lIns="91440" tIns="45720" rIns="91440" bIns="45720" anchor="ctr" anchorCtr="0" forceAA="0" compatLnSpc="1">
                <a:prstTxWarp prst="textNoShape">
                  <a:avLst/>
                </a:prstTxWarp>
                <a:normAutofit/>
              </a:bodyPr>
              <a:lstStyle/>
              <a:p>
                <a:pPr algn="ctr"/>
                <a:r>
                  <a:rPr lang="en-US" altLang="zh-CN" sz="2800">
                    <a:solidFill>
                      <a:schemeClr val="bg1">
                        <a:lumMod val="65000"/>
                      </a:schemeClr>
                    </a:solidFill>
                  </a:rPr>
                  <a:t>0</a:t>
                </a:r>
                <a:r>
                  <a:rPr lang="en-US" altLang="zh-CN" sz="100">
                    <a:solidFill>
                      <a:schemeClr val="bg1">
                        <a:lumMod val="65000"/>
                      </a:schemeClr>
                    </a:solidFill>
                  </a:rPr>
                  <a:t> </a:t>
                </a:r>
                <a:r>
                  <a:rPr lang="en-US" altLang="zh-CN" sz="2800">
                    <a:solidFill>
                      <a:schemeClr val="bg1">
                        <a:lumMod val="65000"/>
                      </a:schemeClr>
                    </a:solidFill>
                  </a:rPr>
                  <a:t>3</a:t>
                </a:r>
                <a:endParaRPr lang="en-US" altLang="zh-CN" sz="2800" dirty="0">
                  <a:solidFill>
                    <a:schemeClr val="bg1">
                      <a:lumMod val="65000"/>
                    </a:schemeClr>
                  </a:solidFill>
                </a:endParaRPr>
              </a:p>
            </p:txBody>
          </p:sp>
          <p:sp>
            <p:nvSpPr>
              <p:cNvPr id="12" name="ïṩ1îḋe">
                <a:extLst>
                  <a:ext uri="{FF2B5EF4-FFF2-40B4-BE49-F238E27FC236}">
                    <a16:creationId xmlns:a16="http://schemas.microsoft.com/office/drawing/2014/main" id="{F8E07573-A8E5-42F7-B445-E2E8E3B47ABD}"/>
                  </a:ext>
                </a:extLst>
              </p:cNvPr>
              <p:cNvSpPr/>
              <p:nvPr/>
            </p:nvSpPr>
            <p:spPr bwMode="auto">
              <a:xfrm>
                <a:off x="7368467" y="1379079"/>
                <a:ext cx="3764132" cy="861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en-GB" altLang="zh-CN" b="1" dirty="0"/>
                  <a:t>Virus protection in public areas</a:t>
                </a:r>
                <a:endParaRPr lang="en-US" altLang="zh-CN" b="1" dirty="0"/>
              </a:p>
            </p:txBody>
          </p:sp>
        </p:grpSp>
      </p:grpSp>
    </p:spTree>
    <p:extLst>
      <p:ext uri="{BB962C8B-B14F-4D97-AF65-F5344CB8AC3E}">
        <p14:creationId xmlns:p14="http://schemas.microsoft.com/office/powerpoint/2010/main" val="2876613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ïṧļiďé"/>
        <p:cNvGrpSpPr/>
        <p:nvPr/>
      </p:nvGrpSpPr>
      <p:grpSpPr>
        <a:xfrm>
          <a:off x="0" y="0"/>
          <a:ext cx="0" cy="0"/>
          <a:chOff x="0" y="0"/>
          <a:chExt cx="0" cy="0"/>
        </a:xfrm>
      </p:grpSpPr>
      <p:sp>
        <p:nvSpPr>
          <p:cNvPr id="5" name="îṣļídé"/>
          <p:cNvSpPr>
            <a:spLocks noGrp="1"/>
          </p:cNvSpPr>
          <p:nvPr>
            <p:ph type="title"/>
          </p:nvPr>
        </p:nvSpPr>
        <p:spPr/>
        <p:txBody>
          <a:bodyPr/>
          <a:lstStyle/>
          <a:p>
            <a:r>
              <a:rPr lang="en-US" altLang="zh-CN" b="1" dirty="0"/>
              <a:t>Public virus prevention measures</a:t>
            </a:r>
            <a:endParaRPr lang="zh-CN" altLang="en-US" dirty="0"/>
          </a:p>
        </p:txBody>
      </p:sp>
      <p:sp>
        <p:nvSpPr>
          <p:cNvPr id="6" name="îŝļïḓé"/>
          <p:cNvSpPr>
            <a:spLocks noGrp="1"/>
          </p:cNvSpPr>
          <p:nvPr>
            <p:ph type="body" idx="1"/>
          </p:nvPr>
        </p:nvSpPr>
        <p:spPr/>
        <p:txBody>
          <a:bodyPr/>
          <a:lstStyle/>
          <a:p>
            <a:pPr lvl="0"/>
            <a:r>
              <a:rPr lang="en-US" altLang="zh-CN" dirty="0"/>
              <a:t>Supporting text here.</a:t>
            </a:r>
          </a:p>
          <a:p>
            <a:pPr lvl="0"/>
            <a:r>
              <a:rPr lang="en-US" altLang="zh-CN" dirty="0"/>
              <a:t>When you copy &amp; paste, choose "keep text only" option.</a:t>
            </a:r>
            <a:endParaRPr lang="zh-CN" altLang="en-US" dirty="0"/>
          </a:p>
        </p:txBody>
      </p:sp>
      <p:cxnSp>
        <p:nvCxnSpPr>
          <p:cNvPr id="3" name="ís1îḑê">
            <a:extLst>
              <a:ext uri="{FF2B5EF4-FFF2-40B4-BE49-F238E27FC236}">
                <a16:creationId xmlns:a16="http://schemas.microsoft.com/office/drawing/2014/main" id="{5462E359-6463-4103-B628-E98E06C05E01}"/>
              </a:ext>
            </a:extLst>
          </p:cNvPr>
          <p:cNvCxnSpPr>
            <a:cxnSpLocks/>
          </p:cNvCxnSpPr>
          <p:nvPr/>
        </p:nvCxnSpPr>
        <p:spPr>
          <a:xfrm>
            <a:off x="5489847" y="3479800"/>
            <a:ext cx="6702153" cy="0"/>
          </a:xfrm>
          <a:prstGeom prst="line">
            <a:avLst/>
          </a:prstGeom>
        </p:spPr>
        <p:style>
          <a:lnRef idx="1">
            <a:schemeClr val="accent1"/>
          </a:lnRef>
          <a:fillRef idx="0">
            <a:schemeClr val="accent1"/>
          </a:fillRef>
          <a:effectRef idx="0">
            <a:schemeClr val="accent1"/>
          </a:effectRef>
          <a:fontRef idx="minor">
            <a:schemeClr val="tx1"/>
          </a:fontRef>
        </p:style>
      </p:cxnSp>
      <p:sp>
        <p:nvSpPr>
          <p:cNvPr id="7" name="iṩľiḓê">
            <a:extLst>
              <a:ext uri="{FF2B5EF4-FFF2-40B4-BE49-F238E27FC236}">
                <a16:creationId xmlns:a16="http://schemas.microsoft.com/office/drawing/2014/main" id="{3B2695F9-836E-4BAB-9C63-A30282033AEB}"/>
              </a:ext>
            </a:extLst>
          </p:cNvPr>
          <p:cNvSpPr txBox="1"/>
          <p:nvPr/>
        </p:nvSpPr>
        <p:spPr>
          <a:xfrm>
            <a:off x="5489847" y="2242733"/>
            <a:ext cx="1742303" cy="1323439"/>
          </a:xfrm>
          <a:prstGeom prst="rect">
            <a:avLst/>
          </a:prstGeom>
          <a:noFill/>
        </p:spPr>
        <p:txBody>
          <a:bodyPr wrap="square" rtlCol="0">
            <a:spAutoFit/>
          </a:bodyPr>
          <a:lstStyle/>
          <a:p>
            <a:r>
              <a:rPr lang="en-US" altLang="zh-CN" sz="8000" dirty="0">
                <a:solidFill>
                  <a:schemeClr val="accent1"/>
                </a:solidFill>
                <a:latin typeface="Impact" panose="020B0806030902050204" pitchFamily="34" charset="0"/>
              </a:rPr>
              <a:t>/01</a:t>
            </a:r>
            <a:endParaRPr lang="zh-CN" altLang="en-US" sz="8000" dirty="0">
              <a:solidFill>
                <a:schemeClr val="accent1"/>
              </a:solidFill>
              <a:latin typeface="Impact" panose="020B0806030902050204" pitchFamily="34" charset="0"/>
            </a:endParaRPr>
          </a:p>
        </p:txBody>
      </p:sp>
    </p:spTree>
    <p:extLst>
      <p:ext uri="{BB962C8B-B14F-4D97-AF65-F5344CB8AC3E}">
        <p14:creationId xmlns:p14="http://schemas.microsoft.com/office/powerpoint/2010/main" val="23715973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GB" b="0" i="0" dirty="0">
                <a:solidFill>
                  <a:srgbClr val="000000"/>
                </a:solidFill>
                <a:effectLst/>
                <a:latin typeface="Roboto" panose="02000000000000000000" pitchFamily="2" charset="0"/>
              </a:rPr>
              <a:t>Public virus prevention measures</a:t>
            </a:r>
            <a:endParaRPr lang="zh-CN" altLang="en-US" dirty="0"/>
          </a:p>
        </p:txBody>
      </p:sp>
      <p:sp>
        <p:nvSpPr>
          <p:cNvPr id="3" name="页脚占位符 2"/>
          <p:cNvSpPr>
            <a:spLocks noGrp="1"/>
          </p:cNvSpPr>
          <p:nvPr>
            <p:ph type="ftr" sz="quarter" idx="11"/>
          </p:nvPr>
        </p:nvSpPr>
        <p:spPr/>
        <p:txBody>
          <a:bodyPr/>
          <a:lstStyle/>
          <a:p>
            <a:r>
              <a:rPr lang="en-GB" altLang="zh-CN" dirty="0"/>
              <a:t>https://iSlide-PowerPoint.com </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4</a:t>
            </a:fld>
            <a:endParaRPr lang="zh-CN" altLang="en-US"/>
          </a:p>
        </p:txBody>
      </p:sp>
      <p:grpSp>
        <p:nvGrpSpPr>
          <p:cNvPr id="5" name="277637"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673099" y="1317314"/>
            <a:ext cx="10845801" cy="4642472"/>
            <a:chOff x="673099" y="1317314"/>
            <a:chExt cx="10845801" cy="4642472"/>
          </a:xfrm>
        </p:grpSpPr>
        <p:sp>
          <p:nvSpPr>
            <p:cNvPr id="6" name="iṣḻíḋè">
              <a:extLst>
                <a:ext uri="{FF2B5EF4-FFF2-40B4-BE49-F238E27FC236}">
                  <a16:creationId xmlns:a16="http://schemas.microsoft.com/office/drawing/2014/main" id="{A1F86F39-251F-4601-AC8B-0126F9478D2E}"/>
                </a:ext>
              </a:extLst>
            </p:cNvPr>
            <p:cNvSpPr/>
            <p:nvPr/>
          </p:nvSpPr>
          <p:spPr>
            <a:xfrm>
              <a:off x="8039933" y="2978142"/>
              <a:ext cx="3478967" cy="1320816"/>
            </a:xfrm>
            <a:prstGeom prst="rect">
              <a:avLst/>
            </a:prstGeom>
            <a:solidFill>
              <a:schemeClr val="bg1">
                <a:lumMod val="95000"/>
              </a:schemeClr>
            </a:solidFill>
            <a:ln w="3175">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ctr" anchorCtr="0">
              <a:normAutofit/>
            </a:bodyPr>
            <a:lstStyle/>
            <a:p>
              <a:pPr algn="ctr">
                <a:lnSpc>
                  <a:spcPct val="150000"/>
                </a:lnSpc>
              </a:pPr>
              <a:r>
                <a:rPr lang="en-US" altLang="zh-CN" b="1" kern="0">
                  <a:solidFill>
                    <a:schemeClr val="tx1"/>
                  </a:solidFill>
                </a:rPr>
                <a:t>…</a:t>
              </a:r>
              <a:r>
                <a:rPr lang="en-US" altLang="zh-CN" sz="100" b="1" kern="0">
                  <a:solidFill>
                    <a:schemeClr val="tx1"/>
                  </a:solidFill>
                </a:rPr>
                <a:t> </a:t>
              </a:r>
              <a:r>
                <a:rPr lang="en-US" altLang="zh-CN" b="1" kern="0">
                  <a:solidFill>
                    <a:schemeClr val="tx1"/>
                  </a:solidFill>
                </a:rPr>
                <a:t>TEXT</a:t>
              </a:r>
              <a:endParaRPr lang="en-US" altLang="zh-CN" b="1" kern="0" dirty="0">
                <a:solidFill>
                  <a:schemeClr val="tx1"/>
                </a:solidFill>
              </a:endParaRPr>
            </a:p>
          </p:txBody>
        </p:sp>
        <p:sp>
          <p:nvSpPr>
            <p:cNvPr id="7" name="íşḷíďe">
              <a:extLst>
                <a:ext uri="{FF2B5EF4-FFF2-40B4-BE49-F238E27FC236}">
                  <a16:creationId xmlns:a16="http://schemas.microsoft.com/office/drawing/2014/main" id="{A1F86F39-251F-4601-AC8B-0126F9478D2E}"/>
                </a:ext>
              </a:extLst>
            </p:cNvPr>
            <p:cNvSpPr/>
            <p:nvPr/>
          </p:nvSpPr>
          <p:spPr>
            <a:xfrm>
              <a:off x="673099" y="2978142"/>
              <a:ext cx="3478967" cy="1320816"/>
            </a:xfrm>
            <a:prstGeom prst="rect">
              <a:avLst/>
            </a:prstGeom>
            <a:solidFill>
              <a:schemeClr val="bg1">
                <a:lumMod val="95000"/>
              </a:schemeClr>
            </a:solidFill>
            <a:ln w="3175">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ctr" anchorCtr="0">
              <a:normAutofit/>
            </a:bodyPr>
            <a:lstStyle/>
            <a:p>
              <a:pPr algn="ctr">
                <a:lnSpc>
                  <a:spcPct val="150000"/>
                </a:lnSpc>
              </a:pPr>
              <a:r>
                <a:rPr lang="en-US" altLang="zh-CN" b="1" kern="0">
                  <a:solidFill>
                    <a:schemeClr val="tx1"/>
                  </a:solidFill>
                </a:rPr>
                <a:t>…</a:t>
              </a:r>
              <a:r>
                <a:rPr lang="en-US" altLang="zh-CN" sz="100" b="1" kern="0">
                  <a:solidFill>
                    <a:schemeClr val="tx1"/>
                  </a:solidFill>
                </a:rPr>
                <a:t> </a:t>
              </a:r>
              <a:r>
                <a:rPr lang="en-US" altLang="zh-CN" b="1" kern="0">
                  <a:solidFill>
                    <a:schemeClr val="tx1"/>
                  </a:solidFill>
                </a:rPr>
                <a:t>TEXT</a:t>
              </a:r>
              <a:endParaRPr lang="en-US" altLang="zh-CN" dirty="0">
                <a:solidFill>
                  <a:schemeClr val="tx1"/>
                </a:solidFill>
              </a:endParaRPr>
            </a:p>
          </p:txBody>
        </p:sp>
        <p:sp>
          <p:nvSpPr>
            <p:cNvPr id="8" name="iṩlídê">
              <a:extLst>
                <a:ext uri="{FF2B5EF4-FFF2-40B4-BE49-F238E27FC236}">
                  <a16:creationId xmlns:a16="http://schemas.microsoft.com/office/drawing/2014/main" id="{C4DEE7B5-B7D3-4B78-9276-2925B217FCF7}"/>
                </a:ext>
              </a:extLst>
            </p:cNvPr>
            <p:cNvSpPr/>
            <p:nvPr/>
          </p:nvSpPr>
          <p:spPr bwMode="auto">
            <a:xfrm>
              <a:off x="4152066" y="1684946"/>
              <a:ext cx="3865570" cy="390720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600" y="0"/>
                  </a:lnTo>
                  <a:lnTo>
                    <a:pt x="21600" y="21599"/>
                  </a:lnTo>
                  <a:lnTo>
                    <a:pt x="0" y="21599"/>
                  </a:lnTo>
                  <a:lnTo>
                    <a:pt x="0" y="0"/>
                  </a:lnTo>
                  <a:cubicBezTo>
                    <a:pt x="3599" y="0"/>
                    <a:pt x="7199" y="0"/>
                    <a:pt x="10800" y="0"/>
                  </a:cubicBezTo>
                </a:path>
              </a:pathLst>
            </a:custGeom>
            <a:pattFill prst="dkDnDiag">
              <a:fgClr>
                <a:schemeClr val="bg1">
                  <a:lumMod val="95000"/>
                </a:schemeClr>
              </a:fgClr>
              <a:bgClr>
                <a:schemeClr val="bg1"/>
              </a:bgClr>
            </a:pattFill>
            <a:ln w="190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dirty="0">
                <a:solidFill>
                  <a:schemeClr val="lt1"/>
                </a:solidFill>
              </a:endParaRPr>
            </a:p>
          </p:txBody>
        </p:sp>
        <p:grpSp>
          <p:nvGrpSpPr>
            <p:cNvPr id="9" name="ísḷíḋe"/>
            <p:cNvGrpSpPr/>
            <p:nvPr/>
          </p:nvGrpSpPr>
          <p:grpSpPr>
            <a:xfrm>
              <a:off x="5912337" y="1512432"/>
              <a:ext cx="345028" cy="345028"/>
              <a:chOff x="5990341" y="1590436"/>
              <a:chExt cx="189020" cy="189020"/>
            </a:xfrm>
          </p:grpSpPr>
          <p:sp>
            <p:nvSpPr>
              <p:cNvPr id="43" name="íṧ1ïďê">
                <a:extLst>
                  <a:ext uri="{FF2B5EF4-FFF2-40B4-BE49-F238E27FC236}">
                    <a16:creationId xmlns:a16="http://schemas.microsoft.com/office/drawing/2014/main" id="{3964C6A6-1838-40A5-BA31-0F7CC00D58F7}"/>
                  </a:ext>
                </a:extLst>
              </p:cNvPr>
              <p:cNvSpPr/>
              <p:nvPr/>
            </p:nvSpPr>
            <p:spPr>
              <a:xfrm>
                <a:off x="5990341" y="1590436"/>
                <a:ext cx="189020" cy="189020"/>
              </a:xfrm>
              <a:prstGeom prst="flowChartConnector">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sp>
            <p:nvSpPr>
              <p:cNvPr id="44" name="îṡ1ïḓè">
                <a:extLst>
                  <a:ext uri="{FF2B5EF4-FFF2-40B4-BE49-F238E27FC236}">
                    <a16:creationId xmlns:a16="http://schemas.microsoft.com/office/drawing/2014/main" id="{B528C8E1-7A14-4DB0-B6BB-D0BBA31D64B1}"/>
                  </a:ext>
                </a:extLst>
              </p:cNvPr>
              <p:cNvSpPr/>
              <p:nvPr/>
            </p:nvSpPr>
            <p:spPr>
              <a:xfrm rot="5400000">
                <a:off x="6041231" y="1647343"/>
                <a:ext cx="87240" cy="75207"/>
              </a:xfrm>
              <a:prstGeom prst="triangl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grpSp>
        <p:grpSp>
          <p:nvGrpSpPr>
            <p:cNvPr id="10" name="îŝļídê"/>
            <p:cNvGrpSpPr/>
            <p:nvPr/>
          </p:nvGrpSpPr>
          <p:grpSpPr>
            <a:xfrm>
              <a:off x="5912337" y="5419640"/>
              <a:ext cx="345028" cy="345028"/>
              <a:chOff x="5990341" y="5497644"/>
              <a:chExt cx="189020" cy="189020"/>
            </a:xfrm>
          </p:grpSpPr>
          <p:sp>
            <p:nvSpPr>
              <p:cNvPr id="41" name="iṡļíḑé">
                <a:extLst>
                  <a:ext uri="{FF2B5EF4-FFF2-40B4-BE49-F238E27FC236}">
                    <a16:creationId xmlns:a16="http://schemas.microsoft.com/office/drawing/2014/main" id="{3964C6A6-1838-40A5-BA31-0F7CC00D58F7}"/>
                  </a:ext>
                </a:extLst>
              </p:cNvPr>
              <p:cNvSpPr/>
              <p:nvPr/>
            </p:nvSpPr>
            <p:spPr>
              <a:xfrm>
                <a:off x="5990341" y="5497644"/>
                <a:ext cx="189020" cy="189020"/>
              </a:xfrm>
              <a:prstGeom prst="flowChartConnector">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sp>
            <p:nvSpPr>
              <p:cNvPr id="42" name="iṡļiďê">
                <a:extLst>
                  <a:ext uri="{FF2B5EF4-FFF2-40B4-BE49-F238E27FC236}">
                    <a16:creationId xmlns:a16="http://schemas.microsoft.com/office/drawing/2014/main" id="{B528C8E1-7A14-4DB0-B6BB-D0BBA31D64B1}"/>
                  </a:ext>
                </a:extLst>
              </p:cNvPr>
              <p:cNvSpPr/>
              <p:nvPr/>
            </p:nvSpPr>
            <p:spPr>
              <a:xfrm rot="16200000" flipH="1">
                <a:off x="6041231" y="5554551"/>
                <a:ext cx="87240" cy="75207"/>
              </a:xfrm>
              <a:prstGeom prst="triangl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grpSp>
        <p:grpSp>
          <p:nvGrpSpPr>
            <p:cNvPr id="11" name="íŝľíďè"/>
            <p:cNvGrpSpPr/>
            <p:nvPr/>
          </p:nvGrpSpPr>
          <p:grpSpPr>
            <a:xfrm>
              <a:off x="7848341" y="3466036"/>
              <a:ext cx="345028" cy="345028"/>
              <a:chOff x="7848341" y="3466036"/>
              <a:chExt cx="345028" cy="345028"/>
            </a:xfrm>
          </p:grpSpPr>
          <p:sp>
            <p:nvSpPr>
              <p:cNvPr id="39" name="îṥlïḍê">
                <a:extLst>
                  <a:ext uri="{FF2B5EF4-FFF2-40B4-BE49-F238E27FC236}">
                    <a16:creationId xmlns:a16="http://schemas.microsoft.com/office/drawing/2014/main" id="{3964C6A6-1838-40A5-BA31-0F7CC00D58F7}"/>
                  </a:ext>
                </a:extLst>
              </p:cNvPr>
              <p:cNvSpPr/>
              <p:nvPr/>
            </p:nvSpPr>
            <p:spPr>
              <a:xfrm>
                <a:off x="7848341" y="3466036"/>
                <a:ext cx="345028" cy="345028"/>
              </a:xfrm>
              <a:prstGeom prst="flowChartConnector">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sp>
            <p:nvSpPr>
              <p:cNvPr id="40" name="ïšlïdé">
                <a:extLst>
                  <a:ext uri="{FF2B5EF4-FFF2-40B4-BE49-F238E27FC236}">
                    <a16:creationId xmlns:a16="http://schemas.microsoft.com/office/drawing/2014/main" id="{B528C8E1-7A14-4DB0-B6BB-D0BBA31D64B1}"/>
                  </a:ext>
                </a:extLst>
              </p:cNvPr>
              <p:cNvSpPr/>
              <p:nvPr/>
            </p:nvSpPr>
            <p:spPr>
              <a:xfrm rot="10800000">
                <a:off x="7941233" y="3569911"/>
                <a:ext cx="159244" cy="137278"/>
              </a:xfrm>
              <a:prstGeom prst="triangl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grpSp>
        <p:grpSp>
          <p:nvGrpSpPr>
            <p:cNvPr id="12" name="îś1íḑe"/>
            <p:cNvGrpSpPr/>
            <p:nvPr/>
          </p:nvGrpSpPr>
          <p:grpSpPr>
            <a:xfrm>
              <a:off x="3976333" y="3466037"/>
              <a:ext cx="345028" cy="345028"/>
              <a:chOff x="4054337" y="3544041"/>
              <a:chExt cx="189020" cy="189020"/>
            </a:xfrm>
          </p:grpSpPr>
          <p:sp>
            <p:nvSpPr>
              <p:cNvPr id="37" name="îśḷïḑê">
                <a:extLst>
                  <a:ext uri="{FF2B5EF4-FFF2-40B4-BE49-F238E27FC236}">
                    <a16:creationId xmlns:a16="http://schemas.microsoft.com/office/drawing/2014/main" id="{3964C6A6-1838-40A5-BA31-0F7CC00D58F7}"/>
                  </a:ext>
                </a:extLst>
              </p:cNvPr>
              <p:cNvSpPr/>
              <p:nvPr/>
            </p:nvSpPr>
            <p:spPr>
              <a:xfrm flipV="1">
                <a:off x="4054337" y="3544041"/>
                <a:ext cx="189020" cy="189020"/>
              </a:xfrm>
              <a:prstGeom prst="flowChartConnector">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sp>
            <p:nvSpPr>
              <p:cNvPr id="38" name="iṩ1íḋé">
                <a:extLst>
                  <a:ext uri="{FF2B5EF4-FFF2-40B4-BE49-F238E27FC236}">
                    <a16:creationId xmlns:a16="http://schemas.microsoft.com/office/drawing/2014/main" id="{B528C8E1-7A14-4DB0-B6BB-D0BBA31D64B1}"/>
                  </a:ext>
                </a:extLst>
              </p:cNvPr>
              <p:cNvSpPr/>
              <p:nvPr/>
            </p:nvSpPr>
            <p:spPr>
              <a:xfrm rot="10800000" flipV="1">
                <a:off x="4105227" y="3600948"/>
                <a:ext cx="87240" cy="75207"/>
              </a:xfrm>
              <a:prstGeom prst="triangl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grpSp>
        <p:grpSp>
          <p:nvGrpSpPr>
            <p:cNvPr id="13" name="ïšľïḋê">
              <a:extLst>
                <a:ext uri="{FF2B5EF4-FFF2-40B4-BE49-F238E27FC236}">
                  <a16:creationId xmlns:a16="http://schemas.microsoft.com/office/drawing/2014/main" id="{B81BA2E6-43B1-4741-914D-329113FB7832}"/>
                </a:ext>
              </a:extLst>
            </p:cNvPr>
            <p:cNvGrpSpPr/>
            <p:nvPr/>
          </p:nvGrpSpPr>
          <p:grpSpPr>
            <a:xfrm>
              <a:off x="3807816" y="1478206"/>
              <a:ext cx="708440" cy="708440"/>
              <a:chOff x="5019675" y="2562224"/>
              <a:chExt cx="660150" cy="660150"/>
            </a:xfrm>
          </p:grpSpPr>
          <p:sp>
            <p:nvSpPr>
              <p:cNvPr id="35" name="îṥḻîdê">
                <a:extLst>
                  <a:ext uri="{FF2B5EF4-FFF2-40B4-BE49-F238E27FC236}">
                    <a16:creationId xmlns:a16="http://schemas.microsoft.com/office/drawing/2014/main" id="{FAC7BDBF-3E95-4E63-81A3-4047A0958E5F}"/>
                  </a:ext>
                </a:extLst>
              </p:cNvPr>
              <p:cNvSpPr/>
              <p:nvPr/>
            </p:nvSpPr>
            <p:spPr>
              <a:xfrm>
                <a:off x="5019675" y="2562224"/>
                <a:ext cx="660150" cy="660150"/>
              </a:xfrm>
              <a:prstGeom prst="ellipse">
                <a:avLst/>
              </a:prstGeom>
              <a:solidFill>
                <a:schemeClr val="bg1"/>
              </a:solidFill>
              <a:ln w="28575">
                <a:solidFill>
                  <a:schemeClr val="accent1"/>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solidFill>
                    <a:schemeClr val="tx1"/>
                  </a:solidFill>
                </a:endParaRPr>
              </a:p>
            </p:txBody>
          </p:sp>
          <p:sp>
            <p:nvSpPr>
              <p:cNvPr id="36" name="í$ḻiḍè">
                <a:extLst>
                  <a:ext uri="{FF2B5EF4-FFF2-40B4-BE49-F238E27FC236}">
                    <a16:creationId xmlns:a16="http://schemas.microsoft.com/office/drawing/2014/main" id="{8CC13D89-BC5E-47D7-8C69-684048FA5C8D}"/>
                  </a:ext>
                </a:extLst>
              </p:cNvPr>
              <p:cNvSpPr/>
              <p:nvPr/>
            </p:nvSpPr>
            <p:spPr>
              <a:xfrm>
                <a:off x="5206310" y="2760703"/>
                <a:ext cx="286880" cy="263192"/>
              </a:xfrm>
              <a:custGeom>
                <a:avLst/>
                <a:gdLst>
                  <a:gd name="connsiteX0" fmla="*/ 303857 w 607639"/>
                  <a:gd name="connsiteY0" fmla="*/ 303714 h 557467"/>
                  <a:gd name="connsiteX1" fmla="*/ 352986 w 607639"/>
                  <a:gd name="connsiteY1" fmla="*/ 309132 h 557467"/>
                  <a:gd name="connsiteX2" fmla="*/ 514597 w 607639"/>
                  <a:gd name="connsiteY2" fmla="*/ 449845 h 557467"/>
                  <a:gd name="connsiteX3" fmla="*/ 528676 w 607639"/>
                  <a:gd name="connsiteY3" fmla="*/ 528182 h 557467"/>
                  <a:gd name="connsiteX4" fmla="*/ 499345 w 607639"/>
                  <a:gd name="connsiteY4" fmla="*/ 557467 h 557467"/>
                  <a:gd name="connsiteX5" fmla="*/ 108223 w 607639"/>
                  <a:gd name="connsiteY5" fmla="*/ 557467 h 557467"/>
                  <a:gd name="connsiteX6" fmla="*/ 78892 w 607639"/>
                  <a:gd name="connsiteY6" fmla="*/ 528182 h 557467"/>
                  <a:gd name="connsiteX7" fmla="*/ 303857 w 607639"/>
                  <a:gd name="connsiteY7" fmla="*/ 303714 h 557467"/>
                  <a:gd name="connsiteX8" fmla="*/ 455825 w 607639"/>
                  <a:gd name="connsiteY8" fmla="*/ 268995 h 557467"/>
                  <a:gd name="connsiteX9" fmla="*/ 607639 w 607639"/>
                  <a:gd name="connsiteY9" fmla="*/ 420565 h 557467"/>
                  <a:gd name="connsiteX10" fmla="*/ 578303 w 607639"/>
                  <a:gd name="connsiteY10" fmla="*/ 449854 h 557467"/>
                  <a:gd name="connsiteX11" fmla="*/ 576396 w 607639"/>
                  <a:gd name="connsiteY11" fmla="*/ 449854 h 557467"/>
                  <a:gd name="connsiteX12" fmla="*/ 424875 w 607639"/>
                  <a:gd name="connsiteY12" fmla="*/ 272217 h 557467"/>
                  <a:gd name="connsiteX13" fmla="*/ 455825 w 607639"/>
                  <a:gd name="connsiteY13" fmla="*/ 268995 h 557467"/>
                  <a:gd name="connsiteX14" fmla="*/ 151811 w 607639"/>
                  <a:gd name="connsiteY14" fmla="*/ 268995 h 557467"/>
                  <a:gd name="connsiteX15" fmla="*/ 182906 w 607639"/>
                  <a:gd name="connsiteY15" fmla="*/ 272217 h 557467"/>
                  <a:gd name="connsiteX16" fmla="*/ 31389 w 607639"/>
                  <a:gd name="connsiteY16" fmla="*/ 449854 h 557467"/>
                  <a:gd name="connsiteX17" fmla="*/ 29335 w 607639"/>
                  <a:gd name="connsiteY17" fmla="*/ 449854 h 557467"/>
                  <a:gd name="connsiteX18" fmla="*/ 0 w 607639"/>
                  <a:gd name="connsiteY18" fmla="*/ 420565 h 557467"/>
                  <a:gd name="connsiteX19" fmla="*/ 151811 w 607639"/>
                  <a:gd name="connsiteY19" fmla="*/ 268995 h 557467"/>
                  <a:gd name="connsiteX20" fmla="*/ 462556 w 607639"/>
                  <a:gd name="connsiteY20" fmla="*/ 35000 h 557467"/>
                  <a:gd name="connsiteX21" fmla="*/ 543847 w 607639"/>
                  <a:gd name="connsiteY21" fmla="*/ 122571 h 557467"/>
                  <a:gd name="connsiteX22" fmla="*/ 462556 w 607639"/>
                  <a:gd name="connsiteY22" fmla="*/ 210143 h 557467"/>
                  <a:gd name="connsiteX23" fmla="*/ 485153 w 607639"/>
                  <a:gd name="connsiteY23" fmla="*/ 122571 h 557467"/>
                  <a:gd name="connsiteX24" fmla="*/ 462556 w 607639"/>
                  <a:gd name="connsiteY24" fmla="*/ 35000 h 557467"/>
                  <a:gd name="connsiteX25" fmla="*/ 145224 w 607639"/>
                  <a:gd name="connsiteY25" fmla="*/ 35000 h 557467"/>
                  <a:gd name="connsiteX26" fmla="*/ 122481 w 607639"/>
                  <a:gd name="connsiteY26" fmla="*/ 122571 h 557467"/>
                  <a:gd name="connsiteX27" fmla="*/ 145224 w 607639"/>
                  <a:gd name="connsiteY27" fmla="*/ 210143 h 557467"/>
                  <a:gd name="connsiteX28" fmla="*/ 63791 w 607639"/>
                  <a:gd name="connsiteY28" fmla="*/ 122571 h 557467"/>
                  <a:gd name="connsiteX29" fmla="*/ 145224 w 607639"/>
                  <a:gd name="connsiteY29" fmla="*/ 35000 h 557467"/>
                  <a:gd name="connsiteX30" fmla="*/ 303892 w 607639"/>
                  <a:gd name="connsiteY30" fmla="*/ 0 h 557467"/>
                  <a:gd name="connsiteX31" fmla="*/ 403912 w 607639"/>
                  <a:gd name="connsiteY31" fmla="*/ 51694 h 557467"/>
                  <a:gd name="connsiteX32" fmla="*/ 426497 w 607639"/>
                  <a:gd name="connsiteY32" fmla="*/ 122572 h 557467"/>
                  <a:gd name="connsiteX33" fmla="*/ 403912 w 607639"/>
                  <a:gd name="connsiteY33" fmla="*/ 193450 h 557467"/>
                  <a:gd name="connsiteX34" fmla="*/ 303892 w 607639"/>
                  <a:gd name="connsiteY34" fmla="*/ 245144 h 557467"/>
                  <a:gd name="connsiteX35" fmla="*/ 181141 w 607639"/>
                  <a:gd name="connsiteY35" fmla="*/ 122572 h 557467"/>
                  <a:gd name="connsiteX36" fmla="*/ 303892 w 607639"/>
                  <a:gd name="connsiteY36" fmla="*/ 0 h 55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7639" h="557467">
                    <a:moveTo>
                      <a:pt x="303857" y="303714"/>
                    </a:moveTo>
                    <a:cubicBezTo>
                      <a:pt x="320722" y="303714"/>
                      <a:pt x="337148" y="305618"/>
                      <a:pt x="352986" y="309132"/>
                    </a:cubicBezTo>
                    <a:cubicBezTo>
                      <a:pt x="427486" y="325824"/>
                      <a:pt x="488200" y="379562"/>
                      <a:pt x="514597" y="449845"/>
                    </a:cubicBezTo>
                    <a:cubicBezTo>
                      <a:pt x="523690" y="474298"/>
                      <a:pt x="528676" y="500655"/>
                      <a:pt x="528676" y="528182"/>
                    </a:cubicBezTo>
                    <a:cubicBezTo>
                      <a:pt x="528676" y="544289"/>
                      <a:pt x="515477" y="557467"/>
                      <a:pt x="499345" y="557467"/>
                    </a:cubicBezTo>
                    <a:lnTo>
                      <a:pt x="108223" y="557467"/>
                    </a:lnTo>
                    <a:cubicBezTo>
                      <a:pt x="92091" y="557467"/>
                      <a:pt x="78892" y="544289"/>
                      <a:pt x="78892" y="528182"/>
                    </a:cubicBezTo>
                    <a:cubicBezTo>
                      <a:pt x="78892" y="404307"/>
                      <a:pt x="179789" y="303714"/>
                      <a:pt x="303857" y="303714"/>
                    </a:cubicBezTo>
                    <a:close/>
                    <a:moveTo>
                      <a:pt x="455825" y="268995"/>
                    </a:moveTo>
                    <a:cubicBezTo>
                      <a:pt x="539579" y="268995"/>
                      <a:pt x="607639" y="336945"/>
                      <a:pt x="607639" y="420565"/>
                    </a:cubicBezTo>
                    <a:cubicBezTo>
                      <a:pt x="607639" y="436674"/>
                      <a:pt x="594584" y="449854"/>
                      <a:pt x="578303" y="449854"/>
                    </a:cubicBezTo>
                    <a:lnTo>
                      <a:pt x="576396" y="449854"/>
                    </a:lnTo>
                    <a:cubicBezTo>
                      <a:pt x="553661" y="371360"/>
                      <a:pt x="497775" y="306631"/>
                      <a:pt x="424875" y="272217"/>
                    </a:cubicBezTo>
                    <a:cubicBezTo>
                      <a:pt x="434996" y="270020"/>
                      <a:pt x="445410" y="268995"/>
                      <a:pt x="455825" y="268995"/>
                    </a:cubicBezTo>
                    <a:close/>
                    <a:moveTo>
                      <a:pt x="151811" y="268995"/>
                    </a:moveTo>
                    <a:cubicBezTo>
                      <a:pt x="162371" y="268995"/>
                      <a:pt x="172785" y="270020"/>
                      <a:pt x="182906" y="272217"/>
                    </a:cubicBezTo>
                    <a:cubicBezTo>
                      <a:pt x="110008" y="306631"/>
                      <a:pt x="53977" y="371360"/>
                      <a:pt x="31389" y="449854"/>
                    </a:cubicBezTo>
                    <a:lnTo>
                      <a:pt x="29335" y="449854"/>
                    </a:lnTo>
                    <a:cubicBezTo>
                      <a:pt x="13201" y="449854"/>
                      <a:pt x="0" y="436674"/>
                      <a:pt x="0" y="420565"/>
                    </a:cubicBezTo>
                    <a:cubicBezTo>
                      <a:pt x="0" y="336945"/>
                      <a:pt x="68058" y="268995"/>
                      <a:pt x="151811" y="268995"/>
                    </a:cubicBezTo>
                    <a:close/>
                    <a:moveTo>
                      <a:pt x="462556" y="35000"/>
                    </a:moveTo>
                    <a:cubicBezTo>
                      <a:pt x="507897" y="38368"/>
                      <a:pt x="543847" y="76296"/>
                      <a:pt x="543847" y="122571"/>
                    </a:cubicBezTo>
                    <a:cubicBezTo>
                      <a:pt x="543847" y="168847"/>
                      <a:pt x="507897" y="206775"/>
                      <a:pt x="462556" y="210143"/>
                    </a:cubicBezTo>
                    <a:cubicBezTo>
                      <a:pt x="476936" y="184223"/>
                      <a:pt x="485153" y="154349"/>
                      <a:pt x="485153" y="122571"/>
                    </a:cubicBezTo>
                    <a:cubicBezTo>
                      <a:pt x="485153" y="90794"/>
                      <a:pt x="476936" y="60920"/>
                      <a:pt x="462556" y="35000"/>
                    </a:cubicBezTo>
                    <a:close/>
                    <a:moveTo>
                      <a:pt x="145224" y="35000"/>
                    </a:moveTo>
                    <a:cubicBezTo>
                      <a:pt x="130698" y="60920"/>
                      <a:pt x="122481" y="90794"/>
                      <a:pt x="122481" y="122571"/>
                    </a:cubicBezTo>
                    <a:cubicBezTo>
                      <a:pt x="122481" y="154349"/>
                      <a:pt x="130698" y="184223"/>
                      <a:pt x="145224" y="210143"/>
                    </a:cubicBezTo>
                    <a:cubicBezTo>
                      <a:pt x="99739" y="206775"/>
                      <a:pt x="63791" y="168847"/>
                      <a:pt x="63791" y="122571"/>
                    </a:cubicBezTo>
                    <a:cubicBezTo>
                      <a:pt x="63791" y="76296"/>
                      <a:pt x="99739" y="38368"/>
                      <a:pt x="145224" y="35000"/>
                    </a:cubicBezTo>
                    <a:close/>
                    <a:moveTo>
                      <a:pt x="303892" y="0"/>
                    </a:moveTo>
                    <a:cubicBezTo>
                      <a:pt x="345103" y="0"/>
                      <a:pt x="381620" y="20502"/>
                      <a:pt x="403912" y="51694"/>
                    </a:cubicBezTo>
                    <a:cubicBezTo>
                      <a:pt x="418138" y="71756"/>
                      <a:pt x="426497" y="96212"/>
                      <a:pt x="426497" y="122572"/>
                    </a:cubicBezTo>
                    <a:cubicBezTo>
                      <a:pt x="426497" y="148931"/>
                      <a:pt x="418138" y="173387"/>
                      <a:pt x="403912" y="193450"/>
                    </a:cubicBezTo>
                    <a:cubicBezTo>
                      <a:pt x="381620" y="224642"/>
                      <a:pt x="345103" y="245144"/>
                      <a:pt x="303892" y="245144"/>
                    </a:cubicBezTo>
                    <a:cubicBezTo>
                      <a:pt x="236137" y="245144"/>
                      <a:pt x="181141" y="190082"/>
                      <a:pt x="181141" y="122572"/>
                    </a:cubicBezTo>
                    <a:cubicBezTo>
                      <a:pt x="181141" y="55062"/>
                      <a:pt x="236137" y="0"/>
                      <a:pt x="303892"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grpSp>
        <p:grpSp>
          <p:nvGrpSpPr>
            <p:cNvPr id="14" name="î$1ide"/>
            <p:cNvGrpSpPr/>
            <p:nvPr/>
          </p:nvGrpSpPr>
          <p:grpSpPr>
            <a:xfrm>
              <a:off x="1857077" y="1317314"/>
              <a:ext cx="1763279" cy="1030224"/>
              <a:chOff x="1897843" y="1953185"/>
              <a:chExt cx="1763279" cy="1030224"/>
            </a:xfrm>
          </p:grpSpPr>
          <p:sp>
            <p:nvSpPr>
              <p:cNvPr id="33" name="îŝ1ídê">
                <a:extLst>
                  <a:ext uri="{FF2B5EF4-FFF2-40B4-BE49-F238E27FC236}">
                    <a16:creationId xmlns:a16="http://schemas.microsoft.com/office/drawing/2014/main" id="{698E6602-8BEC-45F7-BE9D-F71B6D4C3EA3}"/>
                  </a:ext>
                </a:extLst>
              </p:cNvPr>
              <p:cNvSpPr/>
              <p:nvPr/>
            </p:nvSpPr>
            <p:spPr bwMode="auto">
              <a:xfrm>
                <a:off x="1897843" y="1953185"/>
                <a:ext cx="1763279" cy="392113"/>
              </a:xfrm>
              <a:prstGeom prst="rect">
                <a:avLst/>
              </a:prstGeom>
              <a:noFill/>
              <a:ln w="28575" algn="ctr">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defTabSz="914400"/>
                <a:r>
                  <a:rPr lang="en-US" altLang="zh-CN" sz="1600" b="1" kern="0"/>
                  <a:t>Te</a:t>
                </a:r>
                <a:r>
                  <a:rPr lang="en-US" altLang="zh-CN" sz="100" b="1" kern="0"/>
                  <a:t> </a:t>
                </a:r>
                <a:r>
                  <a:rPr lang="en-US" altLang="zh-CN" sz="1600" b="1" kern="0"/>
                  <a:t>xt </a:t>
                </a:r>
                <a:r>
                  <a:rPr lang="en-US" altLang="zh-CN" sz="1600" b="1" kern="0" dirty="0"/>
                  <a:t>here</a:t>
                </a:r>
                <a:endParaRPr lang="zh-CN" altLang="en-US" sz="1600" b="1" kern="0" dirty="0"/>
              </a:p>
            </p:txBody>
          </p:sp>
          <p:sp>
            <p:nvSpPr>
              <p:cNvPr id="34" name="i$lïḓè">
                <a:extLst>
                  <a:ext uri="{FF2B5EF4-FFF2-40B4-BE49-F238E27FC236}">
                    <a16:creationId xmlns:a16="http://schemas.microsoft.com/office/drawing/2014/main" id="{A1F86F39-251F-4601-AC8B-0126F9478D2E}"/>
                  </a:ext>
                </a:extLst>
              </p:cNvPr>
              <p:cNvSpPr/>
              <p:nvPr/>
            </p:nvSpPr>
            <p:spPr>
              <a:xfrm>
                <a:off x="1897843" y="2345298"/>
                <a:ext cx="1763279" cy="63811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r">
                  <a:lnSpc>
                    <a:spcPct val="150000"/>
                  </a:lnSpc>
                </a:pPr>
                <a:r>
                  <a:rPr lang="en-US" altLang="zh-CN" sz="1100">
                    <a:solidFill>
                      <a:schemeClr val="tx1"/>
                    </a:solidFill>
                  </a:rPr>
                  <a:t>Suppo</a:t>
                </a:r>
                <a:r>
                  <a:rPr lang="en-US" altLang="zh-CN" sz="100">
                    <a:solidFill>
                      <a:schemeClr val="tx1"/>
                    </a:solidFill>
                  </a:rPr>
                  <a:t> </a:t>
                </a:r>
                <a:r>
                  <a:rPr lang="en-US" altLang="zh-CN" sz="1100">
                    <a:solidFill>
                      <a:schemeClr val="tx1"/>
                    </a:solidFill>
                  </a:rPr>
                  <a:t>rting </a:t>
                </a:r>
                <a:r>
                  <a:rPr lang="en-US" altLang="zh-CN" sz="1100" dirty="0">
                    <a:solidFill>
                      <a:schemeClr val="tx1"/>
                    </a:solidFill>
                  </a:rPr>
                  <a:t>text here.</a:t>
                </a:r>
              </a:p>
              <a:p>
                <a:pPr lvl="0" algn="r">
                  <a:lnSpc>
                    <a:spcPct val="150000"/>
                  </a:lnSpc>
                </a:pPr>
                <a:r>
                  <a:rPr lang="en-US" altLang="zh-CN" sz="1100" dirty="0">
                    <a:solidFill>
                      <a:schemeClr val="tx1"/>
                    </a:solidFill>
                  </a:rPr>
                  <a:t>……</a:t>
                </a:r>
              </a:p>
            </p:txBody>
          </p:sp>
        </p:grpSp>
        <p:grpSp>
          <p:nvGrpSpPr>
            <p:cNvPr id="15" name="î$liḋe">
              <a:extLst>
                <a:ext uri="{FF2B5EF4-FFF2-40B4-BE49-F238E27FC236}">
                  <a16:creationId xmlns:a16="http://schemas.microsoft.com/office/drawing/2014/main" id="{B81BA2E6-43B1-4741-914D-329113FB7832}"/>
                </a:ext>
              </a:extLst>
            </p:cNvPr>
            <p:cNvGrpSpPr/>
            <p:nvPr/>
          </p:nvGrpSpPr>
          <p:grpSpPr>
            <a:xfrm>
              <a:off x="7653446" y="1478206"/>
              <a:ext cx="708440" cy="708440"/>
              <a:chOff x="5019675" y="2562224"/>
              <a:chExt cx="660150" cy="660150"/>
            </a:xfrm>
          </p:grpSpPr>
          <p:sp>
            <p:nvSpPr>
              <p:cNvPr id="31" name="ïśḷîḓè">
                <a:extLst>
                  <a:ext uri="{FF2B5EF4-FFF2-40B4-BE49-F238E27FC236}">
                    <a16:creationId xmlns:a16="http://schemas.microsoft.com/office/drawing/2014/main" id="{FAC7BDBF-3E95-4E63-81A3-4047A0958E5F}"/>
                  </a:ext>
                </a:extLst>
              </p:cNvPr>
              <p:cNvSpPr/>
              <p:nvPr/>
            </p:nvSpPr>
            <p:spPr>
              <a:xfrm>
                <a:off x="5019675" y="2562224"/>
                <a:ext cx="660150" cy="660150"/>
              </a:xfrm>
              <a:prstGeom prst="ellipse">
                <a:avLst/>
              </a:prstGeom>
              <a:solidFill>
                <a:schemeClr val="bg1"/>
              </a:solidFill>
              <a:ln w="28575">
                <a:solidFill>
                  <a:schemeClr val="accent1"/>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solidFill>
                    <a:schemeClr val="tx1"/>
                  </a:solidFill>
                </a:endParaRPr>
              </a:p>
            </p:txBody>
          </p:sp>
          <p:sp>
            <p:nvSpPr>
              <p:cNvPr id="32" name="îSlîḋê">
                <a:extLst>
                  <a:ext uri="{FF2B5EF4-FFF2-40B4-BE49-F238E27FC236}">
                    <a16:creationId xmlns:a16="http://schemas.microsoft.com/office/drawing/2014/main" id="{8CC13D89-BC5E-47D7-8C69-684048FA5C8D}"/>
                  </a:ext>
                </a:extLst>
              </p:cNvPr>
              <p:cNvSpPr/>
              <p:nvPr/>
            </p:nvSpPr>
            <p:spPr>
              <a:xfrm>
                <a:off x="5206310" y="2760703"/>
                <a:ext cx="286880" cy="263192"/>
              </a:xfrm>
              <a:custGeom>
                <a:avLst/>
                <a:gdLst>
                  <a:gd name="connsiteX0" fmla="*/ 303857 w 607639"/>
                  <a:gd name="connsiteY0" fmla="*/ 303714 h 557467"/>
                  <a:gd name="connsiteX1" fmla="*/ 352986 w 607639"/>
                  <a:gd name="connsiteY1" fmla="*/ 309132 h 557467"/>
                  <a:gd name="connsiteX2" fmla="*/ 514597 w 607639"/>
                  <a:gd name="connsiteY2" fmla="*/ 449845 h 557467"/>
                  <a:gd name="connsiteX3" fmla="*/ 528676 w 607639"/>
                  <a:gd name="connsiteY3" fmla="*/ 528182 h 557467"/>
                  <a:gd name="connsiteX4" fmla="*/ 499345 w 607639"/>
                  <a:gd name="connsiteY4" fmla="*/ 557467 h 557467"/>
                  <a:gd name="connsiteX5" fmla="*/ 108223 w 607639"/>
                  <a:gd name="connsiteY5" fmla="*/ 557467 h 557467"/>
                  <a:gd name="connsiteX6" fmla="*/ 78892 w 607639"/>
                  <a:gd name="connsiteY6" fmla="*/ 528182 h 557467"/>
                  <a:gd name="connsiteX7" fmla="*/ 303857 w 607639"/>
                  <a:gd name="connsiteY7" fmla="*/ 303714 h 557467"/>
                  <a:gd name="connsiteX8" fmla="*/ 455825 w 607639"/>
                  <a:gd name="connsiteY8" fmla="*/ 268995 h 557467"/>
                  <a:gd name="connsiteX9" fmla="*/ 607639 w 607639"/>
                  <a:gd name="connsiteY9" fmla="*/ 420565 h 557467"/>
                  <a:gd name="connsiteX10" fmla="*/ 578303 w 607639"/>
                  <a:gd name="connsiteY10" fmla="*/ 449854 h 557467"/>
                  <a:gd name="connsiteX11" fmla="*/ 576396 w 607639"/>
                  <a:gd name="connsiteY11" fmla="*/ 449854 h 557467"/>
                  <a:gd name="connsiteX12" fmla="*/ 424875 w 607639"/>
                  <a:gd name="connsiteY12" fmla="*/ 272217 h 557467"/>
                  <a:gd name="connsiteX13" fmla="*/ 455825 w 607639"/>
                  <a:gd name="connsiteY13" fmla="*/ 268995 h 557467"/>
                  <a:gd name="connsiteX14" fmla="*/ 151811 w 607639"/>
                  <a:gd name="connsiteY14" fmla="*/ 268995 h 557467"/>
                  <a:gd name="connsiteX15" fmla="*/ 182906 w 607639"/>
                  <a:gd name="connsiteY15" fmla="*/ 272217 h 557467"/>
                  <a:gd name="connsiteX16" fmla="*/ 31389 w 607639"/>
                  <a:gd name="connsiteY16" fmla="*/ 449854 h 557467"/>
                  <a:gd name="connsiteX17" fmla="*/ 29335 w 607639"/>
                  <a:gd name="connsiteY17" fmla="*/ 449854 h 557467"/>
                  <a:gd name="connsiteX18" fmla="*/ 0 w 607639"/>
                  <a:gd name="connsiteY18" fmla="*/ 420565 h 557467"/>
                  <a:gd name="connsiteX19" fmla="*/ 151811 w 607639"/>
                  <a:gd name="connsiteY19" fmla="*/ 268995 h 557467"/>
                  <a:gd name="connsiteX20" fmla="*/ 462556 w 607639"/>
                  <a:gd name="connsiteY20" fmla="*/ 35000 h 557467"/>
                  <a:gd name="connsiteX21" fmla="*/ 543847 w 607639"/>
                  <a:gd name="connsiteY21" fmla="*/ 122571 h 557467"/>
                  <a:gd name="connsiteX22" fmla="*/ 462556 w 607639"/>
                  <a:gd name="connsiteY22" fmla="*/ 210143 h 557467"/>
                  <a:gd name="connsiteX23" fmla="*/ 485153 w 607639"/>
                  <a:gd name="connsiteY23" fmla="*/ 122571 h 557467"/>
                  <a:gd name="connsiteX24" fmla="*/ 462556 w 607639"/>
                  <a:gd name="connsiteY24" fmla="*/ 35000 h 557467"/>
                  <a:gd name="connsiteX25" fmla="*/ 145224 w 607639"/>
                  <a:gd name="connsiteY25" fmla="*/ 35000 h 557467"/>
                  <a:gd name="connsiteX26" fmla="*/ 122481 w 607639"/>
                  <a:gd name="connsiteY26" fmla="*/ 122571 h 557467"/>
                  <a:gd name="connsiteX27" fmla="*/ 145224 w 607639"/>
                  <a:gd name="connsiteY27" fmla="*/ 210143 h 557467"/>
                  <a:gd name="connsiteX28" fmla="*/ 63791 w 607639"/>
                  <a:gd name="connsiteY28" fmla="*/ 122571 h 557467"/>
                  <a:gd name="connsiteX29" fmla="*/ 145224 w 607639"/>
                  <a:gd name="connsiteY29" fmla="*/ 35000 h 557467"/>
                  <a:gd name="connsiteX30" fmla="*/ 303892 w 607639"/>
                  <a:gd name="connsiteY30" fmla="*/ 0 h 557467"/>
                  <a:gd name="connsiteX31" fmla="*/ 403912 w 607639"/>
                  <a:gd name="connsiteY31" fmla="*/ 51694 h 557467"/>
                  <a:gd name="connsiteX32" fmla="*/ 426497 w 607639"/>
                  <a:gd name="connsiteY32" fmla="*/ 122572 h 557467"/>
                  <a:gd name="connsiteX33" fmla="*/ 403912 w 607639"/>
                  <a:gd name="connsiteY33" fmla="*/ 193450 h 557467"/>
                  <a:gd name="connsiteX34" fmla="*/ 303892 w 607639"/>
                  <a:gd name="connsiteY34" fmla="*/ 245144 h 557467"/>
                  <a:gd name="connsiteX35" fmla="*/ 181141 w 607639"/>
                  <a:gd name="connsiteY35" fmla="*/ 122572 h 557467"/>
                  <a:gd name="connsiteX36" fmla="*/ 303892 w 607639"/>
                  <a:gd name="connsiteY36" fmla="*/ 0 h 55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7639" h="557467">
                    <a:moveTo>
                      <a:pt x="303857" y="303714"/>
                    </a:moveTo>
                    <a:cubicBezTo>
                      <a:pt x="320722" y="303714"/>
                      <a:pt x="337148" y="305618"/>
                      <a:pt x="352986" y="309132"/>
                    </a:cubicBezTo>
                    <a:cubicBezTo>
                      <a:pt x="427486" y="325824"/>
                      <a:pt x="488200" y="379562"/>
                      <a:pt x="514597" y="449845"/>
                    </a:cubicBezTo>
                    <a:cubicBezTo>
                      <a:pt x="523690" y="474298"/>
                      <a:pt x="528676" y="500655"/>
                      <a:pt x="528676" y="528182"/>
                    </a:cubicBezTo>
                    <a:cubicBezTo>
                      <a:pt x="528676" y="544289"/>
                      <a:pt x="515477" y="557467"/>
                      <a:pt x="499345" y="557467"/>
                    </a:cubicBezTo>
                    <a:lnTo>
                      <a:pt x="108223" y="557467"/>
                    </a:lnTo>
                    <a:cubicBezTo>
                      <a:pt x="92091" y="557467"/>
                      <a:pt x="78892" y="544289"/>
                      <a:pt x="78892" y="528182"/>
                    </a:cubicBezTo>
                    <a:cubicBezTo>
                      <a:pt x="78892" y="404307"/>
                      <a:pt x="179789" y="303714"/>
                      <a:pt x="303857" y="303714"/>
                    </a:cubicBezTo>
                    <a:close/>
                    <a:moveTo>
                      <a:pt x="455825" y="268995"/>
                    </a:moveTo>
                    <a:cubicBezTo>
                      <a:pt x="539579" y="268995"/>
                      <a:pt x="607639" y="336945"/>
                      <a:pt x="607639" y="420565"/>
                    </a:cubicBezTo>
                    <a:cubicBezTo>
                      <a:pt x="607639" y="436674"/>
                      <a:pt x="594584" y="449854"/>
                      <a:pt x="578303" y="449854"/>
                    </a:cubicBezTo>
                    <a:lnTo>
                      <a:pt x="576396" y="449854"/>
                    </a:lnTo>
                    <a:cubicBezTo>
                      <a:pt x="553661" y="371360"/>
                      <a:pt x="497775" y="306631"/>
                      <a:pt x="424875" y="272217"/>
                    </a:cubicBezTo>
                    <a:cubicBezTo>
                      <a:pt x="434996" y="270020"/>
                      <a:pt x="445410" y="268995"/>
                      <a:pt x="455825" y="268995"/>
                    </a:cubicBezTo>
                    <a:close/>
                    <a:moveTo>
                      <a:pt x="151811" y="268995"/>
                    </a:moveTo>
                    <a:cubicBezTo>
                      <a:pt x="162371" y="268995"/>
                      <a:pt x="172785" y="270020"/>
                      <a:pt x="182906" y="272217"/>
                    </a:cubicBezTo>
                    <a:cubicBezTo>
                      <a:pt x="110008" y="306631"/>
                      <a:pt x="53977" y="371360"/>
                      <a:pt x="31389" y="449854"/>
                    </a:cubicBezTo>
                    <a:lnTo>
                      <a:pt x="29335" y="449854"/>
                    </a:lnTo>
                    <a:cubicBezTo>
                      <a:pt x="13201" y="449854"/>
                      <a:pt x="0" y="436674"/>
                      <a:pt x="0" y="420565"/>
                    </a:cubicBezTo>
                    <a:cubicBezTo>
                      <a:pt x="0" y="336945"/>
                      <a:pt x="68058" y="268995"/>
                      <a:pt x="151811" y="268995"/>
                    </a:cubicBezTo>
                    <a:close/>
                    <a:moveTo>
                      <a:pt x="462556" y="35000"/>
                    </a:moveTo>
                    <a:cubicBezTo>
                      <a:pt x="507897" y="38368"/>
                      <a:pt x="543847" y="76296"/>
                      <a:pt x="543847" y="122571"/>
                    </a:cubicBezTo>
                    <a:cubicBezTo>
                      <a:pt x="543847" y="168847"/>
                      <a:pt x="507897" y="206775"/>
                      <a:pt x="462556" y="210143"/>
                    </a:cubicBezTo>
                    <a:cubicBezTo>
                      <a:pt x="476936" y="184223"/>
                      <a:pt x="485153" y="154349"/>
                      <a:pt x="485153" y="122571"/>
                    </a:cubicBezTo>
                    <a:cubicBezTo>
                      <a:pt x="485153" y="90794"/>
                      <a:pt x="476936" y="60920"/>
                      <a:pt x="462556" y="35000"/>
                    </a:cubicBezTo>
                    <a:close/>
                    <a:moveTo>
                      <a:pt x="145224" y="35000"/>
                    </a:moveTo>
                    <a:cubicBezTo>
                      <a:pt x="130698" y="60920"/>
                      <a:pt x="122481" y="90794"/>
                      <a:pt x="122481" y="122571"/>
                    </a:cubicBezTo>
                    <a:cubicBezTo>
                      <a:pt x="122481" y="154349"/>
                      <a:pt x="130698" y="184223"/>
                      <a:pt x="145224" y="210143"/>
                    </a:cubicBezTo>
                    <a:cubicBezTo>
                      <a:pt x="99739" y="206775"/>
                      <a:pt x="63791" y="168847"/>
                      <a:pt x="63791" y="122571"/>
                    </a:cubicBezTo>
                    <a:cubicBezTo>
                      <a:pt x="63791" y="76296"/>
                      <a:pt x="99739" y="38368"/>
                      <a:pt x="145224" y="35000"/>
                    </a:cubicBezTo>
                    <a:close/>
                    <a:moveTo>
                      <a:pt x="303892" y="0"/>
                    </a:moveTo>
                    <a:cubicBezTo>
                      <a:pt x="345103" y="0"/>
                      <a:pt x="381620" y="20502"/>
                      <a:pt x="403912" y="51694"/>
                    </a:cubicBezTo>
                    <a:cubicBezTo>
                      <a:pt x="418138" y="71756"/>
                      <a:pt x="426497" y="96212"/>
                      <a:pt x="426497" y="122572"/>
                    </a:cubicBezTo>
                    <a:cubicBezTo>
                      <a:pt x="426497" y="148931"/>
                      <a:pt x="418138" y="173387"/>
                      <a:pt x="403912" y="193450"/>
                    </a:cubicBezTo>
                    <a:cubicBezTo>
                      <a:pt x="381620" y="224642"/>
                      <a:pt x="345103" y="245144"/>
                      <a:pt x="303892" y="245144"/>
                    </a:cubicBezTo>
                    <a:cubicBezTo>
                      <a:pt x="236137" y="245144"/>
                      <a:pt x="181141" y="190082"/>
                      <a:pt x="181141" y="122572"/>
                    </a:cubicBezTo>
                    <a:cubicBezTo>
                      <a:pt x="181141" y="55062"/>
                      <a:pt x="236137" y="0"/>
                      <a:pt x="303892"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grpSp>
        <p:grpSp>
          <p:nvGrpSpPr>
            <p:cNvPr id="16" name="íŝlîďê"/>
            <p:cNvGrpSpPr/>
            <p:nvPr/>
          </p:nvGrpSpPr>
          <p:grpSpPr>
            <a:xfrm>
              <a:off x="8549346" y="1317314"/>
              <a:ext cx="1763279" cy="1030224"/>
              <a:chOff x="1897843" y="1953185"/>
              <a:chExt cx="1763279" cy="1030224"/>
            </a:xfrm>
          </p:grpSpPr>
          <p:sp>
            <p:nvSpPr>
              <p:cNvPr id="29" name="ïsḷíḍê">
                <a:extLst>
                  <a:ext uri="{FF2B5EF4-FFF2-40B4-BE49-F238E27FC236}">
                    <a16:creationId xmlns:a16="http://schemas.microsoft.com/office/drawing/2014/main" id="{698E6602-8BEC-45F7-BE9D-F71B6D4C3EA3}"/>
                  </a:ext>
                </a:extLst>
              </p:cNvPr>
              <p:cNvSpPr/>
              <p:nvPr/>
            </p:nvSpPr>
            <p:spPr bwMode="auto">
              <a:xfrm>
                <a:off x="1897843" y="1953185"/>
                <a:ext cx="1763279" cy="392113"/>
              </a:xfrm>
              <a:prstGeom prst="rect">
                <a:avLst/>
              </a:prstGeom>
              <a:noFill/>
              <a:ln w="28575" algn="ctr">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defTabSz="914400"/>
                <a:r>
                  <a:rPr lang="en-US" altLang="zh-CN" sz="1600" b="1" kern="0"/>
                  <a:t>Te</a:t>
                </a:r>
                <a:r>
                  <a:rPr lang="en-US" altLang="zh-CN" sz="100" b="1" kern="0"/>
                  <a:t> </a:t>
                </a:r>
                <a:r>
                  <a:rPr lang="en-US" altLang="zh-CN" sz="1600" b="1" kern="0"/>
                  <a:t>xt </a:t>
                </a:r>
                <a:r>
                  <a:rPr lang="en-US" altLang="zh-CN" sz="1600" b="1" kern="0" dirty="0"/>
                  <a:t>here</a:t>
                </a:r>
                <a:endParaRPr lang="zh-CN" altLang="en-US" sz="1600" b="1" kern="0" dirty="0"/>
              </a:p>
            </p:txBody>
          </p:sp>
          <p:sp>
            <p:nvSpPr>
              <p:cNvPr id="30" name="îṩḷídê">
                <a:extLst>
                  <a:ext uri="{FF2B5EF4-FFF2-40B4-BE49-F238E27FC236}">
                    <a16:creationId xmlns:a16="http://schemas.microsoft.com/office/drawing/2014/main" id="{A1F86F39-251F-4601-AC8B-0126F9478D2E}"/>
                  </a:ext>
                </a:extLst>
              </p:cNvPr>
              <p:cNvSpPr/>
              <p:nvPr/>
            </p:nvSpPr>
            <p:spPr>
              <a:xfrm>
                <a:off x="1897843" y="2345298"/>
                <a:ext cx="1763279" cy="63811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nSpc>
                    <a:spcPct val="150000"/>
                  </a:lnSpc>
                </a:pPr>
                <a:r>
                  <a:rPr lang="en-US" altLang="zh-CN" sz="1100">
                    <a:solidFill>
                      <a:schemeClr val="tx1"/>
                    </a:solidFill>
                  </a:rPr>
                  <a:t>Suppo</a:t>
                </a:r>
                <a:r>
                  <a:rPr lang="en-US" altLang="zh-CN" sz="100">
                    <a:solidFill>
                      <a:schemeClr val="tx1"/>
                    </a:solidFill>
                  </a:rPr>
                  <a:t> </a:t>
                </a:r>
                <a:r>
                  <a:rPr lang="en-US" altLang="zh-CN" sz="1100">
                    <a:solidFill>
                      <a:schemeClr val="tx1"/>
                    </a:solidFill>
                  </a:rPr>
                  <a:t>rting </a:t>
                </a:r>
                <a:r>
                  <a:rPr lang="en-US" altLang="zh-CN" sz="1100" dirty="0">
                    <a:solidFill>
                      <a:schemeClr val="tx1"/>
                    </a:solidFill>
                  </a:rPr>
                  <a:t>text here.</a:t>
                </a:r>
              </a:p>
              <a:p>
                <a:pPr lvl="0">
                  <a:lnSpc>
                    <a:spcPct val="150000"/>
                  </a:lnSpc>
                </a:pPr>
                <a:r>
                  <a:rPr lang="en-US" altLang="zh-CN" sz="1100" dirty="0">
                    <a:solidFill>
                      <a:schemeClr val="tx1"/>
                    </a:solidFill>
                  </a:rPr>
                  <a:t>……</a:t>
                </a:r>
              </a:p>
            </p:txBody>
          </p:sp>
        </p:grpSp>
        <p:grpSp>
          <p:nvGrpSpPr>
            <p:cNvPr id="17" name="iṥľïḋe">
              <a:extLst>
                <a:ext uri="{FF2B5EF4-FFF2-40B4-BE49-F238E27FC236}">
                  <a16:creationId xmlns:a16="http://schemas.microsoft.com/office/drawing/2014/main" id="{B81BA2E6-43B1-4741-914D-329113FB7832}"/>
                </a:ext>
              </a:extLst>
            </p:cNvPr>
            <p:cNvGrpSpPr/>
            <p:nvPr/>
          </p:nvGrpSpPr>
          <p:grpSpPr>
            <a:xfrm>
              <a:off x="3807816" y="5090454"/>
              <a:ext cx="708440" cy="708440"/>
              <a:chOff x="5019675" y="2562224"/>
              <a:chExt cx="660150" cy="660150"/>
            </a:xfrm>
          </p:grpSpPr>
          <p:sp>
            <p:nvSpPr>
              <p:cNvPr id="27" name="ïšľíḍe">
                <a:extLst>
                  <a:ext uri="{FF2B5EF4-FFF2-40B4-BE49-F238E27FC236}">
                    <a16:creationId xmlns:a16="http://schemas.microsoft.com/office/drawing/2014/main" id="{FAC7BDBF-3E95-4E63-81A3-4047A0958E5F}"/>
                  </a:ext>
                </a:extLst>
              </p:cNvPr>
              <p:cNvSpPr/>
              <p:nvPr/>
            </p:nvSpPr>
            <p:spPr>
              <a:xfrm>
                <a:off x="5019675" y="2562224"/>
                <a:ext cx="660150" cy="660150"/>
              </a:xfrm>
              <a:prstGeom prst="ellipse">
                <a:avLst/>
              </a:prstGeom>
              <a:solidFill>
                <a:schemeClr val="bg1"/>
              </a:solidFill>
              <a:ln w="28575">
                <a:solidFill>
                  <a:schemeClr val="accent1"/>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solidFill>
                    <a:schemeClr val="tx1"/>
                  </a:solidFill>
                </a:endParaRPr>
              </a:p>
            </p:txBody>
          </p:sp>
          <p:sp>
            <p:nvSpPr>
              <p:cNvPr id="28" name="iŝḷîḓê">
                <a:extLst>
                  <a:ext uri="{FF2B5EF4-FFF2-40B4-BE49-F238E27FC236}">
                    <a16:creationId xmlns:a16="http://schemas.microsoft.com/office/drawing/2014/main" id="{8CC13D89-BC5E-47D7-8C69-684048FA5C8D}"/>
                  </a:ext>
                </a:extLst>
              </p:cNvPr>
              <p:cNvSpPr/>
              <p:nvPr/>
            </p:nvSpPr>
            <p:spPr>
              <a:xfrm>
                <a:off x="5206310" y="2760703"/>
                <a:ext cx="286880" cy="263192"/>
              </a:xfrm>
              <a:custGeom>
                <a:avLst/>
                <a:gdLst>
                  <a:gd name="connsiteX0" fmla="*/ 303857 w 607639"/>
                  <a:gd name="connsiteY0" fmla="*/ 303714 h 557467"/>
                  <a:gd name="connsiteX1" fmla="*/ 352986 w 607639"/>
                  <a:gd name="connsiteY1" fmla="*/ 309132 h 557467"/>
                  <a:gd name="connsiteX2" fmla="*/ 514597 w 607639"/>
                  <a:gd name="connsiteY2" fmla="*/ 449845 h 557467"/>
                  <a:gd name="connsiteX3" fmla="*/ 528676 w 607639"/>
                  <a:gd name="connsiteY3" fmla="*/ 528182 h 557467"/>
                  <a:gd name="connsiteX4" fmla="*/ 499345 w 607639"/>
                  <a:gd name="connsiteY4" fmla="*/ 557467 h 557467"/>
                  <a:gd name="connsiteX5" fmla="*/ 108223 w 607639"/>
                  <a:gd name="connsiteY5" fmla="*/ 557467 h 557467"/>
                  <a:gd name="connsiteX6" fmla="*/ 78892 w 607639"/>
                  <a:gd name="connsiteY6" fmla="*/ 528182 h 557467"/>
                  <a:gd name="connsiteX7" fmla="*/ 303857 w 607639"/>
                  <a:gd name="connsiteY7" fmla="*/ 303714 h 557467"/>
                  <a:gd name="connsiteX8" fmla="*/ 455825 w 607639"/>
                  <a:gd name="connsiteY8" fmla="*/ 268995 h 557467"/>
                  <a:gd name="connsiteX9" fmla="*/ 607639 w 607639"/>
                  <a:gd name="connsiteY9" fmla="*/ 420565 h 557467"/>
                  <a:gd name="connsiteX10" fmla="*/ 578303 w 607639"/>
                  <a:gd name="connsiteY10" fmla="*/ 449854 h 557467"/>
                  <a:gd name="connsiteX11" fmla="*/ 576396 w 607639"/>
                  <a:gd name="connsiteY11" fmla="*/ 449854 h 557467"/>
                  <a:gd name="connsiteX12" fmla="*/ 424875 w 607639"/>
                  <a:gd name="connsiteY12" fmla="*/ 272217 h 557467"/>
                  <a:gd name="connsiteX13" fmla="*/ 455825 w 607639"/>
                  <a:gd name="connsiteY13" fmla="*/ 268995 h 557467"/>
                  <a:gd name="connsiteX14" fmla="*/ 151811 w 607639"/>
                  <a:gd name="connsiteY14" fmla="*/ 268995 h 557467"/>
                  <a:gd name="connsiteX15" fmla="*/ 182906 w 607639"/>
                  <a:gd name="connsiteY15" fmla="*/ 272217 h 557467"/>
                  <a:gd name="connsiteX16" fmla="*/ 31389 w 607639"/>
                  <a:gd name="connsiteY16" fmla="*/ 449854 h 557467"/>
                  <a:gd name="connsiteX17" fmla="*/ 29335 w 607639"/>
                  <a:gd name="connsiteY17" fmla="*/ 449854 h 557467"/>
                  <a:gd name="connsiteX18" fmla="*/ 0 w 607639"/>
                  <a:gd name="connsiteY18" fmla="*/ 420565 h 557467"/>
                  <a:gd name="connsiteX19" fmla="*/ 151811 w 607639"/>
                  <a:gd name="connsiteY19" fmla="*/ 268995 h 557467"/>
                  <a:gd name="connsiteX20" fmla="*/ 462556 w 607639"/>
                  <a:gd name="connsiteY20" fmla="*/ 35000 h 557467"/>
                  <a:gd name="connsiteX21" fmla="*/ 543847 w 607639"/>
                  <a:gd name="connsiteY21" fmla="*/ 122571 h 557467"/>
                  <a:gd name="connsiteX22" fmla="*/ 462556 w 607639"/>
                  <a:gd name="connsiteY22" fmla="*/ 210143 h 557467"/>
                  <a:gd name="connsiteX23" fmla="*/ 485153 w 607639"/>
                  <a:gd name="connsiteY23" fmla="*/ 122571 h 557467"/>
                  <a:gd name="connsiteX24" fmla="*/ 462556 w 607639"/>
                  <a:gd name="connsiteY24" fmla="*/ 35000 h 557467"/>
                  <a:gd name="connsiteX25" fmla="*/ 145224 w 607639"/>
                  <a:gd name="connsiteY25" fmla="*/ 35000 h 557467"/>
                  <a:gd name="connsiteX26" fmla="*/ 122481 w 607639"/>
                  <a:gd name="connsiteY26" fmla="*/ 122571 h 557467"/>
                  <a:gd name="connsiteX27" fmla="*/ 145224 w 607639"/>
                  <a:gd name="connsiteY27" fmla="*/ 210143 h 557467"/>
                  <a:gd name="connsiteX28" fmla="*/ 63791 w 607639"/>
                  <a:gd name="connsiteY28" fmla="*/ 122571 h 557467"/>
                  <a:gd name="connsiteX29" fmla="*/ 145224 w 607639"/>
                  <a:gd name="connsiteY29" fmla="*/ 35000 h 557467"/>
                  <a:gd name="connsiteX30" fmla="*/ 303892 w 607639"/>
                  <a:gd name="connsiteY30" fmla="*/ 0 h 557467"/>
                  <a:gd name="connsiteX31" fmla="*/ 403912 w 607639"/>
                  <a:gd name="connsiteY31" fmla="*/ 51694 h 557467"/>
                  <a:gd name="connsiteX32" fmla="*/ 426497 w 607639"/>
                  <a:gd name="connsiteY32" fmla="*/ 122572 h 557467"/>
                  <a:gd name="connsiteX33" fmla="*/ 403912 w 607639"/>
                  <a:gd name="connsiteY33" fmla="*/ 193450 h 557467"/>
                  <a:gd name="connsiteX34" fmla="*/ 303892 w 607639"/>
                  <a:gd name="connsiteY34" fmla="*/ 245144 h 557467"/>
                  <a:gd name="connsiteX35" fmla="*/ 181141 w 607639"/>
                  <a:gd name="connsiteY35" fmla="*/ 122572 h 557467"/>
                  <a:gd name="connsiteX36" fmla="*/ 303892 w 607639"/>
                  <a:gd name="connsiteY36" fmla="*/ 0 h 55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7639" h="557467">
                    <a:moveTo>
                      <a:pt x="303857" y="303714"/>
                    </a:moveTo>
                    <a:cubicBezTo>
                      <a:pt x="320722" y="303714"/>
                      <a:pt x="337148" y="305618"/>
                      <a:pt x="352986" y="309132"/>
                    </a:cubicBezTo>
                    <a:cubicBezTo>
                      <a:pt x="427486" y="325824"/>
                      <a:pt x="488200" y="379562"/>
                      <a:pt x="514597" y="449845"/>
                    </a:cubicBezTo>
                    <a:cubicBezTo>
                      <a:pt x="523690" y="474298"/>
                      <a:pt x="528676" y="500655"/>
                      <a:pt x="528676" y="528182"/>
                    </a:cubicBezTo>
                    <a:cubicBezTo>
                      <a:pt x="528676" y="544289"/>
                      <a:pt x="515477" y="557467"/>
                      <a:pt x="499345" y="557467"/>
                    </a:cubicBezTo>
                    <a:lnTo>
                      <a:pt x="108223" y="557467"/>
                    </a:lnTo>
                    <a:cubicBezTo>
                      <a:pt x="92091" y="557467"/>
                      <a:pt x="78892" y="544289"/>
                      <a:pt x="78892" y="528182"/>
                    </a:cubicBezTo>
                    <a:cubicBezTo>
                      <a:pt x="78892" y="404307"/>
                      <a:pt x="179789" y="303714"/>
                      <a:pt x="303857" y="303714"/>
                    </a:cubicBezTo>
                    <a:close/>
                    <a:moveTo>
                      <a:pt x="455825" y="268995"/>
                    </a:moveTo>
                    <a:cubicBezTo>
                      <a:pt x="539579" y="268995"/>
                      <a:pt x="607639" y="336945"/>
                      <a:pt x="607639" y="420565"/>
                    </a:cubicBezTo>
                    <a:cubicBezTo>
                      <a:pt x="607639" y="436674"/>
                      <a:pt x="594584" y="449854"/>
                      <a:pt x="578303" y="449854"/>
                    </a:cubicBezTo>
                    <a:lnTo>
                      <a:pt x="576396" y="449854"/>
                    </a:lnTo>
                    <a:cubicBezTo>
                      <a:pt x="553661" y="371360"/>
                      <a:pt x="497775" y="306631"/>
                      <a:pt x="424875" y="272217"/>
                    </a:cubicBezTo>
                    <a:cubicBezTo>
                      <a:pt x="434996" y="270020"/>
                      <a:pt x="445410" y="268995"/>
                      <a:pt x="455825" y="268995"/>
                    </a:cubicBezTo>
                    <a:close/>
                    <a:moveTo>
                      <a:pt x="151811" y="268995"/>
                    </a:moveTo>
                    <a:cubicBezTo>
                      <a:pt x="162371" y="268995"/>
                      <a:pt x="172785" y="270020"/>
                      <a:pt x="182906" y="272217"/>
                    </a:cubicBezTo>
                    <a:cubicBezTo>
                      <a:pt x="110008" y="306631"/>
                      <a:pt x="53977" y="371360"/>
                      <a:pt x="31389" y="449854"/>
                    </a:cubicBezTo>
                    <a:lnTo>
                      <a:pt x="29335" y="449854"/>
                    </a:lnTo>
                    <a:cubicBezTo>
                      <a:pt x="13201" y="449854"/>
                      <a:pt x="0" y="436674"/>
                      <a:pt x="0" y="420565"/>
                    </a:cubicBezTo>
                    <a:cubicBezTo>
                      <a:pt x="0" y="336945"/>
                      <a:pt x="68058" y="268995"/>
                      <a:pt x="151811" y="268995"/>
                    </a:cubicBezTo>
                    <a:close/>
                    <a:moveTo>
                      <a:pt x="462556" y="35000"/>
                    </a:moveTo>
                    <a:cubicBezTo>
                      <a:pt x="507897" y="38368"/>
                      <a:pt x="543847" y="76296"/>
                      <a:pt x="543847" y="122571"/>
                    </a:cubicBezTo>
                    <a:cubicBezTo>
                      <a:pt x="543847" y="168847"/>
                      <a:pt x="507897" y="206775"/>
                      <a:pt x="462556" y="210143"/>
                    </a:cubicBezTo>
                    <a:cubicBezTo>
                      <a:pt x="476936" y="184223"/>
                      <a:pt x="485153" y="154349"/>
                      <a:pt x="485153" y="122571"/>
                    </a:cubicBezTo>
                    <a:cubicBezTo>
                      <a:pt x="485153" y="90794"/>
                      <a:pt x="476936" y="60920"/>
                      <a:pt x="462556" y="35000"/>
                    </a:cubicBezTo>
                    <a:close/>
                    <a:moveTo>
                      <a:pt x="145224" y="35000"/>
                    </a:moveTo>
                    <a:cubicBezTo>
                      <a:pt x="130698" y="60920"/>
                      <a:pt x="122481" y="90794"/>
                      <a:pt x="122481" y="122571"/>
                    </a:cubicBezTo>
                    <a:cubicBezTo>
                      <a:pt x="122481" y="154349"/>
                      <a:pt x="130698" y="184223"/>
                      <a:pt x="145224" y="210143"/>
                    </a:cubicBezTo>
                    <a:cubicBezTo>
                      <a:pt x="99739" y="206775"/>
                      <a:pt x="63791" y="168847"/>
                      <a:pt x="63791" y="122571"/>
                    </a:cubicBezTo>
                    <a:cubicBezTo>
                      <a:pt x="63791" y="76296"/>
                      <a:pt x="99739" y="38368"/>
                      <a:pt x="145224" y="35000"/>
                    </a:cubicBezTo>
                    <a:close/>
                    <a:moveTo>
                      <a:pt x="303892" y="0"/>
                    </a:moveTo>
                    <a:cubicBezTo>
                      <a:pt x="345103" y="0"/>
                      <a:pt x="381620" y="20502"/>
                      <a:pt x="403912" y="51694"/>
                    </a:cubicBezTo>
                    <a:cubicBezTo>
                      <a:pt x="418138" y="71756"/>
                      <a:pt x="426497" y="96212"/>
                      <a:pt x="426497" y="122572"/>
                    </a:cubicBezTo>
                    <a:cubicBezTo>
                      <a:pt x="426497" y="148931"/>
                      <a:pt x="418138" y="173387"/>
                      <a:pt x="403912" y="193450"/>
                    </a:cubicBezTo>
                    <a:cubicBezTo>
                      <a:pt x="381620" y="224642"/>
                      <a:pt x="345103" y="245144"/>
                      <a:pt x="303892" y="245144"/>
                    </a:cubicBezTo>
                    <a:cubicBezTo>
                      <a:pt x="236137" y="245144"/>
                      <a:pt x="181141" y="190082"/>
                      <a:pt x="181141" y="122572"/>
                    </a:cubicBezTo>
                    <a:cubicBezTo>
                      <a:pt x="181141" y="55062"/>
                      <a:pt x="236137" y="0"/>
                      <a:pt x="303892"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grpSp>
        <p:grpSp>
          <p:nvGrpSpPr>
            <p:cNvPr id="18" name="íşļîḍè"/>
            <p:cNvGrpSpPr/>
            <p:nvPr/>
          </p:nvGrpSpPr>
          <p:grpSpPr>
            <a:xfrm>
              <a:off x="1857077" y="4929562"/>
              <a:ext cx="1763279" cy="1030224"/>
              <a:chOff x="1897843" y="1953185"/>
              <a:chExt cx="1763279" cy="1030224"/>
            </a:xfrm>
          </p:grpSpPr>
          <p:sp>
            <p:nvSpPr>
              <p:cNvPr id="25" name="iṧľîḑè">
                <a:extLst>
                  <a:ext uri="{FF2B5EF4-FFF2-40B4-BE49-F238E27FC236}">
                    <a16:creationId xmlns:a16="http://schemas.microsoft.com/office/drawing/2014/main" id="{698E6602-8BEC-45F7-BE9D-F71B6D4C3EA3}"/>
                  </a:ext>
                </a:extLst>
              </p:cNvPr>
              <p:cNvSpPr/>
              <p:nvPr/>
            </p:nvSpPr>
            <p:spPr bwMode="auto">
              <a:xfrm>
                <a:off x="1897843" y="1953185"/>
                <a:ext cx="1763279" cy="392113"/>
              </a:xfrm>
              <a:prstGeom prst="rect">
                <a:avLst/>
              </a:prstGeom>
              <a:noFill/>
              <a:ln w="28575" algn="ctr">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defTabSz="914400"/>
                <a:r>
                  <a:rPr lang="en-US" altLang="zh-CN" sz="1600" b="1" kern="0"/>
                  <a:t>Te</a:t>
                </a:r>
                <a:r>
                  <a:rPr lang="en-US" altLang="zh-CN" sz="100" b="1" kern="0"/>
                  <a:t> </a:t>
                </a:r>
                <a:r>
                  <a:rPr lang="en-US" altLang="zh-CN" sz="1600" b="1" kern="0"/>
                  <a:t>xt </a:t>
                </a:r>
                <a:r>
                  <a:rPr lang="en-US" altLang="zh-CN" sz="1600" b="1" kern="0" dirty="0"/>
                  <a:t>here</a:t>
                </a:r>
                <a:endParaRPr lang="zh-CN" altLang="en-US" sz="1600" b="1" kern="0" dirty="0"/>
              </a:p>
            </p:txBody>
          </p:sp>
          <p:sp>
            <p:nvSpPr>
              <p:cNvPr id="26" name="işľiḍe">
                <a:extLst>
                  <a:ext uri="{FF2B5EF4-FFF2-40B4-BE49-F238E27FC236}">
                    <a16:creationId xmlns:a16="http://schemas.microsoft.com/office/drawing/2014/main" id="{A1F86F39-251F-4601-AC8B-0126F9478D2E}"/>
                  </a:ext>
                </a:extLst>
              </p:cNvPr>
              <p:cNvSpPr/>
              <p:nvPr/>
            </p:nvSpPr>
            <p:spPr>
              <a:xfrm>
                <a:off x="1897843" y="2345298"/>
                <a:ext cx="1763279" cy="63811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r">
                  <a:lnSpc>
                    <a:spcPct val="150000"/>
                  </a:lnSpc>
                </a:pPr>
                <a:r>
                  <a:rPr lang="en-US" altLang="zh-CN" sz="1100">
                    <a:solidFill>
                      <a:schemeClr val="tx1"/>
                    </a:solidFill>
                  </a:rPr>
                  <a:t>Suppo</a:t>
                </a:r>
                <a:r>
                  <a:rPr lang="en-US" altLang="zh-CN" sz="100">
                    <a:solidFill>
                      <a:schemeClr val="tx1"/>
                    </a:solidFill>
                  </a:rPr>
                  <a:t> </a:t>
                </a:r>
                <a:r>
                  <a:rPr lang="en-US" altLang="zh-CN" sz="1100">
                    <a:solidFill>
                      <a:schemeClr val="tx1"/>
                    </a:solidFill>
                  </a:rPr>
                  <a:t>rting </a:t>
                </a:r>
                <a:r>
                  <a:rPr lang="en-US" altLang="zh-CN" sz="1100" dirty="0">
                    <a:solidFill>
                      <a:schemeClr val="tx1"/>
                    </a:solidFill>
                  </a:rPr>
                  <a:t>text here.</a:t>
                </a:r>
              </a:p>
              <a:p>
                <a:pPr lvl="0" algn="r">
                  <a:lnSpc>
                    <a:spcPct val="150000"/>
                  </a:lnSpc>
                </a:pPr>
                <a:r>
                  <a:rPr lang="en-US" altLang="zh-CN" sz="1100" dirty="0">
                    <a:solidFill>
                      <a:schemeClr val="tx1"/>
                    </a:solidFill>
                  </a:rPr>
                  <a:t>……</a:t>
                </a:r>
              </a:p>
            </p:txBody>
          </p:sp>
        </p:grpSp>
        <p:grpSp>
          <p:nvGrpSpPr>
            <p:cNvPr id="19" name="îṧľîḑê">
              <a:extLst>
                <a:ext uri="{FF2B5EF4-FFF2-40B4-BE49-F238E27FC236}">
                  <a16:creationId xmlns:a16="http://schemas.microsoft.com/office/drawing/2014/main" id="{B81BA2E6-43B1-4741-914D-329113FB7832}"/>
                </a:ext>
              </a:extLst>
            </p:cNvPr>
            <p:cNvGrpSpPr/>
            <p:nvPr/>
          </p:nvGrpSpPr>
          <p:grpSpPr>
            <a:xfrm>
              <a:off x="7653446" y="5090454"/>
              <a:ext cx="708440" cy="708440"/>
              <a:chOff x="5019675" y="2562224"/>
              <a:chExt cx="660150" cy="660150"/>
            </a:xfrm>
          </p:grpSpPr>
          <p:sp>
            <p:nvSpPr>
              <p:cNvPr id="23" name="iṥḷíḋè">
                <a:extLst>
                  <a:ext uri="{FF2B5EF4-FFF2-40B4-BE49-F238E27FC236}">
                    <a16:creationId xmlns:a16="http://schemas.microsoft.com/office/drawing/2014/main" id="{FAC7BDBF-3E95-4E63-81A3-4047A0958E5F}"/>
                  </a:ext>
                </a:extLst>
              </p:cNvPr>
              <p:cNvSpPr/>
              <p:nvPr/>
            </p:nvSpPr>
            <p:spPr>
              <a:xfrm>
                <a:off x="5019675" y="2562224"/>
                <a:ext cx="660150" cy="660150"/>
              </a:xfrm>
              <a:prstGeom prst="ellipse">
                <a:avLst/>
              </a:prstGeom>
              <a:solidFill>
                <a:schemeClr val="bg1"/>
              </a:solidFill>
              <a:ln w="28575">
                <a:solidFill>
                  <a:schemeClr val="accent1"/>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solidFill>
                    <a:schemeClr val="tx1"/>
                  </a:solidFill>
                </a:endParaRPr>
              </a:p>
            </p:txBody>
          </p:sp>
          <p:sp>
            <p:nvSpPr>
              <p:cNvPr id="24" name="îṩ1ïḓê">
                <a:extLst>
                  <a:ext uri="{FF2B5EF4-FFF2-40B4-BE49-F238E27FC236}">
                    <a16:creationId xmlns:a16="http://schemas.microsoft.com/office/drawing/2014/main" id="{8CC13D89-BC5E-47D7-8C69-684048FA5C8D}"/>
                  </a:ext>
                </a:extLst>
              </p:cNvPr>
              <p:cNvSpPr/>
              <p:nvPr/>
            </p:nvSpPr>
            <p:spPr>
              <a:xfrm>
                <a:off x="5206310" y="2760703"/>
                <a:ext cx="286880" cy="263192"/>
              </a:xfrm>
              <a:custGeom>
                <a:avLst/>
                <a:gdLst>
                  <a:gd name="connsiteX0" fmla="*/ 303857 w 607639"/>
                  <a:gd name="connsiteY0" fmla="*/ 303714 h 557467"/>
                  <a:gd name="connsiteX1" fmla="*/ 352986 w 607639"/>
                  <a:gd name="connsiteY1" fmla="*/ 309132 h 557467"/>
                  <a:gd name="connsiteX2" fmla="*/ 514597 w 607639"/>
                  <a:gd name="connsiteY2" fmla="*/ 449845 h 557467"/>
                  <a:gd name="connsiteX3" fmla="*/ 528676 w 607639"/>
                  <a:gd name="connsiteY3" fmla="*/ 528182 h 557467"/>
                  <a:gd name="connsiteX4" fmla="*/ 499345 w 607639"/>
                  <a:gd name="connsiteY4" fmla="*/ 557467 h 557467"/>
                  <a:gd name="connsiteX5" fmla="*/ 108223 w 607639"/>
                  <a:gd name="connsiteY5" fmla="*/ 557467 h 557467"/>
                  <a:gd name="connsiteX6" fmla="*/ 78892 w 607639"/>
                  <a:gd name="connsiteY6" fmla="*/ 528182 h 557467"/>
                  <a:gd name="connsiteX7" fmla="*/ 303857 w 607639"/>
                  <a:gd name="connsiteY7" fmla="*/ 303714 h 557467"/>
                  <a:gd name="connsiteX8" fmla="*/ 455825 w 607639"/>
                  <a:gd name="connsiteY8" fmla="*/ 268995 h 557467"/>
                  <a:gd name="connsiteX9" fmla="*/ 607639 w 607639"/>
                  <a:gd name="connsiteY9" fmla="*/ 420565 h 557467"/>
                  <a:gd name="connsiteX10" fmla="*/ 578303 w 607639"/>
                  <a:gd name="connsiteY10" fmla="*/ 449854 h 557467"/>
                  <a:gd name="connsiteX11" fmla="*/ 576396 w 607639"/>
                  <a:gd name="connsiteY11" fmla="*/ 449854 h 557467"/>
                  <a:gd name="connsiteX12" fmla="*/ 424875 w 607639"/>
                  <a:gd name="connsiteY12" fmla="*/ 272217 h 557467"/>
                  <a:gd name="connsiteX13" fmla="*/ 455825 w 607639"/>
                  <a:gd name="connsiteY13" fmla="*/ 268995 h 557467"/>
                  <a:gd name="connsiteX14" fmla="*/ 151811 w 607639"/>
                  <a:gd name="connsiteY14" fmla="*/ 268995 h 557467"/>
                  <a:gd name="connsiteX15" fmla="*/ 182906 w 607639"/>
                  <a:gd name="connsiteY15" fmla="*/ 272217 h 557467"/>
                  <a:gd name="connsiteX16" fmla="*/ 31389 w 607639"/>
                  <a:gd name="connsiteY16" fmla="*/ 449854 h 557467"/>
                  <a:gd name="connsiteX17" fmla="*/ 29335 w 607639"/>
                  <a:gd name="connsiteY17" fmla="*/ 449854 h 557467"/>
                  <a:gd name="connsiteX18" fmla="*/ 0 w 607639"/>
                  <a:gd name="connsiteY18" fmla="*/ 420565 h 557467"/>
                  <a:gd name="connsiteX19" fmla="*/ 151811 w 607639"/>
                  <a:gd name="connsiteY19" fmla="*/ 268995 h 557467"/>
                  <a:gd name="connsiteX20" fmla="*/ 462556 w 607639"/>
                  <a:gd name="connsiteY20" fmla="*/ 35000 h 557467"/>
                  <a:gd name="connsiteX21" fmla="*/ 543847 w 607639"/>
                  <a:gd name="connsiteY21" fmla="*/ 122571 h 557467"/>
                  <a:gd name="connsiteX22" fmla="*/ 462556 w 607639"/>
                  <a:gd name="connsiteY22" fmla="*/ 210143 h 557467"/>
                  <a:gd name="connsiteX23" fmla="*/ 485153 w 607639"/>
                  <a:gd name="connsiteY23" fmla="*/ 122571 h 557467"/>
                  <a:gd name="connsiteX24" fmla="*/ 462556 w 607639"/>
                  <a:gd name="connsiteY24" fmla="*/ 35000 h 557467"/>
                  <a:gd name="connsiteX25" fmla="*/ 145224 w 607639"/>
                  <a:gd name="connsiteY25" fmla="*/ 35000 h 557467"/>
                  <a:gd name="connsiteX26" fmla="*/ 122481 w 607639"/>
                  <a:gd name="connsiteY26" fmla="*/ 122571 h 557467"/>
                  <a:gd name="connsiteX27" fmla="*/ 145224 w 607639"/>
                  <a:gd name="connsiteY27" fmla="*/ 210143 h 557467"/>
                  <a:gd name="connsiteX28" fmla="*/ 63791 w 607639"/>
                  <a:gd name="connsiteY28" fmla="*/ 122571 h 557467"/>
                  <a:gd name="connsiteX29" fmla="*/ 145224 w 607639"/>
                  <a:gd name="connsiteY29" fmla="*/ 35000 h 557467"/>
                  <a:gd name="connsiteX30" fmla="*/ 303892 w 607639"/>
                  <a:gd name="connsiteY30" fmla="*/ 0 h 557467"/>
                  <a:gd name="connsiteX31" fmla="*/ 403912 w 607639"/>
                  <a:gd name="connsiteY31" fmla="*/ 51694 h 557467"/>
                  <a:gd name="connsiteX32" fmla="*/ 426497 w 607639"/>
                  <a:gd name="connsiteY32" fmla="*/ 122572 h 557467"/>
                  <a:gd name="connsiteX33" fmla="*/ 403912 w 607639"/>
                  <a:gd name="connsiteY33" fmla="*/ 193450 h 557467"/>
                  <a:gd name="connsiteX34" fmla="*/ 303892 w 607639"/>
                  <a:gd name="connsiteY34" fmla="*/ 245144 h 557467"/>
                  <a:gd name="connsiteX35" fmla="*/ 181141 w 607639"/>
                  <a:gd name="connsiteY35" fmla="*/ 122572 h 557467"/>
                  <a:gd name="connsiteX36" fmla="*/ 303892 w 607639"/>
                  <a:gd name="connsiteY36" fmla="*/ 0 h 55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7639" h="557467">
                    <a:moveTo>
                      <a:pt x="303857" y="303714"/>
                    </a:moveTo>
                    <a:cubicBezTo>
                      <a:pt x="320722" y="303714"/>
                      <a:pt x="337148" y="305618"/>
                      <a:pt x="352986" y="309132"/>
                    </a:cubicBezTo>
                    <a:cubicBezTo>
                      <a:pt x="427486" y="325824"/>
                      <a:pt x="488200" y="379562"/>
                      <a:pt x="514597" y="449845"/>
                    </a:cubicBezTo>
                    <a:cubicBezTo>
                      <a:pt x="523690" y="474298"/>
                      <a:pt x="528676" y="500655"/>
                      <a:pt x="528676" y="528182"/>
                    </a:cubicBezTo>
                    <a:cubicBezTo>
                      <a:pt x="528676" y="544289"/>
                      <a:pt x="515477" y="557467"/>
                      <a:pt x="499345" y="557467"/>
                    </a:cubicBezTo>
                    <a:lnTo>
                      <a:pt x="108223" y="557467"/>
                    </a:lnTo>
                    <a:cubicBezTo>
                      <a:pt x="92091" y="557467"/>
                      <a:pt x="78892" y="544289"/>
                      <a:pt x="78892" y="528182"/>
                    </a:cubicBezTo>
                    <a:cubicBezTo>
                      <a:pt x="78892" y="404307"/>
                      <a:pt x="179789" y="303714"/>
                      <a:pt x="303857" y="303714"/>
                    </a:cubicBezTo>
                    <a:close/>
                    <a:moveTo>
                      <a:pt x="455825" y="268995"/>
                    </a:moveTo>
                    <a:cubicBezTo>
                      <a:pt x="539579" y="268995"/>
                      <a:pt x="607639" y="336945"/>
                      <a:pt x="607639" y="420565"/>
                    </a:cubicBezTo>
                    <a:cubicBezTo>
                      <a:pt x="607639" y="436674"/>
                      <a:pt x="594584" y="449854"/>
                      <a:pt x="578303" y="449854"/>
                    </a:cubicBezTo>
                    <a:lnTo>
                      <a:pt x="576396" y="449854"/>
                    </a:lnTo>
                    <a:cubicBezTo>
                      <a:pt x="553661" y="371360"/>
                      <a:pt x="497775" y="306631"/>
                      <a:pt x="424875" y="272217"/>
                    </a:cubicBezTo>
                    <a:cubicBezTo>
                      <a:pt x="434996" y="270020"/>
                      <a:pt x="445410" y="268995"/>
                      <a:pt x="455825" y="268995"/>
                    </a:cubicBezTo>
                    <a:close/>
                    <a:moveTo>
                      <a:pt x="151811" y="268995"/>
                    </a:moveTo>
                    <a:cubicBezTo>
                      <a:pt x="162371" y="268995"/>
                      <a:pt x="172785" y="270020"/>
                      <a:pt x="182906" y="272217"/>
                    </a:cubicBezTo>
                    <a:cubicBezTo>
                      <a:pt x="110008" y="306631"/>
                      <a:pt x="53977" y="371360"/>
                      <a:pt x="31389" y="449854"/>
                    </a:cubicBezTo>
                    <a:lnTo>
                      <a:pt x="29335" y="449854"/>
                    </a:lnTo>
                    <a:cubicBezTo>
                      <a:pt x="13201" y="449854"/>
                      <a:pt x="0" y="436674"/>
                      <a:pt x="0" y="420565"/>
                    </a:cubicBezTo>
                    <a:cubicBezTo>
                      <a:pt x="0" y="336945"/>
                      <a:pt x="68058" y="268995"/>
                      <a:pt x="151811" y="268995"/>
                    </a:cubicBezTo>
                    <a:close/>
                    <a:moveTo>
                      <a:pt x="462556" y="35000"/>
                    </a:moveTo>
                    <a:cubicBezTo>
                      <a:pt x="507897" y="38368"/>
                      <a:pt x="543847" y="76296"/>
                      <a:pt x="543847" y="122571"/>
                    </a:cubicBezTo>
                    <a:cubicBezTo>
                      <a:pt x="543847" y="168847"/>
                      <a:pt x="507897" y="206775"/>
                      <a:pt x="462556" y="210143"/>
                    </a:cubicBezTo>
                    <a:cubicBezTo>
                      <a:pt x="476936" y="184223"/>
                      <a:pt x="485153" y="154349"/>
                      <a:pt x="485153" y="122571"/>
                    </a:cubicBezTo>
                    <a:cubicBezTo>
                      <a:pt x="485153" y="90794"/>
                      <a:pt x="476936" y="60920"/>
                      <a:pt x="462556" y="35000"/>
                    </a:cubicBezTo>
                    <a:close/>
                    <a:moveTo>
                      <a:pt x="145224" y="35000"/>
                    </a:moveTo>
                    <a:cubicBezTo>
                      <a:pt x="130698" y="60920"/>
                      <a:pt x="122481" y="90794"/>
                      <a:pt x="122481" y="122571"/>
                    </a:cubicBezTo>
                    <a:cubicBezTo>
                      <a:pt x="122481" y="154349"/>
                      <a:pt x="130698" y="184223"/>
                      <a:pt x="145224" y="210143"/>
                    </a:cubicBezTo>
                    <a:cubicBezTo>
                      <a:pt x="99739" y="206775"/>
                      <a:pt x="63791" y="168847"/>
                      <a:pt x="63791" y="122571"/>
                    </a:cubicBezTo>
                    <a:cubicBezTo>
                      <a:pt x="63791" y="76296"/>
                      <a:pt x="99739" y="38368"/>
                      <a:pt x="145224" y="35000"/>
                    </a:cubicBezTo>
                    <a:close/>
                    <a:moveTo>
                      <a:pt x="303892" y="0"/>
                    </a:moveTo>
                    <a:cubicBezTo>
                      <a:pt x="345103" y="0"/>
                      <a:pt x="381620" y="20502"/>
                      <a:pt x="403912" y="51694"/>
                    </a:cubicBezTo>
                    <a:cubicBezTo>
                      <a:pt x="418138" y="71756"/>
                      <a:pt x="426497" y="96212"/>
                      <a:pt x="426497" y="122572"/>
                    </a:cubicBezTo>
                    <a:cubicBezTo>
                      <a:pt x="426497" y="148931"/>
                      <a:pt x="418138" y="173387"/>
                      <a:pt x="403912" y="193450"/>
                    </a:cubicBezTo>
                    <a:cubicBezTo>
                      <a:pt x="381620" y="224642"/>
                      <a:pt x="345103" y="245144"/>
                      <a:pt x="303892" y="245144"/>
                    </a:cubicBezTo>
                    <a:cubicBezTo>
                      <a:pt x="236137" y="245144"/>
                      <a:pt x="181141" y="190082"/>
                      <a:pt x="181141" y="122572"/>
                    </a:cubicBezTo>
                    <a:cubicBezTo>
                      <a:pt x="181141" y="55062"/>
                      <a:pt x="236137" y="0"/>
                      <a:pt x="303892"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grpSp>
        <p:grpSp>
          <p:nvGrpSpPr>
            <p:cNvPr id="20" name="ïsļíďê"/>
            <p:cNvGrpSpPr/>
            <p:nvPr/>
          </p:nvGrpSpPr>
          <p:grpSpPr>
            <a:xfrm>
              <a:off x="8549346" y="4929562"/>
              <a:ext cx="1763279" cy="1030224"/>
              <a:chOff x="1897843" y="1953185"/>
              <a:chExt cx="1763279" cy="1030224"/>
            </a:xfrm>
          </p:grpSpPr>
          <p:sp>
            <p:nvSpPr>
              <p:cNvPr id="21" name="iṡļiḑé">
                <a:extLst>
                  <a:ext uri="{FF2B5EF4-FFF2-40B4-BE49-F238E27FC236}">
                    <a16:creationId xmlns:a16="http://schemas.microsoft.com/office/drawing/2014/main" id="{698E6602-8BEC-45F7-BE9D-F71B6D4C3EA3}"/>
                  </a:ext>
                </a:extLst>
              </p:cNvPr>
              <p:cNvSpPr/>
              <p:nvPr/>
            </p:nvSpPr>
            <p:spPr bwMode="auto">
              <a:xfrm>
                <a:off x="1897843" y="1953185"/>
                <a:ext cx="1763279" cy="392113"/>
              </a:xfrm>
              <a:prstGeom prst="rect">
                <a:avLst/>
              </a:prstGeom>
              <a:noFill/>
              <a:ln w="28575" algn="ctr">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defTabSz="914400"/>
                <a:r>
                  <a:rPr lang="en-US" altLang="zh-CN" sz="1600" b="1" kern="0"/>
                  <a:t>Te</a:t>
                </a:r>
                <a:r>
                  <a:rPr lang="en-US" altLang="zh-CN" sz="100" b="1" kern="0"/>
                  <a:t> </a:t>
                </a:r>
                <a:r>
                  <a:rPr lang="en-US" altLang="zh-CN" sz="1600" b="1" kern="0"/>
                  <a:t>xt </a:t>
                </a:r>
                <a:r>
                  <a:rPr lang="en-US" altLang="zh-CN" sz="1600" b="1" kern="0" dirty="0"/>
                  <a:t>here</a:t>
                </a:r>
                <a:endParaRPr lang="zh-CN" altLang="en-US" sz="1600" b="1" kern="0" dirty="0"/>
              </a:p>
            </p:txBody>
          </p:sp>
          <p:sp>
            <p:nvSpPr>
              <p:cNvPr id="22" name="iṩlïḍé">
                <a:extLst>
                  <a:ext uri="{FF2B5EF4-FFF2-40B4-BE49-F238E27FC236}">
                    <a16:creationId xmlns:a16="http://schemas.microsoft.com/office/drawing/2014/main" id="{A1F86F39-251F-4601-AC8B-0126F9478D2E}"/>
                  </a:ext>
                </a:extLst>
              </p:cNvPr>
              <p:cNvSpPr/>
              <p:nvPr/>
            </p:nvSpPr>
            <p:spPr>
              <a:xfrm>
                <a:off x="1897843" y="2345298"/>
                <a:ext cx="1763279" cy="63811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nSpc>
                    <a:spcPct val="150000"/>
                  </a:lnSpc>
                </a:pPr>
                <a:r>
                  <a:rPr lang="en-US" altLang="zh-CN" sz="1100">
                    <a:solidFill>
                      <a:schemeClr val="tx1"/>
                    </a:solidFill>
                  </a:rPr>
                  <a:t>Suppo</a:t>
                </a:r>
                <a:r>
                  <a:rPr lang="en-US" altLang="zh-CN" sz="100">
                    <a:solidFill>
                      <a:schemeClr val="tx1"/>
                    </a:solidFill>
                  </a:rPr>
                  <a:t> </a:t>
                </a:r>
                <a:r>
                  <a:rPr lang="en-US" altLang="zh-CN" sz="1100">
                    <a:solidFill>
                      <a:schemeClr val="tx1"/>
                    </a:solidFill>
                  </a:rPr>
                  <a:t>rting </a:t>
                </a:r>
                <a:r>
                  <a:rPr lang="en-US" altLang="zh-CN" sz="1100" dirty="0">
                    <a:solidFill>
                      <a:schemeClr val="tx1"/>
                    </a:solidFill>
                  </a:rPr>
                  <a:t>text here.</a:t>
                </a:r>
              </a:p>
              <a:p>
                <a:pPr lvl="0">
                  <a:lnSpc>
                    <a:spcPct val="150000"/>
                  </a:lnSpc>
                </a:pPr>
                <a:r>
                  <a:rPr lang="en-US" altLang="zh-CN" sz="1100" dirty="0">
                    <a:solidFill>
                      <a:schemeClr val="tx1"/>
                    </a:solidFill>
                  </a:rPr>
                  <a:t>……</a:t>
                </a:r>
              </a:p>
            </p:txBody>
          </p:sp>
        </p:grpSp>
      </p:grpSp>
    </p:spTree>
    <p:extLst>
      <p:ext uri="{BB962C8B-B14F-4D97-AF65-F5344CB8AC3E}">
        <p14:creationId xmlns:p14="http://schemas.microsoft.com/office/powerpoint/2010/main" val="29832973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GB" b="0" i="0" dirty="0">
                <a:solidFill>
                  <a:srgbClr val="000000"/>
                </a:solidFill>
                <a:effectLst/>
                <a:latin typeface="Roboto" panose="02000000000000000000" pitchFamily="2" charset="0"/>
              </a:rPr>
              <a:t>Public virus prevention measures</a:t>
            </a:r>
            <a:endParaRPr lang="zh-CN" altLang="en-US" dirty="0"/>
          </a:p>
        </p:txBody>
      </p:sp>
      <p:sp>
        <p:nvSpPr>
          <p:cNvPr id="3" name="页脚占位符 2"/>
          <p:cNvSpPr>
            <a:spLocks noGrp="1"/>
          </p:cNvSpPr>
          <p:nvPr>
            <p:ph type="ftr" sz="quarter" idx="11"/>
          </p:nvPr>
        </p:nvSpPr>
        <p:spPr/>
        <p:txBody>
          <a:bodyPr/>
          <a:lstStyle/>
          <a:p>
            <a:r>
              <a:rPr lang="en-GB" altLang="zh-CN" dirty="0"/>
              <a:t>https://iSlide-PowerPoint.com </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5</a:t>
            </a:fld>
            <a:endParaRPr lang="zh-CN" altLang="en-US"/>
          </a:p>
        </p:txBody>
      </p:sp>
      <p:grpSp>
        <p:nvGrpSpPr>
          <p:cNvPr id="5" name="277655"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1744049" y="1567854"/>
            <a:ext cx="8703902" cy="3916361"/>
            <a:chOff x="1744049" y="1567854"/>
            <a:chExt cx="8703902" cy="3916361"/>
          </a:xfrm>
        </p:grpSpPr>
        <p:sp>
          <p:nvSpPr>
            <p:cNvPr id="6" name="iṣ1idê">
              <a:extLst>
                <a:ext uri="{FF2B5EF4-FFF2-40B4-BE49-F238E27FC236}">
                  <a16:creationId xmlns:a16="http://schemas.microsoft.com/office/drawing/2014/main" id="{17A7B2B7-AE72-456D-8531-28612320BC62}"/>
                </a:ext>
              </a:extLst>
            </p:cNvPr>
            <p:cNvSpPr/>
            <p:nvPr/>
          </p:nvSpPr>
          <p:spPr bwMode="auto">
            <a:xfrm>
              <a:off x="4494092" y="1666394"/>
              <a:ext cx="2515036" cy="1219791"/>
            </a:xfrm>
            <a:custGeom>
              <a:avLst/>
              <a:gdLst>
                <a:gd name="T0" fmla="*/ 13 w 241"/>
                <a:gd name="T1" fmla="*/ 117 h 117"/>
                <a:gd name="T2" fmla="*/ 103 w 241"/>
                <a:gd name="T3" fmla="*/ 104 h 117"/>
                <a:gd name="T4" fmla="*/ 76 w 241"/>
                <a:gd name="T5" fmla="*/ 84 h 117"/>
                <a:gd name="T6" fmla="*/ 152 w 241"/>
                <a:gd name="T7" fmla="*/ 58 h 117"/>
                <a:gd name="T8" fmla="*/ 204 w 241"/>
                <a:gd name="T9" fmla="*/ 70 h 117"/>
                <a:gd name="T10" fmla="*/ 205 w 241"/>
                <a:gd name="T11" fmla="*/ 71 h 117"/>
                <a:gd name="T12" fmla="*/ 200 w 241"/>
                <a:gd name="T13" fmla="*/ 32 h 117"/>
                <a:gd name="T14" fmla="*/ 241 w 241"/>
                <a:gd name="T15" fmla="*/ 26 h 117"/>
                <a:gd name="T16" fmla="*/ 228 w 241"/>
                <a:gd name="T17" fmla="*/ 19 h 117"/>
                <a:gd name="T18" fmla="*/ 137 w 241"/>
                <a:gd name="T19" fmla="*/ 2 h 117"/>
                <a:gd name="T20" fmla="*/ 29 w 241"/>
                <a:gd name="T21" fmla="*/ 49 h 117"/>
                <a:gd name="T22" fmla="*/ 0 w 241"/>
                <a:gd name="T23" fmla="*/ 27 h 117"/>
                <a:gd name="T24" fmla="*/ 13 w 241"/>
                <a:gd name="T25"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1" h="117">
                  <a:moveTo>
                    <a:pt x="13" y="117"/>
                  </a:moveTo>
                  <a:cubicBezTo>
                    <a:pt x="103" y="104"/>
                    <a:pt x="103" y="104"/>
                    <a:pt x="103" y="104"/>
                  </a:cubicBezTo>
                  <a:cubicBezTo>
                    <a:pt x="76" y="84"/>
                    <a:pt x="76" y="84"/>
                    <a:pt x="76" y="84"/>
                  </a:cubicBezTo>
                  <a:cubicBezTo>
                    <a:pt x="97" y="67"/>
                    <a:pt x="124" y="58"/>
                    <a:pt x="152" y="58"/>
                  </a:cubicBezTo>
                  <a:cubicBezTo>
                    <a:pt x="169" y="58"/>
                    <a:pt x="187" y="62"/>
                    <a:pt x="204" y="70"/>
                  </a:cubicBezTo>
                  <a:cubicBezTo>
                    <a:pt x="205" y="70"/>
                    <a:pt x="205" y="70"/>
                    <a:pt x="205" y="71"/>
                  </a:cubicBezTo>
                  <a:cubicBezTo>
                    <a:pt x="200" y="32"/>
                    <a:pt x="200" y="32"/>
                    <a:pt x="200" y="32"/>
                  </a:cubicBezTo>
                  <a:cubicBezTo>
                    <a:pt x="241" y="26"/>
                    <a:pt x="241" y="26"/>
                    <a:pt x="241" y="26"/>
                  </a:cubicBezTo>
                  <a:cubicBezTo>
                    <a:pt x="237" y="24"/>
                    <a:pt x="233" y="21"/>
                    <a:pt x="228" y="19"/>
                  </a:cubicBezTo>
                  <a:cubicBezTo>
                    <a:pt x="199" y="5"/>
                    <a:pt x="168" y="0"/>
                    <a:pt x="137" y="2"/>
                  </a:cubicBezTo>
                  <a:cubicBezTo>
                    <a:pt x="97" y="6"/>
                    <a:pt x="59" y="22"/>
                    <a:pt x="29" y="49"/>
                  </a:cubicBezTo>
                  <a:cubicBezTo>
                    <a:pt x="0" y="27"/>
                    <a:pt x="0" y="27"/>
                    <a:pt x="0" y="27"/>
                  </a:cubicBezTo>
                  <a:lnTo>
                    <a:pt x="13" y="117"/>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7" name="ïś1îḑé">
              <a:extLst>
                <a:ext uri="{FF2B5EF4-FFF2-40B4-BE49-F238E27FC236}">
                  <a16:creationId xmlns:a16="http://schemas.microsoft.com/office/drawing/2014/main" id="{FB1248C5-72D2-4E8D-9131-E8C6521FC733}"/>
                </a:ext>
              </a:extLst>
            </p:cNvPr>
            <p:cNvSpPr/>
            <p:nvPr/>
          </p:nvSpPr>
          <p:spPr bwMode="auto">
            <a:xfrm>
              <a:off x="4172168" y="2624621"/>
              <a:ext cx="1219792" cy="2515034"/>
            </a:xfrm>
            <a:custGeom>
              <a:avLst/>
              <a:gdLst>
                <a:gd name="T0" fmla="*/ 117 w 117"/>
                <a:gd name="T1" fmla="*/ 228 h 241"/>
                <a:gd name="T2" fmla="*/ 104 w 117"/>
                <a:gd name="T3" fmla="*/ 139 h 241"/>
                <a:gd name="T4" fmla="*/ 83 w 117"/>
                <a:gd name="T5" fmla="*/ 166 h 241"/>
                <a:gd name="T6" fmla="*/ 58 w 117"/>
                <a:gd name="T7" fmla="*/ 99 h 241"/>
                <a:gd name="T8" fmla="*/ 70 w 117"/>
                <a:gd name="T9" fmla="*/ 37 h 241"/>
                <a:gd name="T10" fmla="*/ 70 w 117"/>
                <a:gd name="T11" fmla="*/ 36 h 241"/>
                <a:gd name="T12" fmla="*/ 31 w 117"/>
                <a:gd name="T13" fmla="*/ 42 h 241"/>
                <a:gd name="T14" fmla="*/ 26 w 117"/>
                <a:gd name="T15" fmla="*/ 0 h 241"/>
                <a:gd name="T16" fmla="*/ 19 w 117"/>
                <a:gd name="T17" fmla="*/ 13 h 241"/>
                <a:gd name="T18" fmla="*/ 2 w 117"/>
                <a:gd name="T19" fmla="*/ 102 h 241"/>
                <a:gd name="T20" fmla="*/ 49 w 117"/>
                <a:gd name="T21" fmla="*/ 212 h 241"/>
                <a:gd name="T22" fmla="*/ 27 w 117"/>
                <a:gd name="T23" fmla="*/ 241 h 241"/>
                <a:gd name="T24" fmla="*/ 117 w 117"/>
                <a:gd name="T25" fmla="*/ 22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 h="241">
                  <a:moveTo>
                    <a:pt x="117" y="228"/>
                  </a:moveTo>
                  <a:cubicBezTo>
                    <a:pt x="104" y="139"/>
                    <a:pt x="104" y="139"/>
                    <a:pt x="104" y="139"/>
                  </a:cubicBezTo>
                  <a:cubicBezTo>
                    <a:pt x="83" y="166"/>
                    <a:pt x="83" y="166"/>
                    <a:pt x="83" y="166"/>
                  </a:cubicBezTo>
                  <a:cubicBezTo>
                    <a:pt x="69" y="146"/>
                    <a:pt x="60" y="123"/>
                    <a:pt x="58" y="99"/>
                  </a:cubicBezTo>
                  <a:cubicBezTo>
                    <a:pt x="57" y="78"/>
                    <a:pt x="60" y="57"/>
                    <a:pt x="70" y="37"/>
                  </a:cubicBezTo>
                  <a:cubicBezTo>
                    <a:pt x="70" y="37"/>
                    <a:pt x="70" y="37"/>
                    <a:pt x="70" y="36"/>
                  </a:cubicBezTo>
                  <a:cubicBezTo>
                    <a:pt x="31" y="42"/>
                    <a:pt x="31" y="42"/>
                    <a:pt x="31" y="42"/>
                  </a:cubicBezTo>
                  <a:cubicBezTo>
                    <a:pt x="26" y="0"/>
                    <a:pt x="26" y="0"/>
                    <a:pt x="26" y="0"/>
                  </a:cubicBezTo>
                  <a:cubicBezTo>
                    <a:pt x="23" y="5"/>
                    <a:pt x="21" y="9"/>
                    <a:pt x="19" y="13"/>
                  </a:cubicBezTo>
                  <a:cubicBezTo>
                    <a:pt x="5" y="42"/>
                    <a:pt x="0" y="73"/>
                    <a:pt x="2" y="102"/>
                  </a:cubicBezTo>
                  <a:cubicBezTo>
                    <a:pt x="5" y="143"/>
                    <a:pt x="21" y="182"/>
                    <a:pt x="49" y="212"/>
                  </a:cubicBezTo>
                  <a:cubicBezTo>
                    <a:pt x="27" y="241"/>
                    <a:pt x="27" y="241"/>
                    <a:pt x="27" y="241"/>
                  </a:cubicBezTo>
                  <a:lnTo>
                    <a:pt x="117" y="228"/>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8" name="íšḻïḓe">
              <a:extLst>
                <a:ext uri="{FF2B5EF4-FFF2-40B4-BE49-F238E27FC236}">
                  <a16:creationId xmlns:a16="http://schemas.microsoft.com/office/drawing/2014/main" id="{615BC3F1-24CF-4FF5-9AA2-5787D0A80112}"/>
                </a:ext>
              </a:extLst>
            </p:cNvPr>
            <p:cNvSpPr/>
            <p:nvPr/>
          </p:nvSpPr>
          <p:spPr bwMode="auto">
            <a:xfrm>
              <a:off x="5130398" y="4251849"/>
              <a:ext cx="2515036" cy="1232366"/>
            </a:xfrm>
            <a:custGeom>
              <a:avLst/>
              <a:gdLst>
                <a:gd name="T0" fmla="*/ 241 w 241"/>
                <a:gd name="T1" fmla="*/ 90 h 118"/>
                <a:gd name="T2" fmla="*/ 228 w 241"/>
                <a:gd name="T3" fmla="*/ 0 h 118"/>
                <a:gd name="T4" fmla="*/ 138 w 241"/>
                <a:gd name="T5" fmla="*/ 13 h 118"/>
                <a:gd name="T6" fmla="*/ 165 w 241"/>
                <a:gd name="T7" fmla="*/ 33 h 118"/>
                <a:gd name="T8" fmla="*/ 96 w 241"/>
                <a:gd name="T9" fmla="*/ 59 h 118"/>
                <a:gd name="T10" fmla="*/ 37 w 241"/>
                <a:gd name="T11" fmla="*/ 47 h 118"/>
                <a:gd name="T12" fmla="*/ 36 w 241"/>
                <a:gd name="T13" fmla="*/ 46 h 118"/>
                <a:gd name="T14" fmla="*/ 42 w 241"/>
                <a:gd name="T15" fmla="*/ 85 h 118"/>
                <a:gd name="T16" fmla="*/ 0 w 241"/>
                <a:gd name="T17" fmla="*/ 91 h 118"/>
                <a:gd name="T18" fmla="*/ 13 w 241"/>
                <a:gd name="T19" fmla="*/ 98 h 118"/>
                <a:gd name="T20" fmla="*/ 112 w 241"/>
                <a:gd name="T21" fmla="*/ 114 h 118"/>
                <a:gd name="T22" fmla="*/ 212 w 241"/>
                <a:gd name="T23" fmla="*/ 68 h 118"/>
                <a:gd name="T24" fmla="*/ 241 w 241"/>
                <a:gd name="T25" fmla="*/ 9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1" h="118">
                  <a:moveTo>
                    <a:pt x="241" y="90"/>
                  </a:moveTo>
                  <a:cubicBezTo>
                    <a:pt x="228" y="0"/>
                    <a:pt x="228" y="0"/>
                    <a:pt x="228" y="0"/>
                  </a:cubicBezTo>
                  <a:cubicBezTo>
                    <a:pt x="138" y="13"/>
                    <a:pt x="138" y="13"/>
                    <a:pt x="138" y="13"/>
                  </a:cubicBezTo>
                  <a:cubicBezTo>
                    <a:pt x="165" y="33"/>
                    <a:pt x="165" y="33"/>
                    <a:pt x="165" y="33"/>
                  </a:cubicBezTo>
                  <a:cubicBezTo>
                    <a:pt x="145" y="48"/>
                    <a:pt x="121" y="57"/>
                    <a:pt x="96" y="59"/>
                  </a:cubicBezTo>
                  <a:cubicBezTo>
                    <a:pt x="76" y="60"/>
                    <a:pt x="56" y="56"/>
                    <a:pt x="37" y="47"/>
                  </a:cubicBezTo>
                  <a:cubicBezTo>
                    <a:pt x="36" y="47"/>
                    <a:pt x="36" y="47"/>
                    <a:pt x="36" y="46"/>
                  </a:cubicBezTo>
                  <a:cubicBezTo>
                    <a:pt x="42" y="85"/>
                    <a:pt x="42" y="85"/>
                    <a:pt x="42" y="85"/>
                  </a:cubicBezTo>
                  <a:cubicBezTo>
                    <a:pt x="0" y="91"/>
                    <a:pt x="0" y="91"/>
                    <a:pt x="0" y="91"/>
                  </a:cubicBezTo>
                  <a:cubicBezTo>
                    <a:pt x="4" y="93"/>
                    <a:pt x="8" y="96"/>
                    <a:pt x="13" y="98"/>
                  </a:cubicBezTo>
                  <a:cubicBezTo>
                    <a:pt x="45" y="113"/>
                    <a:pt x="79" y="118"/>
                    <a:pt x="112" y="114"/>
                  </a:cubicBezTo>
                  <a:cubicBezTo>
                    <a:pt x="149" y="109"/>
                    <a:pt x="184" y="93"/>
                    <a:pt x="212" y="68"/>
                  </a:cubicBezTo>
                  <a:lnTo>
                    <a:pt x="241" y="9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9" name="íşḷïḋè">
              <a:extLst>
                <a:ext uri="{FF2B5EF4-FFF2-40B4-BE49-F238E27FC236}">
                  <a16:creationId xmlns:a16="http://schemas.microsoft.com/office/drawing/2014/main" id="{580A8A01-FBA3-4C24-8712-35E2353FA024}"/>
                </a:ext>
              </a:extLst>
            </p:cNvPr>
            <p:cNvSpPr/>
            <p:nvPr/>
          </p:nvSpPr>
          <p:spPr bwMode="auto">
            <a:xfrm>
              <a:off x="6747565" y="1998378"/>
              <a:ext cx="1219792" cy="2504973"/>
            </a:xfrm>
            <a:custGeom>
              <a:avLst/>
              <a:gdLst>
                <a:gd name="T0" fmla="*/ 0 w 117"/>
                <a:gd name="T1" fmla="*/ 13 h 240"/>
                <a:gd name="T2" fmla="*/ 13 w 117"/>
                <a:gd name="T3" fmla="*/ 102 h 240"/>
                <a:gd name="T4" fmla="*/ 34 w 117"/>
                <a:gd name="T5" fmla="*/ 75 h 240"/>
                <a:gd name="T6" fmla="*/ 59 w 117"/>
                <a:gd name="T7" fmla="*/ 143 h 240"/>
                <a:gd name="T8" fmla="*/ 47 w 117"/>
                <a:gd name="T9" fmla="*/ 204 h 240"/>
                <a:gd name="T10" fmla="*/ 47 w 117"/>
                <a:gd name="T11" fmla="*/ 205 h 240"/>
                <a:gd name="T12" fmla="*/ 86 w 117"/>
                <a:gd name="T13" fmla="*/ 199 h 240"/>
                <a:gd name="T14" fmla="*/ 92 w 117"/>
                <a:gd name="T15" fmla="*/ 240 h 240"/>
                <a:gd name="T16" fmla="*/ 98 w 117"/>
                <a:gd name="T17" fmla="*/ 228 h 240"/>
                <a:gd name="T18" fmla="*/ 115 w 117"/>
                <a:gd name="T19" fmla="*/ 139 h 240"/>
                <a:gd name="T20" fmla="*/ 68 w 117"/>
                <a:gd name="T21" fmla="*/ 29 h 240"/>
                <a:gd name="T22" fmla="*/ 90 w 117"/>
                <a:gd name="T23" fmla="*/ 0 h 240"/>
                <a:gd name="T24" fmla="*/ 0 w 117"/>
                <a:gd name="T25" fmla="*/ 1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 h="240">
                  <a:moveTo>
                    <a:pt x="0" y="13"/>
                  </a:moveTo>
                  <a:cubicBezTo>
                    <a:pt x="13" y="102"/>
                    <a:pt x="13" y="102"/>
                    <a:pt x="13" y="102"/>
                  </a:cubicBezTo>
                  <a:cubicBezTo>
                    <a:pt x="34" y="75"/>
                    <a:pt x="34" y="75"/>
                    <a:pt x="34" y="75"/>
                  </a:cubicBezTo>
                  <a:cubicBezTo>
                    <a:pt x="49" y="95"/>
                    <a:pt x="58" y="118"/>
                    <a:pt x="59" y="143"/>
                  </a:cubicBezTo>
                  <a:cubicBezTo>
                    <a:pt x="60" y="163"/>
                    <a:pt x="57" y="184"/>
                    <a:pt x="47" y="204"/>
                  </a:cubicBezTo>
                  <a:cubicBezTo>
                    <a:pt x="47" y="204"/>
                    <a:pt x="47" y="204"/>
                    <a:pt x="47" y="205"/>
                  </a:cubicBezTo>
                  <a:cubicBezTo>
                    <a:pt x="86" y="199"/>
                    <a:pt x="86" y="199"/>
                    <a:pt x="86" y="199"/>
                  </a:cubicBezTo>
                  <a:cubicBezTo>
                    <a:pt x="92" y="240"/>
                    <a:pt x="92" y="240"/>
                    <a:pt x="92" y="240"/>
                  </a:cubicBezTo>
                  <a:cubicBezTo>
                    <a:pt x="94" y="236"/>
                    <a:pt x="96" y="232"/>
                    <a:pt x="98" y="228"/>
                  </a:cubicBezTo>
                  <a:cubicBezTo>
                    <a:pt x="112" y="199"/>
                    <a:pt x="117" y="168"/>
                    <a:pt x="115" y="139"/>
                  </a:cubicBezTo>
                  <a:cubicBezTo>
                    <a:pt x="112" y="98"/>
                    <a:pt x="96" y="59"/>
                    <a:pt x="68" y="29"/>
                  </a:cubicBezTo>
                  <a:cubicBezTo>
                    <a:pt x="90" y="0"/>
                    <a:pt x="90" y="0"/>
                    <a:pt x="90" y="0"/>
                  </a:cubicBezTo>
                  <a:lnTo>
                    <a:pt x="0" y="13"/>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10" name="îṧ1íḓê">
              <a:extLst>
                <a:ext uri="{FF2B5EF4-FFF2-40B4-BE49-F238E27FC236}">
                  <a16:creationId xmlns:a16="http://schemas.microsoft.com/office/drawing/2014/main" id="{BC2C7299-2410-4DCD-9C74-5A777B0EADC9}"/>
                </a:ext>
              </a:extLst>
            </p:cNvPr>
            <p:cNvSpPr/>
            <p:nvPr/>
          </p:nvSpPr>
          <p:spPr bwMode="auto">
            <a:xfrm>
              <a:off x="4731402" y="2377440"/>
              <a:ext cx="338576" cy="310620"/>
            </a:xfrm>
            <a:custGeom>
              <a:avLst/>
              <a:gdLst>
                <a:gd name="connsiteX0" fmla="*/ 303857 w 607639"/>
                <a:gd name="connsiteY0" fmla="*/ 303714 h 557467"/>
                <a:gd name="connsiteX1" fmla="*/ 352986 w 607639"/>
                <a:gd name="connsiteY1" fmla="*/ 309132 h 557467"/>
                <a:gd name="connsiteX2" fmla="*/ 514597 w 607639"/>
                <a:gd name="connsiteY2" fmla="*/ 449845 h 557467"/>
                <a:gd name="connsiteX3" fmla="*/ 528676 w 607639"/>
                <a:gd name="connsiteY3" fmla="*/ 528182 h 557467"/>
                <a:gd name="connsiteX4" fmla="*/ 499345 w 607639"/>
                <a:gd name="connsiteY4" fmla="*/ 557467 h 557467"/>
                <a:gd name="connsiteX5" fmla="*/ 108223 w 607639"/>
                <a:gd name="connsiteY5" fmla="*/ 557467 h 557467"/>
                <a:gd name="connsiteX6" fmla="*/ 78892 w 607639"/>
                <a:gd name="connsiteY6" fmla="*/ 528182 h 557467"/>
                <a:gd name="connsiteX7" fmla="*/ 303857 w 607639"/>
                <a:gd name="connsiteY7" fmla="*/ 303714 h 557467"/>
                <a:gd name="connsiteX8" fmla="*/ 455825 w 607639"/>
                <a:gd name="connsiteY8" fmla="*/ 268995 h 557467"/>
                <a:gd name="connsiteX9" fmla="*/ 607639 w 607639"/>
                <a:gd name="connsiteY9" fmla="*/ 420565 h 557467"/>
                <a:gd name="connsiteX10" fmla="*/ 578303 w 607639"/>
                <a:gd name="connsiteY10" fmla="*/ 449854 h 557467"/>
                <a:gd name="connsiteX11" fmla="*/ 576396 w 607639"/>
                <a:gd name="connsiteY11" fmla="*/ 449854 h 557467"/>
                <a:gd name="connsiteX12" fmla="*/ 424875 w 607639"/>
                <a:gd name="connsiteY12" fmla="*/ 272217 h 557467"/>
                <a:gd name="connsiteX13" fmla="*/ 455825 w 607639"/>
                <a:gd name="connsiteY13" fmla="*/ 268995 h 557467"/>
                <a:gd name="connsiteX14" fmla="*/ 151811 w 607639"/>
                <a:gd name="connsiteY14" fmla="*/ 268995 h 557467"/>
                <a:gd name="connsiteX15" fmla="*/ 182906 w 607639"/>
                <a:gd name="connsiteY15" fmla="*/ 272217 h 557467"/>
                <a:gd name="connsiteX16" fmla="*/ 31389 w 607639"/>
                <a:gd name="connsiteY16" fmla="*/ 449854 h 557467"/>
                <a:gd name="connsiteX17" fmla="*/ 29335 w 607639"/>
                <a:gd name="connsiteY17" fmla="*/ 449854 h 557467"/>
                <a:gd name="connsiteX18" fmla="*/ 0 w 607639"/>
                <a:gd name="connsiteY18" fmla="*/ 420565 h 557467"/>
                <a:gd name="connsiteX19" fmla="*/ 151811 w 607639"/>
                <a:gd name="connsiteY19" fmla="*/ 268995 h 557467"/>
                <a:gd name="connsiteX20" fmla="*/ 462556 w 607639"/>
                <a:gd name="connsiteY20" fmla="*/ 35000 h 557467"/>
                <a:gd name="connsiteX21" fmla="*/ 543847 w 607639"/>
                <a:gd name="connsiteY21" fmla="*/ 122571 h 557467"/>
                <a:gd name="connsiteX22" fmla="*/ 462556 w 607639"/>
                <a:gd name="connsiteY22" fmla="*/ 210143 h 557467"/>
                <a:gd name="connsiteX23" fmla="*/ 485153 w 607639"/>
                <a:gd name="connsiteY23" fmla="*/ 122571 h 557467"/>
                <a:gd name="connsiteX24" fmla="*/ 462556 w 607639"/>
                <a:gd name="connsiteY24" fmla="*/ 35000 h 557467"/>
                <a:gd name="connsiteX25" fmla="*/ 145224 w 607639"/>
                <a:gd name="connsiteY25" fmla="*/ 35000 h 557467"/>
                <a:gd name="connsiteX26" fmla="*/ 122481 w 607639"/>
                <a:gd name="connsiteY26" fmla="*/ 122571 h 557467"/>
                <a:gd name="connsiteX27" fmla="*/ 145224 w 607639"/>
                <a:gd name="connsiteY27" fmla="*/ 210143 h 557467"/>
                <a:gd name="connsiteX28" fmla="*/ 63791 w 607639"/>
                <a:gd name="connsiteY28" fmla="*/ 122571 h 557467"/>
                <a:gd name="connsiteX29" fmla="*/ 145224 w 607639"/>
                <a:gd name="connsiteY29" fmla="*/ 35000 h 557467"/>
                <a:gd name="connsiteX30" fmla="*/ 303892 w 607639"/>
                <a:gd name="connsiteY30" fmla="*/ 0 h 557467"/>
                <a:gd name="connsiteX31" fmla="*/ 403912 w 607639"/>
                <a:gd name="connsiteY31" fmla="*/ 51694 h 557467"/>
                <a:gd name="connsiteX32" fmla="*/ 426497 w 607639"/>
                <a:gd name="connsiteY32" fmla="*/ 122572 h 557467"/>
                <a:gd name="connsiteX33" fmla="*/ 403912 w 607639"/>
                <a:gd name="connsiteY33" fmla="*/ 193450 h 557467"/>
                <a:gd name="connsiteX34" fmla="*/ 303892 w 607639"/>
                <a:gd name="connsiteY34" fmla="*/ 245144 h 557467"/>
                <a:gd name="connsiteX35" fmla="*/ 181141 w 607639"/>
                <a:gd name="connsiteY35" fmla="*/ 122572 h 557467"/>
                <a:gd name="connsiteX36" fmla="*/ 303892 w 607639"/>
                <a:gd name="connsiteY36" fmla="*/ 0 h 55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7639" h="557467">
                  <a:moveTo>
                    <a:pt x="303857" y="303714"/>
                  </a:moveTo>
                  <a:cubicBezTo>
                    <a:pt x="320722" y="303714"/>
                    <a:pt x="337148" y="305618"/>
                    <a:pt x="352986" y="309132"/>
                  </a:cubicBezTo>
                  <a:cubicBezTo>
                    <a:pt x="427486" y="325824"/>
                    <a:pt x="488200" y="379562"/>
                    <a:pt x="514597" y="449845"/>
                  </a:cubicBezTo>
                  <a:cubicBezTo>
                    <a:pt x="523690" y="474298"/>
                    <a:pt x="528676" y="500655"/>
                    <a:pt x="528676" y="528182"/>
                  </a:cubicBezTo>
                  <a:cubicBezTo>
                    <a:pt x="528676" y="544289"/>
                    <a:pt x="515477" y="557467"/>
                    <a:pt x="499345" y="557467"/>
                  </a:cubicBezTo>
                  <a:lnTo>
                    <a:pt x="108223" y="557467"/>
                  </a:lnTo>
                  <a:cubicBezTo>
                    <a:pt x="92091" y="557467"/>
                    <a:pt x="78892" y="544289"/>
                    <a:pt x="78892" y="528182"/>
                  </a:cubicBezTo>
                  <a:cubicBezTo>
                    <a:pt x="78892" y="404307"/>
                    <a:pt x="179789" y="303714"/>
                    <a:pt x="303857" y="303714"/>
                  </a:cubicBezTo>
                  <a:close/>
                  <a:moveTo>
                    <a:pt x="455825" y="268995"/>
                  </a:moveTo>
                  <a:cubicBezTo>
                    <a:pt x="539579" y="268995"/>
                    <a:pt x="607639" y="336945"/>
                    <a:pt x="607639" y="420565"/>
                  </a:cubicBezTo>
                  <a:cubicBezTo>
                    <a:pt x="607639" y="436674"/>
                    <a:pt x="594584" y="449854"/>
                    <a:pt x="578303" y="449854"/>
                  </a:cubicBezTo>
                  <a:lnTo>
                    <a:pt x="576396" y="449854"/>
                  </a:lnTo>
                  <a:cubicBezTo>
                    <a:pt x="553661" y="371360"/>
                    <a:pt x="497775" y="306631"/>
                    <a:pt x="424875" y="272217"/>
                  </a:cubicBezTo>
                  <a:cubicBezTo>
                    <a:pt x="434996" y="270020"/>
                    <a:pt x="445410" y="268995"/>
                    <a:pt x="455825" y="268995"/>
                  </a:cubicBezTo>
                  <a:close/>
                  <a:moveTo>
                    <a:pt x="151811" y="268995"/>
                  </a:moveTo>
                  <a:cubicBezTo>
                    <a:pt x="162371" y="268995"/>
                    <a:pt x="172785" y="270020"/>
                    <a:pt x="182906" y="272217"/>
                  </a:cubicBezTo>
                  <a:cubicBezTo>
                    <a:pt x="110008" y="306631"/>
                    <a:pt x="53977" y="371360"/>
                    <a:pt x="31389" y="449854"/>
                  </a:cubicBezTo>
                  <a:lnTo>
                    <a:pt x="29335" y="449854"/>
                  </a:lnTo>
                  <a:cubicBezTo>
                    <a:pt x="13201" y="449854"/>
                    <a:pt x="0" y="436674"/>
                    <a:pt x="0" y="420565"/>
                  </a:cubicBezTo>
                  <a:cubicBezTo>
                    <a:pt x="0" y="336945"/>
                    <a:pt x="68058" y="268995"/>
                    <a:pt x="151811" y="268995"/>
                  </a:cubicBezTo>
                  <a:close/>
                  <a:moveTo>
                    <a:pt x="462556" y="35000"/>
                  </a:moveTo>
                  <a:cubicBezTo>
                    <a:pt x="507897" y="38368"/>
                    <a:pt x="543847" y="76296"/>
                    <a:pt x="543847" y="122571"/>
                  </a:cubicBezTo>
                  <a:cubicBezTo>
                    <a:pt x="543847" y="168847"/>
                    <a:pt x="507897" y="206775"/>
                    <a:pt x="462556" y="210143"/>
                  </a:cubicBezTo>
                  <a:cubicBezTo>
                    <a:pt x="476936" y="184223"/>
                    <a:pt x="485153" y="154349"/>
                    <a:pt x="485153" y="122571"/>
                  </a:cubicBezTo>
                  <a:cubicBezTo>
                    <a:pt x="485153" y="90794"/>
                    <a:pt x="476936" y="60920"/>
                    <a:pt x="462556" y="35000"/>
                  </a:cubicBezTo>
                  <a:close/>
                  <a:moveTo>
                    <a:pt x="145224" y="35000"/>
                  </a:moveTo>
                  <a:cubicBezTo>
                    <a:pt x="130698" y="60920"/>
                    <a:pt x="122481" y="90794"/>
                    <a:pt x="122481" y="122571"/>
                  </a:cubicBezTo>
                  <a:cubicBezTo>
                    <a:pt x="122481" y="154349"/>
                    <a:pt x="130698" y="184223"/>
                    <a:pt x="145224" y="210143"/>
                  </a:cubicBezTo>
                  <a:cubicBezTo>
                    <a:pt x="99739" y="206775"/>
                    <a:pt x="63791" y="168847"/>
                    <a:pt x="63791" y="122571"/>
                  </a:cubicBezTo>
                  <a:cubicBezTo>
                    <a:pt x="63791" y="76296"/>
                    <a:pt x="99739" y="38368"/>
                    <a:pt x="145224" y="35000"/>
                  </a:cubicBezTo>
                  <a:close/>
                  <a:moveTo>
                    <a:pt x="303892" y="0"/>
                  </a:moveTo>
                  <a:cubicBezTo>
                    <a:pt x="345103" y="0"/>
                    <a:pt x="381620" y="20502"/>
                    <a:pt x="403912" y="51694"/>
                  </a:cubicBezTo>
                  <a:cubicBezTo>
                    <a:pt x="418138" y="71756"/>
                    <a:pt x="426497" y="96212"/>
                    <a:pt x="426497" y="122572"/>
                  </a:cubicBezTo>
                  <a:cubicBezTo>
                    <a:pt x="426497" y="148931"/>
                    <a:pt x="418138" y="173387"/>
                    <a:pt x="403912" y="193450"/>
                  </a:cubicBezTo>
                  <a:cubicBezTo>
                    <a:pt x="381620" y="224642"/>
                    <a:pt x="345103" y="245144"/>
                    <a:pt x="303892" y="245144"/>
                  </a:cubicBezTo>
                  <a:cubicBezTo>
                    <a:pt x="236137" y="245144"/>
                    <a:pt x="181141" y="190082"/>
                    <a:pt x="181141" y="122572"/>
                  </a:cubicBezTo>
                  <a:cubicBezTo>
                    <a:pt x="181141" y="55062"/>
                    <a:pt x="236137" y="0"/>
                    <a:pt x="303892" y="0"/>
                  </a:cubicBezTo>
                  <a:close/>
                </a:path>
              </a:pathLst>
            </a:custGeom>
            <a:solidFill>
              <a:schemeClr val="accent1"/>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11" name="iṧļîḓé">
              <a:extLst>
                <a:ext uri="{FF2B5EF4-FFF2-40B4-BE49-F238E27FC236}">
                  <a16:creationId xmlns:a16="http://schemas.microsoft.com/office/drawing/2014/main" id="{99C7F603-8EA1-4679-9804-933F0461CAEA}"/>
                </a:ext>
              </a:extLst>
            </p:cNvPr>
            <p:cNvSpPr/>
            <p:nvPr/>
          </p:nvSpPr>
          <p:spPr bwMode="auto">
            <a:xfrm>
              <a:off x="4895994" y="4590288"/>
              <a:ext cx="338576" cy="310620"/>
            </a:xfrm>
            <a:custGeom>
              <a:avLst/>
              <a:gdLst>
                <a:gd name="connsiteX0" fmla="*/ 303857 w 607639"/>
                <a:gd name="connsiteY0" fmla="*/ 303714 h 557467"/>
                <a:gd name="connsiteX1" fmla="*/ 352986 w 607639"/>
                <a:gd name="connsiteY1" fmla="*/ 309132 h 557467"/>
                <a:gd name="connsiteX2" fmla="*/ 514597 w 607639"/>
                <a:gd name="connsiteY2" fmla="*/ 449845 h 557467"/>
                <a:gd name="connsiteX3" fmla="*/ 528676 w 607639"/>
                <a:gd name="connsiteY3" fmla="*/ 528182 h 557467"/>
                <a:gd name="connsiteX4" fmla="*/ 499345 w 607639"/>
                <a:gd name="connsiteY4" fmla="*/ 557467 h 557467"/>
                <a:gd name="connsiteX5" fmla="*/ 108223 w 607639"/>
                <a:gd name="connsiteY5" fmla="*/ 557467 h 557467"/>
                <a:gd name="connsiteX6" fmla="*/ 78892 w 607639"/>
                <a:gd name="connsiteY6" fmla="*/ 528182 h 557467"/>
                <a:gd name="connsiteX7" fmla="*/ 303857 w 607639"/>
                <a:gd name="connsiteY7" fmla="*/ 303714 h 557467"/>
                <a:gd name="connsiteX8" fmla="*/ 455825 w 607639"/>
                <a:gd name="connsiteY8" fmla="*/ 268995 h 557467"/>
                <a:gd name="connsiteX9" fmla="*/ 607639 w 607639"/>
                <a:gd name="connsiteY9" fmla="*/ 420565 h 557467"/>
                <a:gd name="connsiteX10" fmla="*/ 578303 w 607639"/>
                <a:gd name="connsiteY10" fmla="*/ 449854 h 557467"/>
                <a:gd name="connsiteX11" fmla="*/ 576396 w 607639"/>
                <a:gd name="connsiteY11" fmla="*/ 449854 h 557467"/>
                <a:gd name="connsiteX12" fmla="*/ 424875 w 607639"/>
                <a:gd name="connsiteY12" fmla="*/ 272217 h 557467"/>
                <a:gd name="connsiteX13" fmla="*/ 455825 w 607639"/>
                <a:gd name="connsiteY13" fmla="*/ 268995 h 557467"/>
                <a:gd name="connsiteX14" fmla="*/ 151811 w 607639"/>
                <a:gd name="connsiteY14" fmla="*/ 268995 h 557467"/>
                <a:gd name="connsiteX15" fmla="*/ 182906 w 607639"/>
                <a:gd name="connsiteY15" fmla="*/ 272217 h 557467"/>
                <a:gd name="connsiteX16" fmla="*/ 31389 w 607639"/>
                <a:gd name="connsiteY16" fmla="*/ 449854 h 557467"/>
                <a:gd name="connsiteX17" fmla="*/ 29335 w 607639"/>
                <a:gd name="connsiteY17" fmla="*/ 449854 h 557467"/>
                <a:gd name="connsiteX18" fmla="*/ 0 w 607639"/>
                <a:gd name="connsiteY18" fmla="*/ 420565 h 557467"/>
                <a:gd name="connsiteX19" fmla="*/ 151811 w 607639"/>
                <a:gd name="connsiteY19" fmla="*/ 268995 h 557467"/>
                <a:gd name="connsiteX20" fmla="*/ 462556 w 607639"/>
                <a:gd name="connsiteY20" fmla="*/ 35000 h 557467"/>
                <a:gd name="connsiteX21" fmla="*/ 543847 w 607639"/>
                <a:gd name="connsiteY21" fmla="*/ 122571 h 557467"/>
                <a:gd name="connsiteX22" fmla="*/ 462556 w 607639"/>
                <a:gd name="connsiteY22" fmla="*/ 210143 h 557467"/>
                <a:gd name="connsiteX23" fmla="*/ 485153 w 607639"/>
                <a:gd name="connsiteY23" fmla="*/ 122571 h 557467"/>
                <a:gd name="connsiteX24" fmla="*/ 462556 w 607639"/>
                <a:gd name="connsiteY24" fmla="*/ 35000 h 557467"/>
                <a:gd name="connsiteX25" fmla="*/ 145224 w 607639"/>
                <a:gd name="connsiteY25" fmla="*/ 35000 h 557467"/>
                <a:gd name="connsiteX26" fmla="*/ 122481 w 607639"/>
                <a:gd name="connsiteY26" fmla="*/ 122571 h 557467"/>
                <a:gd name="connsiteX27" fmla="*/ 145224 w 607639"/>
                <a:gd name="connsiteY27" fmla="*/ 210143 h 557467"/>
                <a:gd name="connsiteX28" fmla="*/ 63791 w 607639"/>
                <a:gd name="connsiteY28" fmla="*/ 122571 h 557467"/>
                <a:gd name="connsiteX29" fmla="*/ 145224 w 607639"/>
                <a:gd name="connsiteY29" fmla="*/ 35000 h 557467"/>
                <a:gd name="connsiteX30" fmla="*/ 303892 w 607639"/>
                <a:gd name="connsiteY30" fmla="*/ 0 h 557467"/>
                <a:gd name="connsiteX31" fmla="*/ 403912 w 607639"/>
                <a:gd name="connsiteY31" fmla="*/ 51694 h 557467"/>
                <a:gd name="connsiteX32" fmla="*/ 426497 w 607639"/>
                <a:gd name="connsiteY32" fmla="*/ 122572 h 557467"/>
                <a:gd name="connsiteX33" fmla="*/ 403912 w 607639"/>
                <a:gd name="connsiteY33" fmla="*/ 193450 h 557467"/>
                <a:gd name="connsiteX34" fmla="*/ 303892 w 607639"/>
                <a:gd name="connsiteY34" fmla="*/ 245144 h 557467"/>
                <a:gd name="connsiteX35" fmla="*/ 181141 w 607639"/>
                <a:gd name="connsiteY35" fmla="*/ 122572 h 557467"/>
                <a:gd name="connsiteX36" fmla="*/ 303892 w 607639"/>
                <a:gd name="connsiteY36" fmla="*/ 0 h 55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7639" h="557467">
                  <a:moveTo>
                    <a:pt x="303857" y="303714"/>
                  </a:moveTo>
                  <a:cubicBezTo>
                    <a:pt x="320722" y="303714"/>
                    <a:pt x="337148" y="305618"/>
                    <a:pt x="352986" y="309132"/>
                  </a:cubicBezTo>
                  <a:cubicBezTo>
                    <a:pt x="427486" y="325824"/>
                    <a:pt x="488200" y="379562"/>
                    <a:pt x="514597" y="449845"/>
                  </a:cubicBezTo>
                  <a:cubicBezTo>
                    <a:pt x="523690" y="474298"/>
                    <a:pt x="528676" y="500655"/>
                    <a:pt x="528676" y="528182"/>
                  </a:cubicBezTo>
                  <a:cubicBezTo>
                    <a:pt x="528676" y="544289"/>
                    <a:pt x="515477" y="557467"/>
                    <a:pt x="499345" y="557467"/>
                  </a:cubicBezTo>
                  <a:lnTo>
                    <a:pt x="108223" y="557467"/>
                  </a:lnTo>
                  <a:cubicBezTo>
                    <a:pt x="92091" y="557467"/>
                    <a:pt x="78892" y="544289"/>
                    <a:pt x="78892" y="528182"/>
                  </a:cubicBezTo>
                  <a:cubicBezTo>
                    <a:pt x="78892" y="404307"/>
                    <a:pt x="179789" y="303714"/>
                    <a:pt x="303857" y="303714"/>
                  </a:cubicBezTo>
                  <a:close/>
                  <a:moveTo>
                    <a:pt x="455825" y="268995"/>
                  </a:moveTo>
                  <a:cubicBezTo>
                    <a:pt x="539579" y="268995"/>
                    <a:pt x="607639" y="336945"/>
                    <a:pt x="607639" y="420565"/>
                  </a:cubicBezTo>
                  <a:cubicBezTo>
                    <a:pt x="607639" y="436674"/>
                    <a:pt x="594584" y="449854"/>
                    <a:pt x="578303" y="449854"/>
                  </a:cubicBezTo>
                  <a:lnTo>
                    <a:pt x="576396" y="449854"/>
                  </a:lnTo>
                  <a:cubicBezTo>
                    <a:pt x="553661" y="371360"/>
                    <a:pt x="497775" y="306631"/>
                    <a:pt x="424875" y="272217"/>
                  </a:cubicBezTo>
                  <a:cubicBezTo>
                    <a:pt x="434996" y="270020"/>
                    <a:pt x="445410" y="268995"/>
                    <a:pt x="455825" y="268995"/>
                  </a:cubicBezTo>
                  <a:close/>
                  <a:moveTo>
                    <a:pt x="151811" y="268995"/>
                  </a:moveTo>
                  <a:cubicBezTo>
                    <a:pt x="162371" y="268995"/>
                    <a:pt x="172785" y="270020"/>
                    <a:pt x="182906" y="272217"/>
                  </a:cubicBezTo>
                  <a:cubicBezTo>
                    <a:pt x="110008" y="306631"/>
                    <a:pt x="53977" y="371360"/>
                    <a:pt x="31389" y="449854"/>
                  </a:cubicBezTo>
                  <a:lnTo>
                    <a:pt x="29335" y="449854"/>
                  </a:lnTo>
                  <a:cubicBezTo>
                    <a:pt x="13201" y="449854"/>
                    <a:pt x="0" y="436674"/>
                    <a:pt x="0" y="420565"/>
                  </a:cubicBezTo>
                  <a:cubicBezTo>
                    <a:pt x="0" y="336945"/>
                    <a:pt x="68058" y="268995"/>
                    <a:pt x="151811" y="268995"/>
                  </a:cubicBezTo>
                  <a:close/>
                  <a:moveTo>
                    <a:pt x="462556" y="35000"/>
                  </a:moveTo>
                  <a:cubicBezTo>
                    <a:pt x="507897" y="38368"/>
                    <a:pt x="543847" y="76296"/>
                    <a:pt x="543847" y="122571"/>
                  </a:cubicBezTo>
                  <a:cubicBezTo>
                    <a:pt x="543847" y="168847"/>
                    <a:pt x="507897" y="206775"/>
                    <a:pt x="462556" y="210143"/>
                  </a:cubicBezTo>
                  <a:cubicBezTo>
                    <a:pt x="476936" y="184223"/>
                    <a:pt x="485153" y="154349"/>
                    <a:pt x="485153" y="122571"/>
                  </a:cubicBezTo>
                  <a:cubicBezTo>
                    <a:pt x="485153" y="90794"/>
                    <a:pt x="476936" y="60920"/>
                    <a:pt x="462556" y="35000"/>
                  </a:cubicBezTo>
                  <a:close/>
                  <a:moveTo>
                    <a:pt x="145224" y="35000"/>
                  </a:moveTo>
                  <a:cubicBezTo>
                    <a:pt x="130698" y="60920"/>
                    <a:pt x="122481" y="90794"/>
                    <a:pt x="122481" y="122571"/>
                  </a:cubicBezTo>
                  <a:cubicBezTo>
                    <a:pt x="122481" y="154349"/>
                    <a:pt x="130698" y="184223"/>
                    <a:pt x="145224" y="210143"/>
                  </a:cubicBezTo>
                  <a:cubicBezTo>
                    <a:pt x="99739" y="206775"/>
                    <a:pt x="63791" y="168847"/>
                    <a:pt x="63791" y="122571"/>
                  </a:cubicBezTo>
                  <a:cubicBezTo>
                    <a:pt x="63791" y="76296"/>
                    <a:pt x="99739" y="38368"/>
                    <a:pt x="145224" y="35000"/>
                  </a:cubicBezTo>
                  <a:close/>
                  <a:moveTo>
                    <a:pt x="303892" y="0"/>
                  </a:moveTo>
                  <a:cubicBezTo>
                    <a:pt x="345103" y="0"/>
                    <a:pt x="381620" y="20502"/>
                    <a:pt x="403912" y="51694"/>
                  </a:cubicBezTo>
                  <a:cubicBezTo>
                    <a:pt x="418138" y="71756"/>
                    <a:pt x="426497" y="96212"/>
                    <a:pt x="426497" y="122572"/>
                  </a:cubicBezTo>
                  <a:cubicBezTo>
                    <a:pt x="426497" y="148931"/>
                    <a:pt x="418138" y="173387"/>
                    <a:pt x="403912" y="193450"/>
                  </a:cubicBezTo>
                  <a:cubicBezTo>
                    <a:pt x="381620" y="224642"/>
                    <a:pt x="345103" y="245144"/>
                    <a:pt x="303892" y="245144"/>
                  </a:cubicBezTo>
                  <a:cubicBezTo>
                    <a:pt x="236137" y="245144"/>
                    <a:pt x="181141" y="190082"/>
                    <a:pt x="181141" y="122572"/>
                  </a:cubicBezTo>
                  <a:cubicBezTo>
                    <a:pt x="181141" y="55062"/>
                    <a:pt x="236137" y="0"/>
                    <a:pt x="303892" y="0"/>
                  </a:cubicBezTo>
                  <a:close/>
                </a:path>
              </a:pathLst>
            </a:custGeom>
            <a:solidFill>
              <a:schemeClr val="accent1"/>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12" name="iṡḻîḑe">
              <a:extLst>
                <a:ext uri="{FF2B5EF4-FFF2-40B4-BE49-F238E27FC236}">
                  <a16:creationId xmlns:a16="http://schemas.microsoft.com/office/drawing/2014/main" id="{975A4690-5BF6-4B7D-9155-8F0509BBD47D}"/>
                </a:ext>
              </a:extLst>
            </p:cNvPr>
            <p:cNvSpPr/>
            <p:nvPr/>
          </p:nvSpPr>
          <p:spPr bwMode="auto">
            <a:xfrm>
              <a:off x="7044834" y="4425696"/>
              <a:ext cx="338576" cy="310620"/>
            </a:xfrm>
            <a:custGeom>
              <a:avLst/>
              <a:gdLst>
                <a:gd name="connsiteX0" fmla="*/ 303857 w 607639"/>
                <a:gd name="connsiteY0" fmla="*/ 303714 h 557467"/>
                <a:gd name="connsiteX1" fmla="*/ 352986 w 607639"/>
                <a:gd name="connsiteY1" fmla="*/ 309132 h 557467"/>
                <a:gd name="connsiteX2" fmla="*/ 514597 w 607639"/>
                <a:gd name="connsiteY2" fmla="*/ 449845 h 557467"/>
                <a:gd name="connsiteX3" fmla="*/ 528676 w 607639"/>
                <a:gd name="connsiteY3" fmla="*/ 528182 h 557467"/>
                <a:gd name="connsiteX4" fmla="*/ 499345 w 607639"/>
                <a:gd name="connsiteY4" fmla="*/ 557467 h 557467"/>
                <a:gd name="connsiteX5" fmla="*/ 108223 w 607639"/>
                <a:gd name="connsiteY5" fmla="*/ 557467 h 557467"/>
                <a:gd name="connsiteX6" fmla="*/ 78892 w 607639"/>
                <a:gd name="connsiteY6" fmla="*/ 528182 h 557467"/>
                <a:gd name="connsiteX7" fmla="*/ 303857 w 607639"/>
                <a:gd name="connsiteY7" fmla="*/ 303714 h 557467"/>
                <a:gd name="connsiteX8" fmla="*/ 455825 w 607639"/>
                <a:gd name="connsiteY8" fmla="*/ 268995 h 557467"/>
                <a:gd name="connsiteX9" fmla="*/ 607639 w 607639"/>
                <a:gd name="connsiteY9" fmla="*/ 420565 h 557467"/>
                <a:gd name="connsiteX10" fmla="*/ 578303 w 607639"/>
                <a:gd name="connsiteY10" fmla="*/ 449854 h 557467"/>
                <a:gd name="connsiteX11" fmla="*/ 576396 w 607639"/>
                <a:gd name="connsiteY11" fmla="*/ 449854 h 557467"/>
                <a:gd name="connsiteX12" fmla="*/ 424875 w 607639"/>
                <a:gd name="connsiteY12" fmla="*/ 272217 h 557467"/>
                <a:gd name="connsiteX13" fmla="*/ 455825 w 607639"/>
                <a:gd name="connsiteY13" fmla="*/ 268995 h 557467"/>
                <a:gd name="connsiteX14" fmla="*/ 151811 w 607639"/>
                <a:gd name="connsiteY14" fmla="*/ 268995 h 557467"/>
                <a:gd name="connsiteX15" fmla="*/ 182906 w 607639"/>
                <a:gd name="connsiteY15" fmla="*/ 272217 h 557467"/>
                <a:gd name="connsiteX16" fmla="*/ 31389 w 607639"/>
                <a:gd name="connsiteY16" fmla="*/ 449854 h 557467"/>
                <a:gd name="connsiteX17" fmla="*/ 29335 w 607639"/>
                <a:gd name="connsiteY17" fmla="*/ 449854 h 557467"/>
                <a:gd name="connsiteX18" fmla="*/ 0 w 607639"/>
                <a:gd name="connsiteY18" fmla="*/ 420565 h 557467"/>
                <a:gd name="connsiteX19" fmla="*/ 151811 w 607639"/>
                <a:gd name="connsiteY19" fmla="*/ 268995 h 557467"/>
                <a:gd name="connsiteX20" fmla="*/ 462556 w 607639"/>
                <a:gd name="connsiteY20" fmla="*/ 35000 h 557467"/>
                <a:gd name="connsiteX21" fmla="*/ 543847 w 607639"/>
                <a:gd name="connsiteY21" fmla="*/ 122571 h 557467"/>
                <a:gd name="connsiteX22" fmla="*/ 462556 w 607639"/>
                <a:gd name="connsiteY22" fmla="*/ 210143 h 557467"/>
                <a:gd name="connsiteX23" fmla="*/ 485153 w 607639"/>
                <a:gd name="connsiteY23" fmla="*/ 122571 h 557467"/>
                <a:gd name="connsiteX24" fmla="*/ 462556 w 607639"/>
                <a:gd name="connsiteY24" fmla="*/ 35000 h 557467"/>
                <a:gd name="connsiteX25" fmla="*/ 145224 w 607639"/>
                <a:gd name="connsiteY25" fmla="*/ 35000 h 557467"/>
                <a:gd name="connsiteX26" fmla="*/ 122481 w 607639"/>
                <a:gd name="connsiteY26" fmla="*/ 122571 h 557467"/>
                <a:gd name="connsiteX27" fmla="*/ 145224 w 607639"/>
                <a:gd name="connsiteY27" fmla="*/ 210143 h 557467"/>
                <a:gd name="connsiteX28" fmla="*/ 63791 w 607639"/>
                <a:gd name="connsiteY28" fmla="*/ 122571 h 557467"/>
                <a:gd name="connsiteX29" fmla="*/ 145224 w 607639"/>
                <a:gd name="connsiteY29" fmla="*/ 35000 h 557467"/>
                <a:gd name="connsiteX30" fmla="*/ 303892 w 607639"/>
                <a:gd name="connsiteY30" fmla="*/ 0 h 557467"/>
                <a:gd name="connsiteX31" fmla="*/ 403912 w 607639"/>
                <a:gd name="connsiteY31" fmla="*/ 51694 h 557467"/>
                <a:gd name="connsiteX32" fmla="*/ 426497 w 607639"/>
                <a:gd name="connsiteY32" fmla="*/ 122572 h 557467"/>
                <a:gd name="connsiteX33" fmla="*/ 403912 w 607639"/>
                <a:gd name="connsiteY33" fmla="*/ 193450 h 557467"/>
                <a:gd name="connsiteX34" fmla="*/ 303892 w 607639"/>
                <a:gd name="connsiteY34" fmla="*/ 245144 h 557467"/>
                <a:gd name="connsiteX35" fmla="*/ 181141 w 607639"/>
                <a:gd name="connsiteY35" fmla="*/ 122572 h 557467"/>
                <a:gd name="connsiteX36" fmla="*/ 303892 w 607639"/>
                <a:gd name="connsiteY36" fmla="*/ 0 h 55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7639" h="557467">
                  <a:moveTo>
                    <a:pt x="303857" y="303714"/>
                  </a:moveTo>
                  <a:cubicBezTo>
                    <a:pt x="320722" y="303714"/>
                    <a:pt x="337148" y="305618"/>
                    <a:pt x="352986" y="309132"/>
                  </a:cubicBezTo>
                  <a:cubicBezTo>
                    <a:pt x="427486" y="325824"/>
                    <a:pt x="488200" y="379562"/>
                    <a:pt x="514597" y="449845"/>
                  </a:cubicBezTo>
                  <a:cubicBezTo>
                    <a:pt x="523690" y="474298"/>
                    <a:pt x="528676" y="500655"/>
                    <a:pt x="528676" y="528182"/>
                  </a:cubicBezTo>
                  <a:cubicBezTo>
                    <a:pt x="528676" y="544289"/>
                    <a:pt x="515477" y="557467"/>
                    <a:pt x="499345" y="557467"/>
                  </a:cubicBezTo>
                  <a:lnTo>
                    <a:pt x="108223" y="557467"/>
                  </a:lnTo>
                  <a:cubicBezTo>
                    <a:pt x="92091" y="557467"/>
                    <a:pt x="78892" y="544289"/>
                    <a:pt x="78892" y="528182"/>
                  </a:cubicBezTo>
                  <a:cubicBezTo>
                    <a:pt x="78892" y="404307"/>
                    <a:pt x="179789" y="303714"/>
                    <a:pt x="303857" y="303714"/>
                  </a:cubicBezTo>
                  <a:close/>
                  <a:moveTo>
                    <a:pt x="455825" y="268995"/>
                  </a:moveTo>
                  <a:cubicBezTo>
                    <a:pt x="539579" y="268995"/>
                    <a:pt x="607639" y="336945"/>
                    <a:pt x="607639" y="420565"/>
                  </a:cubicBezTo>
                  <a:cubicBezTo>
                    <a:pt x="607639" y="436674"/>
                    <a:pt x="594584" y="449854"/>
                    <a:pt x="578303" y="449854"/>
                  </a:cubicBezTo>
                  <a:lnTo>
                    <a:pt x="576396" y="449854"/>
                  </a:lnTo>
                  <a:cubicBezTo>
                    <a:pt x="553661" y="371360"/>
                    <a:pt x="497775" y="306631"/>
                    <a:pt x="424875" y="272217"/>
                  </a:cubicBezTo>
                  <a:cubicBezTo>
                    <a:pt x="434996" y="270020"/>
                    <a:pt x="445410" y="268995"/>
                    <a:pt x="455825" y="268995"/>
                  </a:cubicBezTo>
                  <a:close/>
                  <a:moveTo>
                    <a:pt x="151811" y="268995"/>
                  </a:moveTo>
                  <a:cubicBezTo>
                    <a:pt x="162371" y="268995"/>
                    <a:pt x="172785" y="270020"/>
                    <a:pt x="182906" y="272217"/>
                  </a:cubicBezTo>
                  <a:cubicBezTo>
                    <a:pt x="110008" y="306631"/>
                    <a:pt x="53977" y="371360"/>
                    <a:pt x="31389" y="449854"/>
                  </a:cubicBezTo>
                  <a:lnTo>
                    <a:pt x="29335" y="449854"/>
                  </a:lnTo>
                  <a:cubicBezTo>
                    <a:pt x="13201" y="449854"/>
                    <a:pt x="0" y="436674"/>
                    <a:pt x="0" y="420565"/>
                  </a:cubicBezTo>
                  <a:cubicBezTo>
                    <a:pt x="0" y="336945"/>
                    <a:pt x="68058" y="268995"/>
                    <a:pt x="151811" y="268995"/>
                  </a:cubicBezTo>
                  <a:close/>
                  <a:moveTo>
                    <a:pt x="462556" y="35000"/>
                  </a:moveTo>
                  <a:cubicBezTo>
                    <a:pt x="507897" y="38368"/>
                    <a:pt x="543847" y="76296"/>
                    <a:pt x="543847" y="122571"/>
                  </a:cubicBezTo>
                  <a:cubicBezTo>
                    <a:pt x="543847" y="168847"/>
                    <a:pt x="507897" y="206775"/>
                    <a:pt x="462556" y="210143"/>
                  </a:cubicBezTo>
                  <a:cubicBezTo>
                    <a:pt x="476936" y="184223"/>
                    <a:pt x="485153" y="154349"/>
                    <a:pt x="485153" y="122571"/>
                  </a:cubicBezTo>
                  <a:cubicBezTo>
                    <a:pt x="485153" y="90794"/>
                    <a:pt x="476936" y="60920"/>
                    <a:pt x="462556" y="35000"/>
                  </a:cubicBezTo>
                  <a:close/>
                  <a:moveTo>
                    <a:pt x="145224" y="35000"/>
                  </a:moveTo>
                  <a:cubicBezTo>
                    <a:pt x="130698" y="60920"/>
                    <a:pt x="122481" y="90794"/>
                    <a:pt x="122481" y="122571"/>
                  </a:cubicBezTo>
                  <a:cubicBezTo>
                    <a:pt x="122481" y="154349"/>
                    <a:pt x="130698" y="184223"/>
                    <a:pt x="145224" y="210143"/>
                  </a:cubicBezTo>
                  <a:cubicBezTo>
                    <a:pt x="99739" y="206775"/>
                    <a:pt x="63791" y="168847"/>
                    <a:pt x="63791" y="122571"/>
                  </a:cubicBezTo>
                  <a:cubicBezTo>
                    <a:pt x="63791" y="76296"/>
                    <a:pt x="99739" y="38368"/>
                    <a:pt x="145224" y="35000"/>
                  </a:cubicBezTo>
                  <a:close/>
                  <a:moveTo>
                    <a:pt x="303892" y="0"/>
                  </a:moveTo>
                  <a:cubicBezTo>
                    <a:pt x="345103" y="0"/>
                    <a:pt x="381620" y="20502"/>
                    <a:pt x="403912" y="51694"/>
                  </a:cubicBezTo>
                  <a:cubicBezTo>
                    <a:pt x="418138" y="71756"/>
                    <a:pt x="426497" y="96212"/>
                    <a:pt x="426497" y="122572"/>
                  </a:cubicBezTo>
                  <a:cubicBezTo>
                    <a:pt x="426497" y="148931"/>
                    <a:pt x="418138" y="173387"/>
                    <a:pt x="403912" y="193450"/>
                  </a:cubicBezTo>
                  <a:cubicBezTo>
                    <a:pt x="381620" y="224642"/>
                    <a:pt x="345103" y="245144"/>
                    <a:pt x="303892" y="245144"/>
                  </a:cubicBezTo>
                  <a:cubicBezTo>
                    <a:pt x="236137" y="245144"/>
                    <a:pt x="181141" y="190082"/>
                    <a:pt x="181141" y="122572"/>
                  </a:cubicBezTo>
                  <a:cubicBezTo>
                    <a:pt x="181141" y="55062"/>
                    <a:pt x="236137" y="0"/>
                    <a:pt x="303892" y="0"/>
                  </a:cubicBezTo>
                  <a:close/>
                </a:path>
              </a:pathLst>
            </a:custGeom>
            <a:solidFill>
              <a:schemeClr val="accent1"/>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13" name="íS1ïdê">
              <a:extLst>
                <a:ext uri="{FF2B5EF4-FFF2-40B4-BE49-F238E27FC236}">
                  <a16:creationId xmlns:a16="http://schemas.microsoft.com/office/drawing/2014/main" id="{BE4A553C-2AF4-4AA2-B189-F41562BA0BDF}"/>
                </a:ext>
              </a:extLst>
            </p:cNvPr>
            <p:cNvSpPr/>
            <p:nvPr/>
          </p:nvSpPr>
          <p:spPr bwMode="auto">
            <a:xfrm>
              <a:off x="6925962" y="2249424"/>
              <a:ext cx="338576" cy="310620"/>
            </a:xfrm>
            <a:custGeom>
              <a:avLst/>
              <a:gdLst>
                <a:gd name="connsiteX0" fmla="*/ 303857 w 607639"/>
                <a:gd name="connsiteY0" fmla="*/ 303714 h 557467"/>
                <a:gd name="connsiteX1" fmla="*/ 352986 w 607639"/>
                <a:gd name="connsiteY1" fmla="*/ 309132 h 557467"/>
                <a:gd name="connsiteX2" fmla="*/ 514597 w 607639"/>
                <a:gd name="connsiteY2" fmla="*/ 449845 h 557467"/>
                <a:gd name="connsiteX3" fmla="*/ 528676 w 607639"/>
                <a:gd name="connsiteY3" fmla="*/ 528182 h 557467"/>
                <a:gd name="connsiteX4" fmla="*/ 499345 w 607639"/>
                <a:gd name="connsiteY4" fmla="*/ 557467 h 557467"/>
                <a:gd name="connsiteX5" fmla="*/ 108223 w 607639"/>
                <a:gd name="connsiteY5" fmla="*/ 557467 h 557467"/>
                <a:gd name="connsiteX6" fmla="*/ 78892 w 607639"/>
                <a:gd name="connsiteY6" fmla="*/ 528182 h 557467"/>
                <a:gd name="connsiteX7" fmla="*/ 303857 w 607639"/>
                <a:gd name="connsiteY7" fmla="*/ 303714 h 557467"/>
                <a:gd name="connsiteX8" fmla="*/ 455825 w 607639"/>
                <a:gd name="connsiteY8" fmla="*/ 268995 h 557467"/>
                <a:gd name="connsiteX9" fmla="*/ 607639 w 607639"/>
                <a:gd name="connsiteY9" fmla="*/ 420565 h 557467"/>
                <a:gd name="connsiteX10" fmla="*/ 578303 w 607639"/>
                <a:gd name="connsiteY10" fmla="*/ 449854 h 557467"/>
                <a:gd name="connsiteX11" fmla="*/ 576396 w 607639"/>
                <a:gd name="connsiteY11" fmla="*/ 449854 h 557467"/>
                <a:gd name="connsiteX12" fmla="*/ 424875 w 607639"/>
                <a:gd name="connsiteY12" fmla="*/ 272217 h 557467"/>
                <a:gd name="connsiteX13" fmla="*/ 455825 w 607639"/>
                <a:gd name="connsiteY13" fmla="*/ 268995 h 557467"/>
                <a:gd name="connsiteX14" fmla="*/ 151811 w 607639"/>
                <a:gd name="connsiteY14" fmla="*/ 268995 h 557467"/>
                <a:gd name="connsiteX15" fmla="*/ 182906 w 607639"/>
                <a:gd name="connsiteY15" fmla="*/ 272217 h 557467"/>
                <a:gd name="connsiteX16" fmla="*/ 31389 w 607639"/>
                <a:gd name="connsiteY16" fmla="*/ 449854 h 557467"/>
                <a:gd name="connsiteX17" fmla="*/ 29335 w 607639"/>
                <a:gd name="connsiteY17" fmla="*/ 449854 h 557467"/>
                <a:gd name="connsiteX18" fmla="*/ 0 w 607639"/>
                <a:gd name="connsiteY18" fmla="*/ 420565 h 557467"/>
                <a:gd name="connsiteX19" fmla="*/ 151811 w 607639"/>
                <a:gd name="connsiteY19" fmla="*/ 268995 h 557467"/>
                <a:gd name="connsiteX20" fmla="*/ 462556 w 607639"/>
                <a:gd name="connsiteY20" fmla="*/ 35000 h 557467"/>
                <a:gd name="connsiteX21" fmla="*/ 543847 w 607639"/>
                <a:gd name="connsiteY21" fmla="*/ 122571 h 557467"/>
                <a:gd name="connsiteX22" fmla="*/ 462556 w 607639"/>
                <a:gd name="connsiteY22" fmla="*/ 210143 h 557467"/>
                <a:gd name="connsiteX23" fmla="*/ 485153 w 607639"/>
                <a:gd name="connsiteY23" fmla="*/ 122571 h 557467"/>
                <a:gd name="connsiteX24" fmla="*/ 462556 w 607639"/>
                <a:gd name="connsiteY24" fmla="*/ 35000 h 557467"/>
                <a:gd name="connsiteX25" fmla="*/ 145224 w 607639"/>
                <a:gd name="connsiteY25" fmla="*/ 35000 h 557467"/>
                <a:gd name="connsiteX26" fmla="*/ 122481 w 607639"/>
                <a:gd name="connsiteY26" fmla="*/ 122571 h 557467"/>
                <a:gd name="connsiteX27" fmla="*/ 145224 w 607639"/>
                <a:gd name="connsiteY27" fmla="*/ 210143 h 557467"/>
                <a:gd name="connsiteX28" fmla="*/ 63791 w 607639"/>
                <a:gd name="connsiteY28" fmla="*/ 122571 h 557467"/>
                <a:gd name="connsiteX29" fmla="*/ 145224 w 607639"/>
                <a:gd name="connsiteY29" fmla="*/ 35000 h 557467"/>
                <a:gd name="connsiteX30" fmla="*/ 303892 w 607639"/>
                <a:gd name="connsiteY30" fmla="*/ 0 h 557467"/>
                <a:gd name="connsiteX31" fmla="*/ 403912 w 607639"/>
                <a:gd name="connsiteY31" fmla="*/ 51694 h 557467"/>
                <a:gd name="connsiteX32" fmla="*/ 426497 w 607639"/>
                <a:gd name="connsiteY32" fmla="*/ 122572 h 557467"/>
                <a:gd name="connsiteX33" fmla="*/ 403912 w 607639"/>
                <a:gd name="connsiteY33" fmla="*/ 193450 h 557467"/>
                <a:gd name="connsiteX34" fmla="*/ 303892 w 607639"/>
                <a:gd name="connsiteY34" fmla="*/ 245144 h 557467"/>
                <a:gd name="connsiteX35" fmla="*/ 181141 w 607639"/>
                <a:gd name="connsiteY35" fmla="*/ 122572 h 557467"/>
                <a:gd name="connsiteX36" fmla="*/ 303892 w 607639"/>
                <a:gd name="connsiteY36" fmla="*/ 0 h 55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7639" h="557467">
                  <a:moveTo>
                    <a:pt x="303857" y="303714"/>
                  </a:moveTo>
                  <a:cubicBezTo>
                    <a:pt x="320722" y="303714"/>
                    <a:pt x="337148" y="305618"/>
                    <a:pt x="352986" y="309132"/>
                  </a:cubicBezTo>
                  <a:cubicBezTo>
                    <a:pt x="427486" y="325824"/>
                    <a:pt x="488200" y="379562"/>
                    <a:pt x="514597" y="449845"/>
                  </a:cubicBezTo>
                  <a:cubicBezTo>
                    <a:pt x="523690" y="474298"/>
                    <a:pt x="528676" y="500655"/>
                    <a:pt x="528676" y="528182"/>
                  </a:cubicBezTo>
                  <a:cubicBezTo>
                    <a:pt x="528676" y="544289"/>
                    <a:pt x="515477" y="557467"/>
                    <a:pt x="499345" y="557467"/>
                  </a:cubicBezTo>
                  <a:lnTo>
                    <a:pt x="108223" y="557467"/>
                  </a:lnTo>
                  <a:cubicBezTo>
                    <a:pt x="92091" y="557467"/>
                    <a:pt x="78892" y="544289"/>
                    <a:pt x="78892" y="528182"/>
                  </a:cubicBezTo>
                  <a:cubicBezTo>
                    <a:pt x="78892" y="404307"/>
                    <a:pt x="179789" y="303714"/>
                    <a:pt x="303857" y="303714"/>
                  </a:cubicBezTo>
                  <a:close/>
                  <a:moveTo>
                    <a:pt x="455825" y="268995"/>
                  </a:moveTo>
                  <a:cubicBezTo>
                    <a:pt x="539579" y="268995"/>
                    <a:pt x="607639" y="336945"/>
                    <a:pt x="607639" y="420565"/>
                  </a:cubicBezTo>
                  <a:cubicBezTo>
                    <a:pt x="607639" y="436674"/>
                    <a:pt x="594584" y="449854"/>
                    <a:pt x="578303" y="449854"/>
                  </a:cubicBezTo>
                  <a:lnTo>
                    <a:pt x="576396" y="449854"/>
                  </a:lnTo>
                  <a:cubicBezTo>
                    <a:pt x="553661" y="371360"/>
                    <a:pt x="497775" y="306631"/>
                    <a:pt x="424875" y="272217"/>
                  </a:cubicBezTo>
                  <a:cubicBezTo>
                    <a:pt x="434996" y="270020"/>
                    <a:pt x="445410" y="268995"/>
                    <a:pt x="455825" y="268995"/>
                  </a:cubicBezTo>
                  <a:close/>
                  <a:moveTo>
                    <a:pt x="151811" y="268995"/>
                  </a:moveTo>
                  <a:cubicBezTo>
                    <a:pt x="162371" y="268995"/>
                    <a:pt x="172785" y="270020"/>
                    <a:pt x="182906" y="272217"/>
                  </a:cubicBezTo>
                  <a:cubicBezTo>
                    <a:pt x="110008" y="306631"/>
                    <a:pt x="53977" y="371360"/>
                    <a:pt x="31389" y="449854"/>
                  </a:cubicBezTo>
                  <a:lnTo>
                    <a:pt x="29335" y="449854"/>
                  </a:lnTo>
                  <a:cubicBezTo>
                    <a:pt x="13201" y="449854"/>
                    <a:pt x="0" y="436674"/>
                    <a:pt x="0" y="420565"/>
                  </a:cubicBezTo>
                  <a:cubicBezTo>
                    <a:pt x="0" y="336945"/>
                    <a:pt x="68058" y="268995"/>
                    <a:pt x="151811" y="268995"/>
                  </a:cubicBezTo>
                  <a:close/>
                  <a:moveTo>
                    <a:pt x="462556" y="35000"/>
                  </a:moveTo>
                  <a:cubicBezTo>
                    <a:pt x="507897" y="38368"/>
                    <a:pt x="543847" y="76296"/>
                    <a:pt x="543847" y="122571"/>
                  </a:cubicBezTo>
                  <a:cubicBezTo>
                    <a:pt x="543847" y="168847"/>
                    <a:pt x="507897" y="206775"/>
                    <a:pt x="462556" y="210143"/>
                  </a:cubicBezTo>
                  <a:cubicBezTo>
                    <a:pt x="476936" y="184223"/>
                    <a:pt x="485153" y="154349"/>
                    <a:pt x="485153" y="122571"/>
                  </a:cubicBezTo>
                  <a:cubicBezTo>
                    <a:pt x="485153" y="90794"/>
                    <a:pt x="476936" y="60920"/>
                    <a:pt x="462556" y="35000"/>
                  </a:cubicBezTo>
                  <a:close/>
                  <a:moveTo>
                    <a:pt x="145224" y="35000"/>
                  </a:moveTo>
                  <a:cubicBezTo>
                    <a:pt x="130698" y="60920"/>
                    <a:pt x="122481" y="90794"/>
                    <a:pt x="122481" y="122571"/>
                  </a:cubicBezTo>
                  <a:cubicBezTo>
                    <a:pt x="122481" y="154349"/>
                    <a:pt x="130698" y="184223"/>
                    <a:pt x="145224" y="210143"/>
                  </a:cubicBezTo>
                  <a:cubicBezTo>
                    <a:pt x="99739" y="206775"/>
                    <a:pt x="63791" y="168847"/>
                    <a:pt x="63791" y="122571"/>
                  </a:cubicBezTo>
                  <a:cubicBezTo>
                    <a:pt x="63791" y="76296"/>
                    <a:pt x="99739" y="38368"/>
                    <a:pt x="145224" y="35000"/>
                  </a:cubicBezTo>
                  <a:close/>
                  <a:moveTo>
                    <a:pt x="303892" y="0"/>
                  </a:moveTo>
                  <a:cubicBezTo>
                    <a:pt x="345103" y="0"/>
                    <a:pt x="381620" y="20502"/>
                    <a:pt x="403912" y="51694"/>
                  </a:cubicBezTo>
                  <a:cubicBezTo>
                    <a:pt x="418138" y="71756"/>
                    <a:pt x="426497" y="96212"/>
                    <a:pt x="426497" y="122572"/>
                  </a:cubicBezTo>
                  <a:cubicBezTo>
                    <a:pt x="426497" y="148931"/>
                    <a:pt x="418138" y="173387"/>
                    <a:pt x="403912" y="193450"/>
                  </a:cubicBezTo>
                  <a:cubicBezTo>
                    <a:pt x="381620" y="224642"/>
                    <a:pt x="345103" y="245144"/>
                    <a:pt x="303892" y="245144"/>
                  </a:cubicBezTo>
                  <a:cubicBezTo>
                    <a:pt x="236137" y="245144"/>
                    <a:pt x="181141" y="190082"/>
                    <a:pt x="181141" y="122572"/>
                  </a:cubicBezTo>
                  <a:cubicBezTo>
                    <a:pt x="181141" y="55062"/>
                    <a:pt x="236137" y="0"/>
                    <a:pt x="303892" y="0"/>
                  </a:cubicBezTo>
                  <a:close/>
                </a:path>
              </a:pathLst>
            </a:custGeom>
            <a:solidFill>
              <a:schemeClr val="accent1"/>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14" name="iSľíďê">
              <a:extLst>
                <a:ext uri="{FF2B5EF4-FFF2-40B4-BE49-F238E27FC236}">
                  <a16:creationId xmlns:a16="http://schemas.microsoft.com/office/drawing/2014/main" id="{CB2A3299-6032-4C43-B278-39E2F3BCA145}"/>
                </a:ext>
              </a:extLst>
            </p:cNvPr>
            <p:cNvSpPr/>
            <p:nvPr/>
          </p:nvSpPr>
          <p:spPr bwMode="auto">
            <a:xfrm>
              <a:off x="5755818" y="2927212"/>
              <a:ext cx="627888" cy="647304"/>
            </a:xfrm>
            <a:custGeom>
              <a:avLst/>
              <a:gdLst>
                <a:gd name="T0" fmla="*/ 5363 w 5499"/>
                <a:gd name="T1" fmla="*/ 3729 h 5677"/>
                <a:gd name="T2" fmla="*/ 4520 w 5499"/>
                <a:gd name="T3" fmla="*/ 2649 h 5677"/>
                <a:gd name="T4" fmla="*/ 3673 w 5499"/>
                <a:gd name="T5" fmla="*/ 3040 h 5677"/>
                <a:gd name="T6" fmla="*/ 3023 w 5499"/>
                <a:gd name="T7" fmla="*/ 2741 h 5677"/>
                <a:gd name="T8" fmla="*/ 3454 w 5499"/>
                <a:gd name="T9" fmla="*/ 1972 h 5677"/>
                <a:gd name="T10" fmla="*/ 3507 w 5499"/>
                <a:gd name="T11" fmla="*/ 1328 h 5677"/>
                <a:gd name="T12" fmla="*/ 2170 w 5499"/>
                <a:gd name="T13" fmla="*/ 0 h 5677"/>
                <a:gd name="T14" fmla="*/ 1102 w 5499"/>
                <a:gd name="T15" fmla="*/ 1508 h 5677"/>
                <a:gd name="T16" fmla="*/ 1279 w 5499"/>
                <a:gd name="T17" fmla="*/ 2144 h 5677"/>
                <a:gd name="T18" fmla="*/ 1534 w 5499"/>
                <a:gd name="T19" fmla="*/ 2877 h 5677"/>
                <a:gd name="T20" fmla="*/ 3 w 5499"/>
                <a:gd name="T21" fmla="*/ 5432 h 5677"/>
                <a:gd name="T22" fmla="*/ 4372 w 5499"/>
                <a:gd name="T23" fmla="*/ 5653 h 5677"/>
                <a:gd name="T24" fmla="*/ 4996 w 5499"/>
                <a:gd name="T25" fmla="*/ 5161 h 5677"/>
                <a:gd name="T26" fmla="*/ 5363 w 5499"/>
                <a:gd name="T27" fmla="*/ 3960 h 5677"/>
                <a:gd name="T28" fmla="*/ 2075 w 5499"/>
                <a:gd name="T29" fmla="*/ 3721 h 5677"/>
                <a:gd name="T30" fmla="*/ 1829 w 5499"/>
                <a:gd name="T31" fmla="*/ 3415 h 5677"/>
                <a:gd name="T32" fmla="*/ 1924 w 5499"/>
                <a:gd name="T33" fmla="*/ 2970 h 5677"/>
                <a:gd name="T34" fmla="*/ 2135 w 5499"/>
                <a:gd name="T35" fmla="*/ 3252 h 5677"/>
                <a:gd name="T36" fmla="*/ 2140 w 5499"/>
                <a:gd name="T37" fmla="*/ 3663 h 5677"/>
                <a:gd name="T38" fmla="*/ 2592 w 5499"/>
                <a:gd name="T39" fmla="*/ 3721 h 5677"/>
                <a:gd name="T40" fmla="*/ 2492 w 5499"/>
                <a:gd name="T41" fmla="*/ 3318 h 5677"/>
                <a:gd name="T42" fmla="*/ 2533 w 5499"/>
                <a:gd name="T43" fmla="*/ 3090 h 5677"/>
                <a:gd name="T44" fmla="*/ 2807 w 5499"/>
                <a:gd name="T45" fmla="*/ 2972 h 5677"/>
                <a:gd name="T46" fmla="*/ 2825 w 5499"/>
                <a:gd name="T47" fmla="*/ 3454 h 5677"/>
                <a:gd name="T48" fmla="*/ 1776 w 5499"/>
                <a:gd name="T49" fmla="*/ 2351 h 5677"/>
                <a:gd name="T50" fmla="*/ 1477 w 5499"/>
                <a:gd name="T51" fmla="*/ 1747 h 5677"/>
                <a:gd name="T52" fmla="*/ 1513 w 5499"/>
                <a:gd name="T53" fmla="*/ 1522 h 5677"/>
                <a:gd name="T54" fmla="*/ 1575 w 5499"/>
                <a:gd name="T55" fmla="*/ 1348 h 5677"/>
                <a:gd name="T56" fmla="*/ 2781 w 5499"/>
                <a:gd name="T57" fmla="*/ 1554 h 5677"/>
                <a:gd name="T58" fmla="*/ 3119 w 5499"/>
                <a:gd name="T59" fmla="*/ 1522 h 5677"/>
                <a:gd name="T60" fmla="*/ 3219 w 5499"/>
                <a:gd name="T61" fmla="*/ 1693 h 5677"/>
                <a:gd name="T62" fmla="*/ 3123 w 5499"/>
                <a:gd name="T63" fmla="*/ 1815 h 5677"/>
                <a:gd name="T64" fmla="*/ 5035 w 5499"/>
                <a:gd name="T65" fmla="*/ 4769 h 5677"/>
                <a:gd name="T66" fmla="*/ 4520 w 5499"/>
                <a:gd name="T67" fmla="*/ 5367 h 5677"/>
                <a:gd name="T68" fmla="*/ 3887 w 5499"/>
                <a:gd name="T69" fmla="*/ 4672 h 5677"/>
                <a:gd name="T70" fmla="*/ 4121 w 5499"/>
                <a:gd name="T71" fmla="*/ 4395 h 5677"/>
                <a:gd name="T72" fmla="*/ 4693 w 5499"/>
                <a:gd name="T73" fmla="*/ 4475 h 5677"/>
                <a:gd name="T74" fmla="*/ 3985 w 5499"/>
                <a:gd name="T75" fmla="*/ 4136 h 5677"/>
                <a:gd name="T76" fmla="*/ 4355 w 5499"/>
                <a:gd name="T77" fmla="*/ 3316 h 5677"/>
                <a:gd name="T78" fmla="*/ 4686 w 5499"/>
                <a:gd name="T79" fmla="*/ 3124 h 5677"/>
                <a:gd name="T80" fmla="*/ 5064 w 5499"/>
                <a:gd name="T81" fmla="*/ 3650 h 5677"/>
                <a:gd name="T82" fmla="*/ 4693 w 5499"/>
                <a:gd name="T83" fmla="*/ 3744 h 5677"/>
                <a:gd name="T84" fmla="*/ 4379 w 5499"/>
                <a:gd name="T85" fmla="*/ 3819 h 5677"/>
                <a:gd name="T86" fmla="*/ 5110 w 5499"/>
                <a:gd name="T87" fmla="*/ 4137 h 5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99" h="5677">
                  <a:moveTo>
                    <a:pt x="5363" y="3960"/>
                  </a:moveTo>
                  <a:cubicBezTo>
                    <a:pt x="5342" y="3930"/>
                    <a:pt x="5320" y="3902"/>
                    <a:pt x="5296" y="3876"/>
                  </a:cubicBezTo>
                  <a:cubicBezTo>
                    <a:pt x="5326" y="3832"/>
                    <a:pt x="5349" y="3782"/>
                    <a:pt x="5363" y="3729"/>
                  </a:cubicBezTo>
                  <a:cubicBezTo>
                    <a:pt x="5405" y="3570"/>
                    <a:pt x="5363" y="3403"/>
                    <a:pt x="5251" y="3283"/>
                  </a:cubicBezTo>
                  <a:cubicBezTo>
                    <a:pt x="5178" y="3205"/>
                    <a:pt x="5093" y="3143"/>
                    <a:pt x="4995" y="3096"/>
                  </a:cubicBezTo>
                  <a:cubicBezTo>
                    <a:pt x="4980" y="2847"/>
                    <a:pt x="4773" y="2649"/>
                    <a:pt x="4520" y="2649"/>
                  </a:cubicBezTo>
                  <a:cubicBezTo>
                    <a:pt x="4272" y="2649"/>
                    <a:pt x="4067" y="2841"/>
                    <a:pt x="4047" y="3085"/>
                  </a:cubicBezTo>
                  <a:cubicBezTo>
                    <a:pt x="4017" y="3098"/>
                    <a:pt x="3989" y="3112"/>
                    <a:pt x="3962" y="3128"/>
                  </a:cubicBezTo>
                  <a:lnTo>
                    <a:pt x="3673" y="3040"/>
                  </a:lnTo>
                  <a:cubicBezTo>
                    <a:pt x="3673" y="3040"/>
                    <a:pt x="3673" y="3041"/>
                    <a:pt x="3673" y="3041"/>
                  </a:cubicBezTo>
                  <a:lnTo>
                    <a:pt x="3133" y="2877"/>
                  </a:lnTo>
                  <a:cubicBezTo>
                    <a:pt x="3116" y="2825"/>
                    <a:pt x="3077" y="2779"/>
                    <a:pt x="3023" y="2741"/>
                  </a:cubicBezTo>
                  <a:cubicBezTo>
                    <a:pt x="3083" y="2675"/>
                    <a:pt x="3133" y="2608"/>
                    <a:pt x="3171" y="2553"/>
                  </a:cubicBezTo>
                  <a:cubicBezTo>
                    <a:pt x="3261" y="2421"/>
                    <a:pt x="3337" y="2280"/>
                    <a:pt x="3389" y="2144"/>
                  </a:cubicBezTo>
                  <a:cubicBezTo>
                    <a:pt x="3414" y="2087"/>
                    <a:pt x="3436" y="2029"/>
                    <a:pt x="3454" y="1972"/>
                  </a:cubicBezTo>
                  <a:cubicBezTo>
                    <a:pt x="3524" y="1914"/>
                    <a:pt x="3565" y="1826"/>
                    <a:pt x="3565" y="1734"/>
                  </a:cubicBezTo>
                  <a:lnTo>
                    <a:pt x="3565" y="1508"/>
                  </a:lnTo>
                  <a:cubicBezTo>
                    <a:pt x="3565" y="1443"/>
                    <a:pt x="3545" y="1380"/>
                    <a:pt x="3507" y="1328"/>
                  </a:cubicBezTo>
                  <a:lnTo>
                    <a:pt x="3507" y="1010"/>
                  </a:lnTo>
                  <a:cubicBezTo>
                    <a:pt x="3507" y="453"/>
                    <a:pt x="3054" y="0"/>
                    <a:pt x="2497" y="0"/>
                  </a:cubicBezTo>
                  <a:lnTo>
                    <a:pt x="2170" y="0"/>
                  </a:lnTo>
                  <a:cubicBezTo>
                    <a:pt x="1613" y="0"/>
                    <a:pt x="1160" y="453"/>
                    <a:pt x="1160" y="1010"/>
                  </a:cubicBezTo>
                  <a:lnTo>
                    <a:pt x="1160" y="1328"/>
                  </a:lnTo>
                  <a:cubicBezTo>
                    <a:pt x="1122" y="1380"/>
                    <a:pt x="1102" y="1444"/>
                    <a:pt x="1102" y="1508"/>
                  </a:cubicBezTo>
                  <a:lnTo>
                    <a:pt x="1102" y="1734"/>
                  </a:lnTo>
                  <a:cubicBezTo>
                    <a:pt x="1102" y="1826"/>
                    <a:pt x="1143" y="1914"/>
                    <a:pt x="1213" y="1972"/>
                  </a:cubicBezTo>
                  <a:cubicBezTo>
                    <a:pt x="1231" y="2029"/>
                    <a:pt x="1253" y="2087"/>
                    <a:pt x="1279" y="2144"/>
                  </a:cubicBezTo>
                  <a:cubicBezTo>
                    <a:pt x="1331" y="2280"/>
                    <a:pt x="1406" y="2421"/>
                    <a:pt x="1496" y="2552"/>
                  </a:cubicBezTo>
                  <a:cubicBezTo>
                    <a:pt x="1534" y="2608"/>
                    <a:pt x="1584" y="2674"/>
                    <a:pt x="1644" y="2740"/>
                  </a:cubicBezTo>
                  <a:cubicBezTo>
                    <a:pt x="1590" y="2779"/>
                    <a:pt x="1551" y="2825"/>
                    <a:pt x="1534" y="2877"/>
                  </a:cubicBezTo>
                  <a:lnTo>
                    <a:pt x="814" y="3095"/>
                  </a:lnTo>
                  <a:cubicBezTo>
                    <a:pt x="307" y="3241"/>
                    <a:pt x="3" y="5432"/>
                    <a:pt x="3" y="5432"/>
                  </a:cubicBezTo>
                  <a:lnTo>
                    <a:pt x="3" y="5432"/>
                  </a:lnTo>
                  <a:cubicBezTo>
                    <a:pt x="1" y="5442"/>
                    <a:pt x="0" y="5452"/>
                    <a:pt x="0" y="5462"/>
                  </a:cubicBezTo>
                  <a:cubicBezTo>
                    <a:pt x="0" y="5567"/>
                    <a:pt x="86" y="5653"/>
                    <a:pt x="191" y="5653"/>
                  </a:cubicBezTo>
                  <a:lnTo>
                    <a:pt x="4372" y="5653"/>
                  </a:lnTo>
                  <a:cubicBezTo>
                    <a:pt x="4418" y="5668"/>
                    <a:pt x="4468" y="5677"/>
                    <a:pt x="4520" y="5677"/>
                  </a:cubicBezTo>
                  <a:cubicBezTo>
                    <a:pt x="4783" y="5677"/>
                    <a:pt x="4996" y="5464"/>
                    <a:pt x="4996" y="5202"/>
                  </a:cubicBezTo>
                  <a:lnTo>
                    <a:pt x="4996" y="5161"/>
                  </a:lnTo>
                  <a:cubicBezTo>
                    <a:pt x="5091" y="5119"/>
                    <a:pt x="5175" y="5063"/>
                    <a:pt x="5248" y="4994"/>
                  </a:cubicBezTo>
                  <a:cubicBezTo>
                    <a:pt x="5412" y="4838"/>
                    <a:pt x="5499" y="4635"/>
                    <a:pt x="5499" y="4406"/>
                  </a:cubicBezTo>
                  <a:cubicBezTo>
                    <a:pt x="5499" y="4239"/>
                    <a:pt x="5453" y="4089"/>
                    <a:pt x="5363" y="3960"/>
                  </a:cubicBezTo>
                  <a:close/>
                  <a:moveTo>
                    <a:pt x="2140" y="3663"/>
                  </a:moveTo>
                  <a:cubicBezTo>
                    <a:pt x="2137" y="3689"/>
                    <a:pt x="2118" y="3711"/>
                    <a:pt x="2093" y="3718"/>
                  </a:cubicBezTo>
                  <a:cubicBezTo>
                    <a:pt x="2087" y="3720"/>
                    <a:pt x="2081" y="3721"/>
                    <a:pt x="2075" y="3721"/>
                  </a:cubicBezTo>
                  <a:cubicBezTo>
                    <a:pt x="2055" y="3721"/>
                    <a:pt x="2036" y="3711"/>
                    <a:pt x="2024" y="3695"/>
                  </a:cubicBezTo>
                  <a:lnTo>
                    <a:pt x="1842" y="3454"/>
                  </a:lnTo>
                  <a:cubicBezTo>
                    <a:pt x="1833" y="3442"/>
                    <a:pt x="1829" y="3429"/>
                    <a:pt x="1829" y="3415"/>
                  </a:cubicBezTo>
                  <a:lnTo>
                    <a:pt x="1829" y="3028"/>
                  </a:lnTo>
                  <a:cubicBezTo>
                    <a:pt x="1829" y="3005"/>
                    <a:pt x="1841" y="2984"/>
                    <a:pt x="1860" y="2972"/>
                  </a:cubicBezTo>
                  <a:cubicBezTo>
                    <a:pt x="1880" y="2961"/>
                    <a:pt x="1904" y="2960"/>
                    <a:pt x="1924" y="2970"/>
                  </a:cubicBezTo>
                  <a:cubicBezTo>
                    <a:pt x="1977" y="2998"/>
                    <a:pt x="2030" y="3017"/>
                    <a:pt x="2081" y="3026"/>
                  </a:cubicBezTo>
                  <a:cubicBezTo>
                    <a:pt x="2112" y="3032"/>
                    <a:pt x="2135" y="3059"/>
                    <a:pt x="2135" y="3090"/>
                  </a:cubicBezTo>
                  <a:lnTo>
                    <a:pt x="2135" y="3252"/>
                  </a:lnTo>
                  <a:cubicBezTo>
                    <a:pt x="2144" y="3255"/>
                    <a:pt x="2152" y="3261"/>
                    <a:pt x="2159" y="3268"/>
                  </a:cubicBezTo>
                  <a:cubicBezTo>
                    <a:pt x="2171" y="3282"/>
                    <a:pt x="2177" y="3300"/>
                    <a:pt x="2175" y="3318"/>
                  </a:cubicBezTo>
                  <a:lnTo>
                    <a:pt x="2140" y="3663"/>
                  </a:lnTo>
                  <a:close/>
                  <a:moveTo>
                    <a:pt x="2825" y="3454"/>
                  </a:moveTo>
                  <a:lnTo>
                    <a:pt x="2644" y="3695"/>
                  </a:lnTo>
                  <a:cubicBezTo>
                    <a:pt x="2631" y="3711"/>
                    <a:pt x="2612" y="3721"/>
                    <a:pt x="2592" y="3721"/>
                  </a:cubicBezTo>
                  <a:cubicBezTo>
                    <a:pt x="2586" y="3721"/>
                    <a:pt x="2580" y="3720"/>
                    <a:pt x="2574" y="3718"/>
                  </a:cubicBezTo>
                  <a:cubicBezTo>
                    <a:pt x="2549" y="3711"/>
                    <a:pt x="2530" y="3689"/>
                    <a:pt x="2527" y="3662"/>
                  </a:cubicBezTo>
                  <a:lnTo>
                    <a:pt x="2492" y="3318"/>
                  </a:lnTo>
                  <a:cubicBezTo>
                    <a:pt x="2490" y="3300"/>
                    <a:pt x="2496" y="3282"/>
                    <a:pt x="2508" y="3268"/>
                  </a:cubicBezTo>
                  <a:cubicBezTo>
                    <a:pt x="2515" y="3261"/>
                    <a:pt x="2523" y="3255"/>
                    <a:pt x="2533" y="3252"/>
                  </a:cubicBezTo>
                  <a:lnTo>
                    <a:pt x="2533" y="3090"/>
                  </a:lnTo>
                  <a:cubicBezTo>
                    <a:pt x="2533" y="3059"/>
                    <a:pt x="2555" y="3032"/>
                    <a:pt x="2586" y="3026"/>
                  </a:cubicBezTo>
                  <a:cubicBezTo>
                    <a:pt x="2637" y="3017"/>
                    <a:pt x="2690" y="2998"/>
                    <a:pt x="2743" y="2971"/>
                  </a:cubicBezTo>
                  <a:cubicBezTo>
                    <a:pt x="2763" y="2960"/>
                    <a:pt x="2787" y="2961"/>
                    <a:pt x="2807" y="2972"/>
                  </a:cubicBezTo>
                  <a:cubicBezTo>
                    <a:pt x="2826" y="2984"/>
                    <a:pt x="2838" y="3005"/>
                    <a:pt x="2838" y="3028"/>
                  </a:cubicBezTo>
                  <a:lnTo>
                    <a:pt x="2838" y="3415"/>
                  </a:lnTo>
                  <a:cubicBezTo>
                    <a:pt x="2838" y="3429"/>
                    <a:pt x="2834" y="3442"/>
                    <a:pt x="2825" y="3454"/>
                  </a:cubicBezTo>
                  <a:close/>
                  <a:moveTo>
                    <a:pt x="2508" y="2684"/>
                  </a:moveTo>
                  <a:lnTo>
                    <a:pt x="2160" y="2684"/>
                  </a:lnTo>
                  <a:cubicBezTo>
                    <a:pt x="2083" y="2684"/>
                    <a:pt x="1934" y="2581"/>
                    <a:pt x="1776" y="2351"/>
                  </a:cubicBezTo>
                  <a:cubicBezTo>
                    <a:pt x="1651" y="2170"/>
                    <a:pt x="1564" y="1970"/>
                    <a:pt x="1544" y="1815"/>
                  </a:cubicBezTo>
                  <a:lnTo>
                    <a:pt x="1540" y="1788"/>
                  </a:lnTo>
                  <a:lnTo>
                    <a:pt x="1477" y="1747"/>
                  </a:lnTo>
                  <a:cubicBezTo>
                    <a:pt x="1459" y="1735"/>
                    <a:pt x="1448" y="1715"/>
                    <a:pt x="1448" y="1693"/>
                  </a:cubicBezTo>
                  <a:lnTo>
                    <a:pt x="1448" y="1586"/>
                  </a:lnTo>
                  <a:cubicBezTo>
                    <a:pt x="1448" y="1551"/>
                    <a:pt x="1477" y="1522"/>
                    <a:pt x="1513" y="1522"/>
                  </a:cubicBezTo>
                  <a:lnTo>
                    <a:pt x="1539" y="1522"/>
                  </a:lnTo>
                  <a:lnTo>
                    <a:pt x="1539" y="1406"/>
                  </a:lnTo>
                  <a:cubicBezTo>
                    <a:pt x="1539" y="1382"/>
                    <a:pt x="1553" y="1359"/>
                    <a:pt x="1575" y="1348"/>
                  </a:cubicBezTo>
                  <a:cubicBezTo>
                    <a:pt x="1664" y="1304"/>
                    <a:pt x="1841" y="1229"/>
                    <a:pt x="2024" y="1229"/>
                  </a:cubicBezTo>
                  <a:cubicBezTo>
                    <a:pt x="2170" y="1229"/>
                    <a:pt x="2292" y="1278"/>
                    <a:pt x="2384" y="1374"/>
                  </a:cubicBezTo>
                  <a:cubicBezTo>
                    <a:pt x="2500" y="1493"/>
                    <a:pt x="2633" y="1554"/>
                    <a:pt x="2781" y="1554"/>
                  </a:cubicBezTo>
                  <a:cubicBezTo>
                    <a:pt x="2864" y="1554"/>
                    <a:pt x="2950" y="1534"/>
                    <a:pt x="3037" y="1495"/>
                  </a:cubicBezTo>
                  <a:cubicBezTo>
                    <a:pt x="3057" y="1486"/>
                    <a:pt x="3080" y="1488"/>
                    <a:pt x="3098" y="1500"/>
                  </a:cubicBezTo>
                  <a:cubicBezTo>
                    <a:pt x="3107" y="1506"/>
                    <a:pt x="3114" y="1513"/>
                    <a:pt x="3119" y="1522"/>
                  </a:cubicBezTo>
                  <a:lnTo>
                    <a:pt x="3154" y="1522"/>
                  </a:lnTo>
                  <a:cubicBezTo>
                    <a:pt x="3190" y="1522"/>
                    <a:pt x="3219" y="1551"/>
                    <a:pt x="3219" y="1586"/>
                  </a:cubicBezTo>
                  <a:lnTo>
                    <a:pt x="3219" y="1693"/>
                  </a:lnTo>
                  <a:cubicBezTo>
                    <a:pt x="3219" y="1715"/>
                    <a:pt x="3208" y="1735"/>
                    <a:pt x="3190" y="1747"/>
                  </a:cubicBezTo>
                  <a:lnTo>
                    <a:pt x="3127" y="1788"/>
                  </a:lnTo>
                  <a:lnTo>
                    <a:pt x="3123" y="1815"/>
                  </a:lnTo>
                  <a:cubicBezTo>
                    <a:pt x="3103" y="1970"/>
                    <a:pt x="3016" y="2170"/>
                    <a:pt x="2891" y="2351"/>
                  </a:cubicBezTo>
                  <a:cubicBezTo>
                    <a:pt x="2733" y="2581"/>
                    <a:pt x="2584" y="2684"/>
                    <a:pt x="2508" y="2684"/>
                  </a:cubicBezTo>
                  <a:close/>
                  <a:moveTo>
                    <a:pt x="5035" y="4769"/>
                  </a:moveTo>
                  <a:cubicBezTo>
                    <a:pt x="4947" y="4852"/>
                    <a:pt x="4830" y="4908"/>
                    <a:pt x="4686" y="4935"/>
                  </a:cubicBezTo>
                  <a:lnTo>
                    <a:pt x="4686" y="5202"/>
                  </a:lnTo>
                  <a:cubicBezTo>
                    <a:pt x="4686" y="5293"/>
                    <a:pt x="4612" y="5367"/>
                    <a:pt x="4520" y="5367"/>
                  </a:cubicBezTo>
                  <a:cubicBezTo>
                    <a:pt x="4429" y="5367"/>
                    <a:pt x="4355" y="5293"/>
                    <a:pt x="4355" y="5202"/>
                  </a:cubicBezTo>
                  <a:lnTo>
                    <a:pt x="4355" y="4944"/>
                  </a:lnTo>
                  <a:cubicBezTo>
                    <a:pt x="4144" y="4915"/>
                    <a:pt x="3987" y="4824"/>
                    <a:pt x="3887" y="4672"/>
                  </a:cubicBezTo>
                  <a:cubicBezTo>
                    <a:pt x="3857" y="4626"/>
                    <a:pt x="3851" y="4567"/>
                    <a:pt x="3873" y="4516"/>
                  </a:cubicBezTo>
                  <a:cubicBezTo>
                    <a:pt x="3895" y="4465"/>
                    <a:pt x="3941" y="4428"/>
                    <a:pt x="3995" y="4418"/>
                  </a:cubicBezTo>
                  <a:lnTo>
                    <a:pt x="4121" y="4395"/>
                  </a:lnTo>
                  <a:cubicBezTo>
                    <a:pt x="4185" y="4383"/>
                    <a:pt x="4250" y="4410"/>
                    <a:pt x="4287" y="4463"/>
                  </a:cubicBezTo>
                  <a:cubicBezTo>
                    <a:pt x="4334" y="4531"/>
                    <a:pt x="4414" y="4565"/>
                    <a:pt x="4524" y="4565"/>
                  </a:cubicBezTo>
                  <a:cubicBezTo>
                    <a:pt x="4693" y="4565"/>
                    <a:pt x="4693" y="4498"/>
                    <a:pt x="4693" y="4475"/>
                  </a:cubicBezTo>
                  <a:cubicBezTo>
                    <a:pt x="4693" y="4443"/>
                    <a:pt x="4681" y="4420"/>
                    <a:pt x="4656" y="4402"/>
                  </a:cubicBezTo>
                  <a:cubicBezTo>
                    <a:pt x="4629" y="4384"/>
                    <a:pt x="4581" y="4367"/>
                    <a:pt x="4512" y="4353"/>
                  </a:cubicBezTo>
                  <a:cubicBezTo>
                    <a:pt x="4237" y="4297"/>
                    <a:pt x="4059" y="4224"/>
                    <a:pt x="3985" y="4136"/>
                  </a:cubicBezTo>
                  <a:cubicBezTo>
                    <a:pt x="3909" y="4048"/>
                    <a:pt x="3872" y="3948"/>
                    <a:pt x="3872" y="3833"/>
                  </a:cubicBezTo>
                  <a:cubicBezTo>
                    <a:pt x="3872" y="3707"/>
                    <a:pt x="3914" y="3595"/>
                    <a:pt x="3995" y="3497"/>
                  </a:cubicBezTo>
                  <a:cubicBezTo>
                    <a:pt x="4074" y="3403"/>
                    <a:pt x="4195" y="3342"/>
                    <a:pt x="4355" y="3316"/>
                  </a:cubicBezTo>
                  <a:lnTo>
                    <a:pt x="4355" y="3124"/>
                  </a:lnTo>
                  <a:cubicBezTo>
                    <a:pt x="4355" y="3033"/>
                    <a:pt x="4429" y="2959"/>
                    <a:pt x="4520" y="2959"/>
                  </a:cubicBezTo>
                  <a:cubicBezTo>
                    <a:pt x="4612" y="2959"/>
                    <a:pt x="4686" y="3033"/>
                    <a:pt x="4686" y="3124"/>
                  </a:cubicBezTo>
                  <a:lnTo>
                    <a:pt x="4686" y="3319"/>
                  </a:lnTo>
                  <a:cubicBezTo>
                    <a:pt x="4829" y="3346"/>
                    <a:pt x="4940" y="3404"/>
                    <a:pt x="5024" y="3494"/>
                  </a:cubicBezTo>
                  <a:cubicBezTo>
                    <a:pt x="5063" y="3536"/>
                    <a:pt x="5078" y="3595"/>
                    <a:pt x="5064" y="3650"/>
                  </a:cubicBezTo>
                  <a:cubicBezTo>
                    <a:pt x="5049" y="3705"/>
                    <a:pt x="5007" y="3749"/>
                    <a:pt x="4953" y="3766"/>
                  </a:cubicBezTo>
                  <a:lnTo>
                    <a:pt x="4867" y="3793"/>
                  </a:lnTo>
                  <a:cubicBezTo>
                    <a:pt x="4805" y="3812"/>
                    <a:pt x="4737" y="3793"/>
                    <a:pt x="4693" y="3744"/>
                  </a:cubicBezTo>
                  <a:cubicBezTo>
                    <a:pt x="4650" y="3696"/>
                    <a:pt x="4586" y="3671"/>
                    <a:pt x="4503" y="3671"/>
                  </a:cubicBezTo>
                  <a:cubicBezTo>
                    <a:pt x="4436" y="3671"/>
                    <a:pt x="4356" y="3687"/>
                    <a:pt x="4356" y="3763"/>
                  </a:cubicBezTo>
                  <a:cubicBezTo>
                    <a:pt x="4356" y="3785"/>
                    <a:pt x="4364" y="3804"/>
                    <a:pt x="4379" y="3819"/>
                  </a:cubicBezTo>
                  <a:cubicBezTo>
                    <a:pt x="4396" y="3835"/>
                    <a:pt x="4444" y="3852"/>
                    <a:pt x="4521" y="3870"/>
                  </a:cubicBezTo>
                  <a:cubicBezTo>
                    <a:pt x="4701" y="3909"/>
                    <a:pt x="4832" y="3945"/>
                    <a:pt x="4910" y="3976"/>
                  </a:cubicBezTo>
                  <a:cubicBezTo>
                    <a:pt x="4990" y="4008"/>
                    <a:pt x="5057" y="4062"/>
                    <a:pt x="5110" y="4137"/>
                  </a:cubicBezTo>
                  <a:cubicBezTo>
                    <a:pt x="5162" y="4213"/>
                    <a:pt x="5189" y="4303"/>
                    <a:pt x="5189" y="4406"/>
                  </a:cubicBezTo>
                  <a:cubicBezTo>
                    <a:pt x="5189" y="4550"/>
                    <a:pt x="5137" y="4672"/>
                    <a:pt x="5035" y="4769"/>
                  </a:cubicBezTo>
                  <a:close/>
                </a:path>
              </a:pathLst>
            </a:custGeom>
            <a:solidFill>
              <a:schemeClr val="accent2"/>
            </a:solidFill>
            <a:ln>
              <a:noFill/>
            </a:ln>
          </p:spPr>
          <p:txBody>
            <a:bodyPr/>
            <a:lstStyle/>
            <a:p>
              <a:endParaRPr lang="zh-CN" altLang="en-US"/>
            </a:p>
          </p:txBody>
        </p:sp>
        <p:sp>
          <p:nvSpPr>
            <p:cNvPr id="15" name="iṡlîḑe">
              <a:extLst>
                <a:ext uri="{FF2B5EF4-FFF2-40B4-BE49-F238E27FC236}">
                  <a16:creationId xmlns:a16="http://schemas.microsoft.com/office/drawing/2014/main" id="{FFCF7C75-31A4-479C-8C6A-AA615A141C4C}"/>
                </a:ext>
              </a:extLst>
            </p:cNvPr>
            <p:cNvSpPr txBox="1"/>
            <p:nvPr/>
          </p:nvSpPr>
          <p:spPr>
            <a:xfrm>
              <a:off x="5376038" y="3583991"/>
              <a:ext cx="1387448" cy="483522"/>
            </a:xfrm>
            <a:prstGeom prst="rect">
              <a:avLst/>
            </a:prstGeom>
            <a:noFill/>
          </p:spPr>
          <p:txBody>
            <a:bodyPr wrap="none" rtlCol="0" anchor="ctr">
              <a:normAutofit/>
            </a:bodyPr>
            <a:lstStyle/>
            <a:p>
              <a:pPr algn="ctr" defTabSz="914378">
                <a:spcBef>
                  <a:spcPct val="0"/>
                </a:spcBef>
                <a:defRPr/>
              </a:pPr>
              <a:r>
                <a:rPr lang="en-US" altLang="zh-CN" b="1"/>
                <a:t>… t</a:t>
              </a:r>
              <a:r>
                <a:rPr lang="en-US" altLang="zh-CN" sz="100" b="1"/>
                <a:t> </a:t>
              </a:r>
              <a:r>
                <a:rPr lang="en-US" altLang="zh-CN" b="1"/>
                <a:t>ext</a:t>
              </a:r>
              <a:endParaRPr lang="zh-CN" altLang="en-US" b="1" dirty="0"/>
            </a:p>
          </p:txBody>
        </p:sp>
        <p:sp>
          <p:nvSpPr>
            <p:cNvPr id="16" name="ïṣļiḍê">
              <a:extLst>
                <a:ext uri="{FF2B5EF4-FFF2-40B4-BE49-F238E27FC236}">
                  <a16:creationId xmlns:a16="http://schemas.microsoft.com/office/drawing/2014/main" id="{D06C84DD-DC14-4BDE-812A-E8DC8442E2C4}"/>
                </a:ext>
              </a:extLst>
            </p:cNvPr>
            <p:cNvSpPr txBox="1"/>
            <p:nvPr/>
          </p:nvSpPr>
          <p:spPr>
            <a:xfrm>
              <a:off x="1744049" y="1567854"/>
              <a:ext cx="2568113" cy="483522"/>
            </a:xfrm>
            <a:prstGeom prst="rect">
              <a:avLst/>
            </a:prstGeom>
            <a:noFill/>
          </p:spPr>
          <p:txBody>
            <a:bodyPr wrap="none" rtlCol="0" anchor="b">
              <a:normAutofit/>
            </a:bodyPr>
            <a:lstStyle/>
            <a:p>
              <a:pPr lvl="0" algn="r" defTabSz="914378">
                <a:spcBef>
                  <a:spcPct val="0"/>
                </a:spcBef>
                <a:defRPr/>
              </a:pPr>
              <a:r>
                <a:rPr lang="en-US" altLang="zh-CN" b="1"/>
                <a:t>… t</a:t>
              </a:r>
              <a:r>
                <a:rPr lang="en-US" altLang="zh-CN" sz="100" b="1"/>
                <a:t> </a:t>
              </a:r>
              <a:r>
                <a:rPr lang="en-US" altLang="zh-CN" b="1"/>
                <a:t>ext</a:t>
              </a:r>
              <a:endParaRPr lang="zh-CN" altLang="en-US" b="1" dirty="0"/>
            </a:p>
          </p:txBody>
        </p:sp>
        <p:sp>
          <p:nvSpPr>
            <p:cNvPr id="17" name="ïṧliḓè">
              <a:extLst>
                <a:ext uri="{FF2B5EF4-FFF2-40B4-BE49-F238E27FC236}">
                  <a16:creationId xmlns:a16="http://schemas.microsoft.com/office/drawing/2014/main" id="{5ED8D89D-B0AE-43E2-8790-290306878351}"/>
                </a:ext>
              </a:extLst>
            </p:cNvPr>
            <p:cNvSpPr/>
            <p:nvPr/>
          </p:nvSpPr>
          <p:spPr bwMode="auto">
            <a:xfrm>
              <a:off x="1744049" y="2051376"/>
              <a:ext cx="2568113" cy="73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a:lnSpc>
                  <a:spcPct val="130000"/>
                </a:lnSpc>
              </a:pPr>
              <a:r>
                <a:rPr lang="en-US" altLang="zh-CN" sz="1100"/>
                <a:t>Supporting text </a:t>
              </a:r>
              <a:r>
                <a:rPr lang="en-US" altLang="zh-CN" sz="100"/>
                <a:t> </a:t>
              </a:r>
              <a:r>
                <a:rPr lang="en-US" altLang="zh-CN" sz="1100"/>
                <a:t>here.</a:t>
              </a:r>
            </a:p>
            <a:p>
              <a:pPr algn="r">
                <a:lnSpc>
                  <a:spcPct val="130000"/>
                </a:lnSpc>
              </a:pPr>
              <a:r>
                <a:rPr lang="en-US" altLang="zh-CN" sz="1100"/>
                <a:t>…… </a:t>
              </a:r>
              <a:endParaRPr lang="en-US" altLang="zh-CN" sz="1100" dirty="0"/>
            </a:p>
          </p:txBody>
        </p:sp>
        <p:sp>
          <p:nvSpPr>
            <p:cNvPr id="18" name="íṧlíḍe">
              <a:extLst>
                <a:ext uri="{FF2B5EF4-FFF2-40B4-BE49-F238E27FC236}">
                  <a16:creationId xmlns:a16="http://schemas.microsoft.com/office/drawing/2014/main" id="{20C581CA-9E23-4E09-BA9F-E4AE922C330C}"/>
                </a:ext>
              </a:extLst>
            </p:cNvPr>
            <p:cNvSpPr txBox="1"/>
            <p:nvPr/>
          </p:nvSpPr>
          <p:spPr>
            <a:xfrm>
              <a:off x="1744049" y="4169439"/>
              <a:ext cx="2568113" cy="483522"/>
            </a:xfrm>
            <a:prstGeom prst="rect">
              <a:avLst/>
            </a:prstGeom>
            <a:noFill/>
          </p:spPr>
          <p:txBody>
            <a:bodyPr wrap="none" rtlCol="0" anchor="b">
              <a:normAutofit/>
            </a:bodyPr>
            <a:lstStyle/>
            <a:p>
              <a:pPr lvl="0" algn="r" defTabSz="914378">
                <a:spcBef>
                  <a:spcPct val="0"/>
                </a:spcBef>
                <a:defRPr/>
              </a:pPr>
              <a:r>
                <a:rPr lang="en-US" altLang="zh-CN" b="1"/>
                <a:t>… t</a:t>
              </a:r>
              <a:r>
                <a:rPr lang="en-US" altLang="zh-CN" sz="100" b="1"/>
                <a:t> </a:t>
              </a:r>
              <a:r>
                <a:rPr lang="en-US" altLang="zh-CN" b="1"/>
                <a:t>ext</a:t>
              </a:r>
              <a:endParaRPr lang="zh-CN" altLang="en-US" b="1" dirty="0"/>
            </a:p>
          </p:txBody>
        </p:sp>
        <p:sp>
          <p:nvSpPr>
            <p:cNvPr id="19" name="íŝḷíḋé">
              <a:extLst>
                <a:ext uri="{FF2B5EF4-FFF2-40B4-BE49-F238E27FC236}">
                  <a16:creationId xmlns:a16="http://schemas.microsoft.com/office/drawing/2014/main" id="{DB6B276E-8933-4853-878D-94923F637D32}"/>
                </a:ext>
              </a:extLst>
            </p:cNvPr>
            <p:cNvSpPr/>
            <p:nvPr/>
          </p:nvSpPr>
          <p:spPr bwMode="auto">
            <a:xfrm>
              <a:off x="1744049" y="4652961"/>
              <a:ext cx="2568113" cy="73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a:lnSpc>
                  <a:spcPct val="130000"/>
                </a:lnSpc>
              </a:pPr>
              <a:r>
                <a:rPr lang="en-US" altLang="zh-CN" sz="1100"/>
                <a:t>Supporting text </a:t>
              </a:r>
              <a:r>
                <a:rPr lang="en-US" altLang="zh-CN" sz="100"/>
                <a:t> </a:t>
              </a:r>
              <a:r>
                <a:rPr lang="en-US" altLang="zh-CN" sz="1100"/>
                <a:t>here.</a:t>
              </a:r>
            </a:p>
            <a:p>
              <a:pPr algn="r">
                <a:lnSpc>
                  <a:spcPct val="130000"/>
                </a:lnSpc>
              </a:pPr>
              <a:r>
                <a:rPr lang="en-US" altLang="zh-CN" sz="1100"/>
                <a:t>…… </a:t>
              </a:r>
              <a:endParaRPr lang="en-US" altLang="zh-CN" sz="1100" dirty="0"/>
            </a:p>
          </p:txBody>
        </p:sp>
        <p:sp>
          <p:nvSpPr>
            <p:cNvPr id="20" name="íṧḻîḑè">
              <a:extLst>
                <a:ext uri="{FF2B5EF4-FFF2-40B4-BE49-F238E27FC236}">
                  <a16:creationId xmlns:a16="http://schemas.microsoft.com/office/drawing/2014/main" id="{072B92C6-A347-4D48-9089-C7AD6D01ACA4}"/>
                </a:ext>
              </a:extLst>
            </p:cNvPr>
            <p:cNvSpPr txBox="1"/>
            <p:nvPr/>
          </p:nvSpPr>
          <p:spPr>
            <a:xfrm>
              <a:off x="7879838" y="1567854"/>
              <a:ext cx="2568113" cy="483522"/>
            </a:xfrm>
            <a:prstGeom prst="rect">
              <a:avLst/>
            </a:prstGeom>
            <a:noFill/>
          </p:spPr>
          <p:txBody>
            <a:bodyPr wrap="none" rtlCol="0" anchor="b">
              <a:normAutofit/>
            </a:bodyPr>
            <a:lstStyle/>
            <a:p>
              <a:pPr lvl="0" defTabSz="914378">
                <a:spcBef>
                  <a:spcPct val="0"/>
                </a:spcBef>
                <a:defRPr/>
              </a:pPr>
              <a:r>
                <a:rPr lang="en-US" altLang="zh-CN" b="1"/>
                <a:t>… t</a:t>
              </a:r>
              <a:r>
                <a:rPr lang="en-US" altLang="zh-CN" sz="100" b="1"/>
                <a:t> </a:t>
              </a:r>
              <a:r>
                <a:rPr lang="en-US" altLang="zh-CN" b="1"/>
                <a:t>ext</a:t>
              </a:r>
              <a:endParaRPr lang="zh-CN" altLang="en-US" b="1" dirty="0"/>
            </a:p>
          </p:txBody>
        </p:sp>
        <p:sp>
          <p:nvSpPr>
            <p:cNvPr id="21" name="íṩḷîďe">
              <a:extLst>
                <a:ext uri="{FF2B5EF4-FFF2-40B4-BE49-F238E27FC236}">
                  <a16:creationId xmlns:a16="http://schemas.microsoft.com/office/drawing/2014/main" id="{86657D36-9CAF-4771-A3B4-C8E60FE79EAC}"/>
                </a:ext>
              </a:extLst>
            </p:cNvPr>
            <p:cNvSpPr/>
            <p:nvPr/>
          </p:nvSpPr>
          <p:spPr bwMode="auto">
            <a:xfrm>
              <a:off x="7879838" y="2051376"/>
              <a:ext cx="2568113" cy="73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30000"/>
                </a:lnSpc>
              </a:pPr>
              <a:r>
                <a:rPr lang="en-US" altLang="zh-CN" sz="1100"/>
                <a:t>Supporting text </a:t>
              </a:r>
              <a:r>
                <a:rPr lang="en-US" altLang="zh-CN" sz="100"/>
                <a:t> </a:t>
              </a:r>
              <a:r>
                <a:rPr lang="en-US" altLang="zh-CN" sz="1100"/>
                <a:t>here.</a:t>
              </a:r>
            </a:p>
            <a:p>
              <a:pPr>
                <a:lnSpc>
                  <a:spcPct val="130000"/>
                </a:lnSpc>
              </a:pPr>
              <a:r>
                <a:rPr lang="en-US" altLang="zh-CN" sz="1100"/>
                <a:t>…… </a:t>
              </a:r>
              <a:endParaRPr lang="en-US" altLang="zh-CN" sz="1100" dirty="0"/>
            </a:p>
          </p:txBody>
        </p:sp>
        <p:sp>
          <p:nvSpPr>
            <p:cNvPr id="22" name="îsḷiďè">
              <a:extLst>
                <a:ext uri="{FF2B5EF4-FFF2-40B4-BE49-F238E27FC236}">
                  <a16:creationId xmlns:a16="http://schemas.microsoft.com/office/drawing/2014/main" id="{3D790F9C-BE35-4CD2-8345-D6AC9CA6F59B}"/>
                </a:ext>
              </a:extLst>
            </p:cNvPr>
            <p:cNvSpPr txBox="1"/>
            <p:nvPr/>
          </p:nvSpPr>
          <p:spPr>
            <a:xfrm>
              <a:off x="7879838" y="4169439"/>
              <a:ext cx="2568113" cy="483522"/>
            </a:xfrm>
            <a:prstGeom prst="rect">
              <a:avLst/>
            </a:prstGeom>
            <a:noFill/>
          </p:spPr>
          <p:txBody>
            <a:bodyPr wrap="none" rtlCol="0" anchor="b">
              <a:normAutofit/>
            </a:bodyPr>
            <a:lstStyle/>
            <a:p>
              <a:pPr lvl="0" defTabSz="914378">
                <a:spcBef>
                  <a:spcPct val="0"/>
                </a:spcBef>
                <a:defRPr/>
              </a:pPr>
              <a:r>
                <a:rPr lang="en-US" altLang="zh-CN" b="1"/>
                <a:t>… t</a:t>
              </a:r>
              <a:r>
                <a:rPr lang="en-US" altLang="zh-CN" sz="100" b="1"/>
                <a:t> </a:t>
              </a:r>
              <a:r>
                <a:rPr lang="en-US" altLang="zh-CN" b="1"/>
                <a:t>ext</a:t>
              </a:r>
              <a:endParaRPr lang="zh-CN" altLang="en-US" b="1" dirty="0"/>
            </a:p>
          </p:txBody>
        </p:sp>
        <p:sp>
          <p:nvSpPr>
            <p:cNvPr id="23" name="îṧlide">
              <a:extLst>
                <a:ext uri="{FF2B5EF4-FFF2-40B4-BE49-F238E27FC236}">
                  <a16:creationId xmlns:a16="http://schemas.microsoft.com/office/drawing/2014/main" id="{D1F7EE91-8EB5-46E2-95D7-9EAF08A3CF91}"/>
                </a:ext>
              </a:extLst>
            </p:cNvPr>
            <p:cNvSpPr/>
            <p:nvPr/>
          </p:nvSpPr>
          <p:spPr bwMode="auto">
            <a:xfrm>
              <a:off x="7879838" y="4652961"/>
              <a:ext cx="2568113" cy="73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30000"/>
                </a:lnSpc>
              </a:pPr>
              <a:r>
                <a:rPr lang="en-US" altLang="zh-CN" sz="1100"/>
                <a:t>Supporting text </a:t>
              </a:r>
              <a:r>
                <a:rPr lang="en-US" altLang="zh-CN" sz="100"/>
                <a:t> </a:t>
              </a:r>
              <a:r>
                <a:rPr lang="en-US" altLang="zh-CN" sz="1100"/>
                <a:t>here.</a:t>
              </a:r>
            </a:p>
            <a:p>
              <a:pPr>
                <a:lnSpc>
                  <a:spcPct val="130000"/>
                </a:lnSpc>
              </a:pPr>
              <a:r>
                <a:rPr lang="en-US" altLang="zh-CN" sz="1100"/>
                <a:t>…… </a:t>
              </a:r>
              <a:endParaRPr lang="en-US" altLang="zh-CN" sz="1100" dirty="0"/>
            </a:p>
          </p:txBody>
        </p:sp>
      </p:grpSp>
    </p:spTree>
    <p:extLst>
      <p:ext uri="{BB962C8B-B14F-4D97-AF65-F5344CB8AC3E}">
        <p14:creationId xmlns:p14="http://schemas.microsoft.com/office/powerpoint/2010/main" val="11715930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GB" b="0" i="0" dirty="0">
                <a:solidFill>
                  <a:srgbClr val="000000"/>
                </a:solidFill>
                <a:effectLst/>
                <a:latin typeface="Roboto" panose="02000000000000000000" pitchFamily="2" charset="0"/>
              </a:rPr>
              <a:t>Public virus prevention measures</a:t>
            </a:r>
            <a:endParaRPr lang="zh-CN" altLang="en-US" dirty="0"/>
          </a:p>
        </p:txBody>
      </p:sp>
      <p:sp>
        <p:nvSpPr>
          <p:cNvPr id="3" name="页脚占位符 2"/>
          <p:cNvSpPr>
            <a:spLocks noGrp="1"/>
          </p:cNvSpPr>
          <p:nvPr>
            <p:ph type="ftr" sz="quarter" idx="11"/>
          </p:nvPr>
        </p:nvSpPr>
        <p:spPr/>
        <p:txBody>
          <a:bodyPr/>
          <a:lstStyle/>
          <a:p>
            <a:r>
              <a:rPr lang="en-GB" altLang="zh-CN" dirty="0"/>
              <a:t>https://iSlide-PowerPoint.com </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6</a:t>
            </a:fld>
            <a:endParaRPr lang="zh-CN" altLang="en-US"/>
          </a:p>
        </p:txBody>
      </p:sp>
      <p:grpSp>
        <p:nvGrpSpPr>
          <p:cNvPr id="5" name="27761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673100" y="1494920"/>
            <a:ext cx="10845800" cy="3476175"/>
            <a:chOff x="673100" y="1494920"/>
            <a:chExt cx="10845800" cy="3476175"/>
          </a:xfrm>
        </p:grpSpPr>
        <p:cxnSp>
          <p:nvCxnSpPr>
            <p:cNvPr id="6" name="直接连接符 5">
              <a:extLst>
                <a:ext uri="{FF2B5EF4-FFF2-40B4-BE49-F238E27FC236}">
                  <a16:creationId xmlns:a16="http://schemas.microsoft.com/office/drawing/2014/main" id="{DF5C9C2B-4A91-4A6B-96ED-BC7B23D85714}"/>
                </a:ext>
              </a:extLst>
            </p:cNvPr>
            <p:cNvCxnSpPr/>
            <p:nvPr/>
          </p:nvCxnSpPr>
          <p:spPr>
            <a:xfrm>
              <a:off x="673100" y="3422784"/>
              <a:ext cx="10845800" cy="0"/>
            </a:xfrm>
            <a:prstGeom prst="line">
              <a:avLst/>
            </a:prstGeom>
            <a:ln w="15875">
              <a:solidFill>
                <a:schemeClr val="bg1">
                  <a:lumMod val="85000"/>
                </a:scheme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grpSp>
          <p:nvGrpSpPr>
            <p:cNvPr id="7" name="íŝļïďê">
              <a:extLst>
                <a:ext uri="{FF2B5EF4-FFF2-40B4-BE49-F238E27FC236}">
                  <a16:creationId xmlns:a16="http://schemas.microsoft.com/office/drawing/2014/main" id="{CAEB6001-93FB-474E-83F0-46305D6ADE33}"/>
                </a:ext>
              </a:extLst>
            </p:cNvPr>
            <p:cNvGrpSpPr/>
            <p:nvPr/>
          </p:nvGrpSpPr>
          <p:grpSpPr>
            <a:xfrm>
              <a:off x="1581534" y="3069772"/>
              <a:ext cx="706024" cy="706024"/>
              <a:chOff x="2077663" y="2690079"/>
              <a:chExt cx="980218" cy="980218"/>
            </a:xfrm>
          </p:grpSpPr>
          <p:sp>
            <p:nvSpPr>
              <p:cNvPr id="35" name="îṣḻiḍê">
                <a:extLst>
                  <a:ext uri="{FF2B5EF4-FFF2-40B4-BE49-F238E27FC236}">
                    <a16:creationId xmlns:a16="http://schemas.microsoft.com/office/drawing/2014/main" id="{AD45C7E0-7384-43D3-8221-15138562F226}"/>
                  </a:ext>
                </a:extLst>
              </p:cNvPr>
              <p:cNvSpPr/>
              <p:nvPr/>
            </p:nvSpPr>
            <p:spPr>
              <a:xfrm>
                <a:off x="2077663" y="2690079"/>
                <a:ext cx="980218" cy="980218"/>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endParaRPr/>
              </a:p>
            </p:txBody>
          </p:sp>
          <p:sp>
            <p:nvSpPr>
              <p:cNvPr id="36" name="îṩlïḓé">
                <a:extLst>
                  <a:ext uri="{FF2B5EF4-FFF2-40B4-BE49-F238E27FC236}">
                    <a16:creationId xmlns:a16="http://schemas.microsoft.com/office/drawing/2014/main" id="{A27AC49C-2820-42D7-88EE-6AB54D8CA04C}"/>
                  </a:ext>
                </a:extLst>
              </p:cNvPr>
              <p:cNvSpPr/>
              <p:nvPr/>
            </p:nvSpPr>
            <p:spPr bwMode="auto">
              <a:xfrm>
                <a:off x="2300729" y="2913547"/>
                <a:ext cx="534086" cy="533282"/>
              </a:xfrm>
              <a:custGeom>
                <a:avLst/>
                <a:gdLst>
                  <a:gd name="T0" fmla="*/ 9608 w 10667"/>
                  <a:gd name="T1" fmla="*/ 4056 h 10667"/>
                  <a:gd name="T2" fmla="*/ 9642 w 10667"/>
                  <a:gd name="T3" fmla="*/ 4561 h 10667"/>
                  <a:gd name="T4" fmla="*/ 9398 w 10667"/>
                  <a:gd name="T5" fmla="*/ 5365 h 10667"/>
                  <a:gd name="T6" fmla="*/ 9237 w 10667"/>
                  <a:gd name="T7" fmla="*/ 4433 h 10667"/>
                  <a:gd name="T8" fmla="*/ 8869 w 10667"/>
                  <a:gd name="T9" fmla="*/ 4582 h 10667"/>
                  <a:gd name="T10" fmla="*/ 8709 w 10667"/>
                  <a:gd name="T11" fmla="*/ 5514 h 10667"/>
                  <a:gd name="T12" fmla="*/ 8952 w 10667"/>
                  <a:gd name="T13" fmla="*/ 5395 h 10667"/>
                  <a:gd name="T14" fmla="*/ 8998 w 10667"/>
                  <a:gd name="T15" fmla="*/ 6944 h 10667"/>
                  <a:gd name="T16" fmla="*/ 9239 w 10667"/>
                  <a:gd name="T17" fmla="*/ 5720 h 10667"/>
                  <a:gd name="T18" fmla="*/ 9377 w 10667"/>
                  <a:gd name="T19" fmla="*/ 6807 h 10667"/>
                  <a:gd name="T20" fmla="*/ 9687 w 10667"/>
                  <a:gd name="T21" fmla="*/ 6787 h 10667"/>
                  <a:gd name="T22" fmla="*/ 9559 w 10667"/>
                  <a:gd name="T23" fmla="*/ 4821 h 10667"/>
                  <a:gd name="T24" fmla="*/ 9939 w 10667"/>
                  <a:gd name="T25" fmla="*/ 5391 h 10667"/>
                  <a:gd name="T26" fmla="*/ 6566 w 10667"/>
                  <a:gd name="T27" fmla="*/ 1130 h 10667"/>
                  <a:gd name="T28" fmla="*/ 5448 w 10667"/>
                  <a:gd name="T29" fmla="*/ 2261 h 10667"/>
                  <a:gd name="T30" fmla="*/ 7197 w 10667"/>
                  <a:gd name="T31" fmla="*/ 8282 h 10667"/>
                  <a:gd name="T32" fmla="*/ 6553 w 10667"/>
                  <a:gd name="T33" fmla="*/ 5860 h 10667"/>
                  <a:gd name="T34" fmla="*/ 6867 w 10667"/>
                  <a:gd name="T35" fmla="*/ 5540 h 10667"/>
                  <a:gd name="T36" fmla="*/ 6677 w 10667"/>
                  <a:gd name="T37" fmla="*/ 2794 h 10667"/>
                  <a:gd name="T38" fmla="*/ 5875 w 10667"/>
                  <a:gd name="T39" fmla="*/ 5440 h 10667"/>
                  <a:gd name="T40" fmla="*/ 5344 w 10667"/>
                  <a:gd name="T41" fmla="*/ 2372 h 10667"/>
                  <a:gd name="T42" fmla="*/ 4134 w 10667"/>
                  <a:gd name="T43" fmla="*/ 2863 h 10667"/>
                  <a:gd name="T44" fmla="*/ 3606 w 10667"/>
                  <a:gd name="T45" fmla="*/ 5931 h 10667"/>
                  <a:gd name="T46" fmla="*/ 4406 w 10667"/>
                  <a:gd name="T47" fmla="*/ 5536 h 10667"/>
                  <a:gd name="T48" fmla="*/ 3036 w 10667"/>
                  <a:gd name="T49" fmla="*/ 8836 h 10667"/>
                  <a:gd name="T50" fmla="*/ 1301 w 10667"/>
                  <a:gd name="T51" fmla="*/ 9187 h 10667"/>
                  <a:gd name="T52" fmla="*/ 3942 w 10667"/>
                  <a:gd name="T53" fmla="*/ 10566 h 10667"/>
                  <a:gd name="T54" fmla="*/ 8368 w 10667"/>
                  <a:gd name="T55" fmla="*/ 10227 h 10667"/>
                  <a:gd name="T56" fmla="*/ 5409 w 10667"/>
                  <a:gd name="T57" fmla="*/ 9687 h 10667"/>
                  <a:gd name="T58" fmla="*/ 5462 w 10667"/>
                  <a:gd name="T59" fmla="*/ 6588 h 10667"/>
                  <a:gd name="T60" fmla="*/ 5409 w 10667"/>
                  <a:gd name="T61" fmla="*/ 9687 h 10667"/>
                  <a:gd name="T62" fmla="*/ 9674 w 10667"/>
                  <a:gd name="T63" fmla="*/ 7185 h 10667"/>
                  <a:gd name="T64" fmla="*/ 9255 w 10667"/>
                  <a:gd name="T65" fmla="*/ 7228 h 10667"/>
                  <a:gd name="T66" fmla="*/ 8691 w 10667"/>
                  <a:gd name="T67" fmla="*/ 6602 h 10667"/>
                  <a:gd name="T68" fmla="*/ 10667 w 10667"/>
                  <a:gd name="T69" fmla="*/ 7058 h 10667"/>
                  <a:gd name="T70" fmla="*/ 1068 w 10667"/>
                  <a:gd name="T71" fmla="*/ 4056 h 10667"/>
                  <a:gd name="T72" fmla="*/ 1407 w 10667"/>
                  <a:gd name="T73" fmla="*/ 4399 h 10667"/>
                  <a:gd name="T74" fmla="*/ 1620 w 10667"/>
                  <a:gd name="T75" fmla="*/ 4469 h 10667"/>
                  <a:gd name="T76" fmla="*/ 1410 w 10667"/>
                  <a:gd name="T77" fmla="*/ 5515 h 10667"/>
                  <a:gd name="T78" fmla="*/ 1189 w 10667"/>
                  <a:gd name="T79" fmla="*/ 4467 h 10667"/>
                  <a:gd name="T80" fmla="*/ 728 w 10667"/>
                  <a:gd name="T81" fmla="*/ 5387 h 10667"/>
                  <a:gd name="T82" fmla="*/ 967 w 10667"/>
                  <a:gd name="T83" fmla="*/ 5399 h 10667"/>
                  <a:gd name="T84" fmla="*/ 1088 w 10667"/>
                  <a:gd name="T85" fmla="*/ 5407 h 10667"/>
                  <a:gd name="T86" fmla="*/ 1148 w 10667"/>
                  <a:gd name="T87" fmla="*/ 6944 h 10667"/>
                  <a:gd name="T88" fmla="*/ 1411 w 10667"/>
                  <a:gd name="T89" fmla="*/ 5714 h 10667"/>
                  <a:gd name="T90" fmla="*/ 1671 w 10667"/>
                  <a:gd name="T91" fmla="*/ 6954 h 10667"/>
                  <a:gd name="T92" fmla="*/ 1743 w 10667"/>
                  <a:gd name="T93" fmla="*/ 5493 h 10667"/>
                  <a:gd name="T94" fmla="*/ 1838 w 10667"/>
                  <a:gd name="T95" fmla="*/ 5396 h 10667"/>
                  <a:gd name="T96" fmla="*/ 1780 w 10667"/>
                  <a:gd name="T97" fmla="*/ 4561 h 10667"/>
                  <a:gd name="T98" fmla="*/ 1813 w 10667"/>
                  <a:gd name="T99" fmla="*/ 7185 h 10667"/>
                  <a:gd name="T100" fmla="*/ 1394 w 10667"/>
                  <a:gd name="T101" fmla="*/ 7228 h 10667"/>
                  <a:gd name="T102" fmla="*/ 830 w 10667"/>
                  <a:gd name="T103" fmla="*/ 6602 h 10667"/>
                  <a:gd name="T104" fmla="*/ 2805 w 10667"/>
                  <a:gd name="T105" fmla="*/ 7058 h 10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67" h="10667">
                    <a:moveTo>
                      <a:pt x="8929" y="4056"/>
                    </a:moveTo>
                    <a:cubicBezTo>
                      <a:pt x="8929" y="3866"/>
                      <a:pt x="9081" y="3713"/>
                      <a:pt x="9268" y="3713"/>
                    </a:cubicBezTo>
                    <a:cubicBezTo>
                      <a:pt x="9456" y="3713"/>
                      <a:pt x="9608" y="3866"/>
                      <a:pt x="9608" y="4056"/>
                    </a:cubicBezTo>
                    <a:cubicBezTo>
                      <a:pt x="9608" y="4246"/>
                      <a:pt x="9456" y="4399"/>
                      <a:pt x="9268" y="4399"/>
                    </a:cubicBezTo>
                    <a:cubicBezTo>
                      <a:pt x="9081" y="4399"/>
                      <a:pt x="8929" y="4246"/>
                      <a:pt x="8929" y="4056"/>
                    </a:cubicBezTo>
                    <a:close/>
                    <a:moveTo>
                      <a:pt x="9642" y="4561"/>
                    </a:moveTo>
                    <a:cubicBezTo>
                      <a:pt x="9592" y="4523"/>
                      <a:pt x="9541" y="4489"/>
                      <a:pt x="9482" y="4469"/>
                    </a:cubicBezTo>
                    <a:cubicBezTo>
                      <a:pt x="9427" y="4449"/>
                      <a:pt x="9369" y="4439"/>
                      <a:pt x="9310" y="4434"/>
                    </a:cubicBezTo>
                    <a:lnTo>
                      <a:pt x="9398" y="5365"/>
                    </a:lnTo>
                    <a:lnTo>
                      <a:pt x="9272" y="5515"/>
                    </a:lnTo>
                    <a:lnTo>
                      <a:pt x="9127" y="5365"/>
                    </a:lnTo>
                    <a:lnTo>
                      <a:pt x="9237" y="4433"/>
                    </a:lnTo>
                    <a:cubicBezTo>
                      <a:pt x="9173" y="4435"/>
                      <a:pt x="9110" y="4446"/>
                      <a:pt x="9050" y="4467"/>
                    </a:cubicBezTo>
                    <a:cubicBezTo>
                      <a:pt x="9025" y="4476"/>
                      <a:pt x="9002" y="4487"/>
                      <a:pt x="8979" y="4500"/>
                    </a:cubicBezTo>
                    <a:cubicBezTo>
                      <a:pt x="8940" y="4523"/>
                      <a:pt x="8903" y="4551"/>
                      <a:pt x="8869" y="4582"/>
                    </a:cubicBezTo>
                    <a:cubicBezTo>
                      <a:pt x="8700" y="4734"/>
                      <a:pt x="8609" y="4997"/>
                      <a:pt x="8589" y="5387"/>
                    </a:cubicBezTo>
                    <a:cubicBezTo>
                      <a:pt x="8586" y="5454"/>
                      <a:pt x="8637" y="5511"/>
                      <a:pt x="8703" y="5514"/>
                    </a:cubicBezTo>
                    <a:cubicBezTo>
                      <a:pt x="8705" y="5514"/>
                      <a:pt x="8707" y="5514"/>
                      <a:pt x="8709" y="5514"/>
                    </a:cubicBezTo>
                    <a:cubicBezTo>
                      <a:pt x="8772" y="5514"/>
                      <a:pt x="8825" y="5464"/>
                      <a:pt x="8828" y="5399"/>
                    </a:cubicBezTo>
                    <a:cubicBezTo>
                      <a:pt x="8842" y="5135"/>
                      <a:pt x="8893" y="4938"/>
                      <a:pt x="8978" y="4821"/>
                    </a:cubicBezTo>
                    <a:cubicBezTo>
                      <a:pt x="8972" y="4944"/>
                      <a:pt x="8961" y="5167"/>
                      <a:pt x="8952" y="5395"/>
                    </a:cubicBezTo>
                    <a:cubicBezTo>
                      <a:pt x="8951" y="5399"/>
                      <a:pt x="8950" y="5403"/>
                      <a:pt x="8950" y="5407"/>
                    </a:cubicBezTo>
                    <a:lnTo>
                      <a:pt x="8854" y="6776"/>
                    </a:lnTo>
                    <a:cubicBezTo>
                      <a:pt x="8848" y="6863"/>
                      <a:pt x="8912" y="6938"/>
                      <a:pt x="8998" y="6944"/>
                    </a:cubicBezTo>
                    <a:cubicBezTo>
                      <a:pt x="9002" y="6944"/>
                      <a:pt x="9005" y="6944"/>
                      <a:pt x="9009" y="6944"/>
                    </a:cubicBezTo>
                    <a:cubicBezTo>
                      <a:pt x="9090" y="6944"/>
                      <a:pt x="9158" y="6881"/>
                      <a:pt x="9163" y="6798"/>
                    </a:cubicBezTo>
                    <a:lnTo>
                      <a:pt x="9239" y="5720"/>
                    </a:lnTo>
                    <a:cubicBezTo>
                      <a:pt x="9251" y="5717"/>
                      <a:pt x="9262" y="5714"/>
                      <a:pt x="9273" y="5714"/>
                    </a:cubicBezTo>
                    <a:cubicBezTo>
                      <a:pt x="9284" y="5714"/>
                      <a:pt x="9296" y="5716"/>
                      <a:pt x="9307" y="5717"/>
                    </a:cubicBezTo>
                    <a:lnTo>
                      <a:pt x="9377" y="6807"/>
                    </a:lnTo>
                    <a:cubicBezTo>
                      <a:pt x="9382" y="6890"/>
                      <a:pt x="9451" y="6954"/>
                      <a:pt x="9532" y="6954"/>
                    </a:cubicBezTo>
                    <a:cubicBezTo>
                      <a:pt x="9535" y="6954"/>
                      <a:pt x="9539" y="6954"/>
                      <a:pt x="9542" y="6954"/>
                    </a:cubicBezTo>
                    <a:cubicBezTo>
                      <a:pt x="9628" y="6948"/>
                      <a:pt x="9692" y="6873"/>
                      <a:pt x="9687" y="6787"/>
                    </a:cubicBezTo>
                    <a:lnTo>
                      <a:pt x="9604" y="5493"/>
                    </a:lnTo>
                    <a:cubicBezTo>
                      <a:pt x="9604" y="5486"/>
                      <a:pt x="9602" y="5479"/>
                      <a:pt x="9601" y="5472"/>
                    </a:cubicBezTo>
                    <a:cubicBezTo>
                      <a:pt x="9594" y="5274"/>
                      <a:pt x="9571" y="4981"/>
                      <a:pt x="9559" y="4821"/>
                    </a:cubicBezTo>
                    <a:cubicBezTo>
                      <a:pt x="9645" y="4939"/>
                      <a:pt x="9694" y="5134"/>
                      <a:pt x="9700" y="5396"/>
                    </a:cubicBezTo>
                    <a:cubicBezTo>
                      <a:pt x="9701" y="5462"/>
                      <a:pt x="9754" y="5514"/>
                      <a:pt x="9822" y="5514"/>
                    </a:cubicBezTo>
                    <a:cubicBezTo>
                      <a:pt x="9888" y="5513"/>
                      <a:pt x="9940" y="5458"/>
                      <a:pt x="9939" y="5391"/>
                    </a:cubicBezTo>
                    <a:cubicBezTo>
                      <a:pt x="9931" y="4988"/>
                      <a:pt x="9831" y="4709"/>
                      <a:pt x="9642" y="4561"/>
                    </a:cubicBezTo>
                    <a:close/>
                    <a:moveTo>
                      <a:pt x="5448" y="2261"/>
                    </a:moveTo>
                    <a:cubicBezTo>
                      <a:pt x="6065" y="2261"/>
                      <a:pt x="6566" y="1755"/>
                      <a:pt x="6566" y="1130"/>
                    </a:cubicBezTo>
                    <a:cubicBezTo>
                      <a:pt x="6566" y="506"/>
                      <a:pt x="6065" y="0"/>
                      <a:pt x="5448" y="0"/>
                    </a:cubicBezTo>
                    <a:cubicBezTo>
                      <a:pt x="4832" y="0"/>
                      <a:pt x="4332" y="506"/>
                      <a:pt x="4332" y="1130"/>
                    </a:cubicBezTo>
                    <a:cubicBezTo>
                      <a:pt x="4332" y="1755"/>
                      <a:pt x="4832" y="2261"/>
                      <a:pt x="5448" y="2261"/>
                    </a:cubicBezTo>
                    <a:close/>
                    <a:moveTo>
                      <a:pt x="9566" y="9187"/>
                    </a:moveTo>
                    <a:cubicBezTo>
                      <a:pt x="9566" y="8589"/>
                      <a:pt x="8569" y="8079"/>
                      <a:pt x="7146" y="7846"/>
                    </a:cubicBezTo>
                    <a:lnTo>
                      <a:pt x="7197" y="8282"/>
                    </a:lnTo>
                    <a:cubicBezTo>
                      <a:pt x="7559" y="8431"/>
                      <a:pt x="7781" y="8624"/>
                      <a:pt x="7781" y="8836"/>
                    </a:cubicBezTo>
                    <a:cubicBezTo>
                      <a:pt x="7781" y="9120"/>
                      <a:pt x="7386" y="9369"/>
                      <a:pt x="6788" y="9523"/>
                    </a:cubicBezTo>
                    <a:lnTo>
                      <a:pt x="6553" y="5860"/>
                    </a:lnTo>
                    <a:cubicBezTo>
                      <a:pt x="6552" y="5836"/>
                      <a:pt x="6547" y="5814"/>
                      <a:pt x="6542" y="5791"/>
                    </a:cubicBezTo>
                    <a:cubicBezTo>
                      <a:pt x="6519" y="5139"/>
                      <a:pt x="6446" y="4174"/>
                      <a:pt x="6403" y="3649"/>
                    </a:cubicBezTo>
                    <a:cubicBezTo>
                      <a:pt x="6689" y="4036"/>
                      <a:pt x="6850" y="4677"/>
                      <a:pt x="6867" y="5540"/>
                    </a:cubicBezTo>
                    <a:cubicBezTo>
                      <a:pt x="6872" y="5758"/>
                      <a:pt x="7047" y="5931"/>
                      <a:pt x="7269" y="5931"/>
                    </a:cubicBezTo>
                    <a:cubicBezTo>
                      <a:pt x="7487" y="5926"/>
                      <a:pt x="7660" y="5744"/>
                      <a:pt x="7655" y="5524"/>
                    </a:cubicBezTo>
                    <a:cubicBezTo>
                      <a:pt x="7628" y="4200"/>
                      <a:pt x="7299" y="3281"/>
                      <a:pt x="6677" y="2794"/>
                    </a:cubicBezTo>
                    <a:cubicBezTo>
                      <a:pt x="6515" y="2666"/>
                      <a:pt x="6346" y="2557"/>
                      <a:pt x="6150" y="2489"/>
                    </a:cubicBezTo>
                    <a:cubicBezTo>
                      <a:pt x="5969" y="2425"/>
                      <a:pt x="5778" y="2390"/>
                      <a:pt x="5587" y="2376"/>
                    </a:cubicBezTo>
                    <a:lnTo>
                      <a:pt x="5875" y="5440"/>
                    </a:lnTo>
                    <a:lnTo>
                      <a:pt x="5459" y="5934"/>
                    </a:lnTo>
                    <a:lnTo>
                      <a:pt x="4983" y="5440"/>
                    </a:lnTo>
                    <a:lnTo>
                      <a:pt x="5344" y="2372"/>
                    </a:lnTo>
                    <a:cubicBezTo>
                      <a:pt x="5135" y="2379"/>
                      <a:pt x="4926" y="2413"/>
                      <a:pt x="4729" y="2484"/>
                    </a:cubicBezTo>
                    <a:cubicBezTo>
                      <a:pt x="4648" y="2513"/>
                      <a:pt x="4570" y="2548"/>
                      <a:pt x="4496" y="2592"/>
                    </a:cubicBezTo>
                    <a:cubicBezTo>
                      <a:pt x="4366" y="2669"/>
                      <a:pt x="4247" y="2762"/>
                      <a:pt x="4134" y="2863"/>
                    </a:cubicBezTo>
                    <a:cubicBezTo>
                      <a:pt x="3578" y="3362"/>
                      <a:pt x="3276" y="4228"/>
                      <a:pt x="3213" y="5512"/>
                    </a:cubicBezTo>
                    <a:cubicBezTo>
                      <a:pt x="3202" y="5732"/>
                      <a:pt x="3369" y="5919"/>
                      <a:pt x="3586" y="5930"/>
                    </a:cubicBezTo>
                    <a:cubicBezTo>
                      <a:pt x="3593" y="5931"/>
                      <a:pt x="3600" y="5931"/>
                      <a:pt x="3606" y="5931"/>
                    </a:cubicBezTo>
                    <a:cubicBezTo>
                      <a:pt x="3815" y="5931"/>
                      <a:pt x="3989" y="5765"/>
                      <a:pt x="4000" y="5552"/>
                    </a:cubicBezTo>
                    <a:cubicBezTo>
                      <a:pt x="4043" y="4683"/>
                      <a:pt x="4213" y="4034"/>
                      <a:pt x="4493" y="3649"/>
                    </a:cubicBezTo>
                    <a:cubicBezTo>
                      <a:pt x="4473" y="4053"/>
                      <a:pt x="4437" y="4787"/>
                      <a:pt x="4406" y="5536"/>
                    </a:cubicBezTo>
                    <a:cubicBezTo>
                      <a:pt x="4404" y="5550"/>
                      <a:pt x="4400" y="5563"/>
                      <a:pt x="4399" y="5577"/>
                    </a:cubicBezTo>
                    <a:lnTo>
                      <a:pt x="4121" y="9550"/>
                    </a:lnTo>
                    <a:cubicBezTo>
                      <a:pt x="3469" y="9398"/>
                      <a:pt x="3036" y="9136"/>
                      <a:pt x="3036" y="8836"/>
                    </a:cubicBezTo>
                    <a:cubicBezTo>
                      <a:pt x="3036" y="8606"/>
                      <a:pt x="3298" y="8398"/>
                      <a:pt x="3715" y="8245"/>
                    </a:cubicBezTo>
                    <a:lnTo>
                      <a:pt x="3745" y="7843"/>
                    </a:lnTo>
                    <a:cubicBezTo>
                      <a:pt x="2309" y="8075"/>
                      <a:pt x="1301" y="8586"/>
                      <a:pt x="1301" y="9187"/>
                    </a:cubicBezTo>
                    <a:cubicBezTo>
                      <a:pt x="1301" y="9666"/>
                      <a:pt x="1867" y="9963"/>
                      <a:pt x="2241" y="10125"/>
                    </a:cubicBezTo>
                    <a:cubicBezTo>
                      <a:pt x="2579" y="10272"/>
                      <a:pt x="2936" y="10374"/>
                      <a:pt x="3295" y="10452"/>
                    </a:cubicBezTo>
                    <a:cubicBezTo>
                      <a:pt x="3509" y="10498"/>
                      <a:pt x="3725" y="10536"/>
                      <a:pt x="3942" y="10566"/>
                    </a:cubicBezTo>
                    <a:cubicBezTo>
                      <a:pt x="4438" y="10635"/>
                      <a:pt x="4931" y="10667"/>
                      <a:pt x="5434" y="10667"/>
                    </a:cubicBezTo>
                    <a:cubicBezTo>
                      <a:pt x="5609" y="10667"/>
                      <a:pt x="5784" y="10662"/>
                      <a:pt x="5959" y="10654"/>
                    </a:cubicBezTo>
                    <a:cubicBezTo>
                      <a:pt x="6767" y="10615"/>
                      <a:pt x="7596" y="10506"/>
                      <a:pt x="8368" y="10227"/>
                    </a:cubicBezTo>
                    <a:cubicBezTo>
                      <a:pt x="8794" y="10073"/>
                      <a:pt x="9463" y="9799"/>
                      <a:pt x="9557" y="9286"/>
                    </a:cubicBezTo>
                    <a:cubicBezTo>
                      <a:pt x="9563" y="9253"/>
                      <a:pt x="9566" y="9220"/>
                      <a:pt x="9566" y="9187"/>
                    </a:cubicBezTo>
                    <a:close/>
                    <a:moveTo>
                      <a:pt x="5409" y="9687"/>
                    </a:moveTo>
                    <a:cubicBezTo>
                      <a:pt x="5316" y="9687"/>
                      <a:pt x="5226" y="9685"/>
                      <a:pt x="5136" y="9681"/>
                    </a:cubicBezTo>
                    <a:lnTo>
                      <a:pt x="5351" y="6608"/>
                    </a:lnTo>
                    <a:cubicBezTo>
                      <a:pt x="5390" y="6597"/>
                      <a:pt x="5429" y="6588"/>
                      <a:pt x="5462" y="6588"/>
                    </a:cubicBezTo>
                    <a:cubicBezTo>
                      <a:pt x="5501" y="6588"/>
                      <a:pt x="5539" y="6595"/>
                      <a:pt x="5577" y="6599"/>
                    </a:cubicBezTo>
                    <a:lnTo>
                      <a:pt x="5773" y="9671"/>
                    </a:lnTo>
                    <a:cubicBezTo>
                      <a:pt x="5653" y="9678"/>
                      <a:pt x="5535" y="9687"/>
                      <a:pt x="5409" y="9687"/>
                    </a:cubicBezTo>
                    <a:close/>
                    <a:moveTo>
                      <a:pt x="9863" y="6751"/>
                    </a:moveTo>
                    <a:cubicBezTo>
                      <a:pt x="9985" y="6801"/>
                      <a:pt x="10061" y="6867"/>
                      <a:pt x="10061" y="6939"/>
                    </a:cubicBezTo>
                    <a:cubicBezTo>
                      <a:pt x="10061" y="7043"/>
                      <a:pt x="9905" y="7134"/>
                      <a:pt x="9674" y="7185"/>
                    </a:cubicBezTo>
                    <a:cubicBezTo>
                      <a:pt x="9657" y="7190"/>
                      <a:pt x="9638" y="7195"/>
                      <a:pt x="9619" y="7197"/>
                    </a:cubicBezTo>
                    <a:cubicBezTo>
                      <a:pt x="9614" y="7198"/>
                      <a:pt x="9609" y="7198"/>
                      <a:pt x="9605" y="7198"/>
                    </a:cubicBezTo>
                    <a:cubicBezTo>
                      <a:pt x="9499" y="7217"/>
                      <a:pt x="9382" y="7228"/>
                      <a:pt x="9255" y="7228"/>
                    </a:cubicBezTo>
                    <a:cubicBezTo>
                      <a:pt x="8811" y="7228"/>
                      <a:pt x="8451" y="7098"/>
                      <a:pt x="8451" y="6939"/>
                    </a:cubicBezTo>
                    <a:cubicBezTo>
                      <a:pt x="8451" y="6861"/>
                      <a:pt x="8539" y="6790"/>
                      <a:pt x="8681" y="6739"/>
                    </a:cubicBezTo>
                    <a:lnTo>
                      <a:pt x="8691" y="6602"/>
                    </a:lnTo>
                    <a:cubicBezTo>
                      <a:pt x="8203" y="6681"/>
                      <a:pt x="7861" y="6854"/>
                      <a:pt x="7861" y="7058"/>
                    </a:cubicBezTo>
                    <a:cubicBezTo>
                      <a:pt x="7861" y="7335"/>
                      <a:pt x="8489" y="7560"/>
                      <a:pt x="9264" y="7560"/>
                    </a:cubicBezTo>
                    <a:cubicBezTo>
                      <a:pt x="10039" y="7560"/>
                      <a:pt x="10667" y="7335"/>
                      <a:pt x="10667" y="7058"/>
                    </a:cubicBezTo>
                    <a:cubicBezTo>
                      <a:pt x="10667" y="6855"/>
                      <a:pt x="10328" y="6682"/>
                      <a:pt x="9845" y="6603"/>
                    </a:cubicBezTo>
                    <a:lnTo>
                      <a:pt x="9863" y="6751"/>
                    </a:lnTo>
                    <a:close/>
                    <a:moveTo>
                      <a:pt x="1068" y="4056"/>
                    </a:moveTo>
                    <a:cubicBezTo>
                      <a:pt x="1068" y="3866"/>
                      <a:pt x="1220" y="3713"/>
                      <a:pt x="1407" y="3713"/>
                    </a:cubicBezTo>
                    <a:cubicBezTo>
                      <a:pt x="1594" y="3713"/>
                      <a:pt x="1747" y="3866"/>
                      <a:pt x="1747" y="4056"/>
                    </a:cubicBezTo>
                    <a:cubicBezTo>
                      <a:pt x="1747" y="4246"/>
                      <a:pt x="1594" y="4399"/>
                      <a:pt x="1407" y="4399"/>
                    </a:cubicBezTo>
                    <a:cubicBezTo>
                      <a:pt x="1220" y="4399"/>
                      <a:pt x="1068" y="4246"/>
                      <a:pt x="1068" y="4056"/>
                    </a:cubicBezTo>
                    <a:close/>
                    <a:moveTo>
                      <a:pt x="1780" y="4561"/>
                    </a:moveTo>
                    <a:cubicBezTo>
                      <a:pt x="1731" y="4523"/>
                      <a:pt x="1680" y="4489"/>
                      <a:pt x="1620" y="4469"/>
                    </a:cubicBezTo>
                    <a:cubicBezTo>
                      <a:pt x="1565" y="4449"/>
                      <a:pt x="1507" y="4439"/>
                      <a:pt x="1449" y="4434"/>
                    </a:cubicBezTo>
                    <a:lnTo>
                      <a:pt x="1537" y="5365"/>
                    </a:lnTo>
                    <a:lnTo>
                      <a:pt x="1410" y="5515"/>
                    </a:lnTo>
                    <a:lnTo>
                      <a:pt x="1266" y="5365"/>
                    </a:lnTo>
                    <a:lnTo>
                      <a:pt x="1376" y="4433"/>
                    </a:lnTo>
                    <a:cubicBezTo>
                      <a:pt x="1312" y="4435"/>
                      <a:pt x="1248" y="4446"/>
                      <a:pt x="1189" y="4467"/>
                    </a:cubicBezTo>
                    <a:cubicBezTo>
                      <a:pt x="1164" y="4476"/>
                      <a:pt x="1140" y="4487"/>
                      <a:pt x="1118" y="4500"/>
                    </a:cubicBezTo>
                    <a:cubicBezTo>
                      <a:pt x="1078" y="4523"/>
                      <a:pt x="1042" y="4551"/>
                      <a:pt x="1008" y="4582"/>
                    </a:cubicBezTo>
                    <a:cubicBezTo>
                      <a:pt x="839" y="4734"/>
                      <a:pt x="747" y="4997"/>
                      <a:pt x="728" y="5387"/>
                    </a:cubicBezTo>
                    <a:cubicBezTo>
                      <a:pt x="725" y="5454"/>
                      <a:pt x="775" y="5511"/>
                      <a:pt x="841" y="5514"/>
                    </a:cubicBezTo>
                    <a:cubicBezTo>
                      <a:pt x="843" y="5514"/>
                      <a:pt x="845" y="5514"/>
                      <a:pt x="848" y="5514"/>
                    </a:cubicBezTo>
                    <a:cubicBezTo>
                      <a:pt x="911" y="5514"/>
                      <a:pt x="964" y="5464"/>
                      <a:pt x="967" y="5399"/>
                    </a:cubicBezTo>
                    <a:cubicBezTo>
                      <a:pt x="980" y="5135"/>
                      <a:pt x="1032" y="4938"/>
                      <a:pt x="1117" y="4821"/>
                    </a:cubicBezTo>
                    <a:cubicBezTo>
                      <a:pt x="1111" y="4944"/>
                      <a:pt x="1100" y="5167"/>
                      <a:pt x="1090" y="5395"/>
                    </a:cubicBezTo>
                    <a:cubicBezTo>
                      <a:pt x="1090" y="5399"/>
                      <a:pt x="1089" y="5403"/>
                      <a:pt x="1088" y="5407"/>
                    </a:cubicBezTo>
                    <a:lnTo>
                      <a:pt x="993" y="6776"/>
                    </a:lnTo>
                    <a:cubicBezTo>
                      <a:pt x="987" y="6863"/>
                      <a:pt x="1051" y="6938"/>
                      <a:pt x="1136" y="6944"/>
                    </a:cubicBezTo>
                    <a:cubicBezTo>
                      <a:pt x="1140" y="6944"/>
                      <a:pt x="1144" y="6944"/>
                      <a:pt x="1148" y="6944"/>
                    </a:cubicBezTo>
                    <a:cubicBezTo>
                      <a:pt x="1228" y="6944"/>
                      <a:pt x="1296" y="6881"/>
                      <a:pt x="1302" y="6798"/>
                    </a:cubicBezTo>
                    <a:lnTo>
                      <a:pt x="1378" y="5720"/>
                    </a:lnTo>
                    <a:cubicBezTo>
                      <a:pt x="1389" y="5717"/>
                      <a:pt x="1401" y="5714"/>
                      <a:pt x="1411" y="5714"/>
                    </a:cubicBezTo>
                    <a:cubicBezTo>
                      <a:pt x="1423" y="5714"/>
                      <a:pt x="1435" y="5716"/>
                      <a:pt x="1446" y="5717"/>
                    </a:cubicBezTo>
                    <a:lnTo>
                      <a:pt x="1516" y="6807"/>
                    </a:lnTo>
                    <a:cubicBezTo>
                      <a:pt x="1521" y="6890"/>
                      <a:pt x="1589" y="6954"/>
                      <a:pt x="1671" y="6954"/>
                    </a:cubicBezTo>
                    <a:cubicBezTo>
                      <a:pt x="1674" y="6954"/>
                      <a:pt x="1677" y="6954"/>
                      <a:pt x="1681" y="6954"/>
                    </a:cubicBezTo>
                    <a:cubicBezTo>
                      <a:pt x="1766" y="6948"/>
                      <a:pt x="1831" y="6873"/>
                      <a:pt x="1826" y="6787"/>
                    </a:cubicBezTo>
                    <a:lnTo>
                      <a:pt x="1743" y="5493"/>
                    </a:lnTo>
                    <a:cubicBezTo>
                      <a:pt x="1742" y="5486"/>
                      <a:pt x="1741" y="5479"/>
                      <a:pt x="1739" y="5472"/>
                    </a:cubicBezTo>
                    <a:cubicBezTo>
                      <a:pt x="1732" y="5274"/>
                      <a:pt x="1710" y="4981"/>
                      <a:pt x="1697" y="4821"/>
                    </a:cubicBezTo>
                    <a:cubicBezTo>
                      <a:pt x="1784" y="4939"/>
                      <a:pt x="1833" y="5134"/>
                      <a:pt x="1838" y="5396"/>
                    </a:cubicBezTo>
                    <a:cubicBezTo>
                      <a:pt x="1840" y="5462"/>
                      <a:pt x="1893" y="5514"/>
                      <a:pt x="1960" y="5514"/>
                    </a:cubicBezTo>
                    <a:cubicBezTo>
                      <a:pt x="2027" y="5513"/>
                      <a:pt x="2079" y="5458"/>
                      <a:pt x="2078" y="5391"/>
                    </a:cubicBezTo>
                    <a:cubicBezTo>
                      <a:pt x="2069" y="4988"/>
                      <a:pt x="1969" y="4709"/>
                      <a:pt x="1780" y="4561"/>
                    </a:cubicBezTo>
                    <a:close/>
                    <a:moveTo>
                      <a:pt x="2002" y="6751"/>
                    </a:moveTo>
                    <a:cubicBezTo>
                      <a:pt x="2124" y="6801"/>
                      <a:pt x="2200" y="6867"/>
                      <a:pt x="2200" y="6939"/>
                    </a:cubicBezTo>
                    <a:cubicBezTo>
                      <a:pt x="2200" y="7043"/>
                      <a:pt x="2044" y="7134"/>
                      <a:pt x="1813" y="7185"/>
                    </a:cubicBezTo>
                    <a:cubicBezTo>
                      <a:pt x="1795" y="7190"/>
                      <a:pt x="1777" y="7195"/>
                      <a:pt x="1758" y="7197"/>
                    </a:cubicBezTo>
                    <a:cubicBezTo>
                      <a:pt x="1753" y="7198"/>
                      <a:pt x="1748" y="7198"/>
                      <a:pt x="1743" y="7198"/>
                    </a:cubicBezTo>
                    <a:cubicBezTo>
                      <a:pt x="1637" y="7217"/>
                      <a:pt x="1520" y="7228"/>
                      <a:pt x="1394" y="7228"/>
                    </a:cubicBezTo>
                    <a:cubicBezTo>
                      <a:pt x="950" y="7228"/>
                      <a:pt x="589" y="7098"/>
                      <a:pt x="589" y="6939"/>
                    </a:cubicBezTo>
                    <a:cubicBezTo>
                      <a:pt x="589" y="6861"/>
                      <a:pt x="678" y="6790"/>
                      <a:pt x="820" y="6739"/>
                    </a:cubicBezTo>
                    <a:lnTo>
                      <a:pt x="830" y="6602"/>
                    </a:lnTo>
                    <a:cubicBezTo>
                      <a:pt x="342" y="6681"/>
                      <a:pt x="0" y="6854"/>
                      <a:pt x="0" y="7058"/>
                    </a:cubicBezTo>
                    <a:cubicBezTo>
                      <a:pt x="0" y="7335"/>
                      <a:pt x="628" y="7560"/>
                      <a:pt x="1403" y="7560"/>
                    </a:cubicBezTo>
                    <a:cubicBezTo>
                      <a:pt x="2177" y="7560"/>
                      <a:pt x="2805" y="7335"/>
                      <a:pt x="2805" y="7058"/>
                    </a:cubicBezTo>
                    <a:cubicBezTo>
                      <a:pt x="2805" y="6855"/>
                      <a:pt x="2467" y="6682"/>
                      <a:pt x="1984" y="6603"/>
                    </a:cubicBezTo>
                    <a:lnTo>
                      <a:pt x="2002" y="6751"/>
                    </a:lnTo>
                    <a:close/>
                  </a:path>
                </a:pathLst>
              </a:custGeom>
              <a:solidFill>
                <a:schemeClr val="accent1"/>
              </a:solidFill>
              <a:ln w="9525">
                <a:noFill/>
                <a:round/>
              </a:ln>
            </p:spPr>
            <p:txBody>
              <a:bodyPr lIns="0" tIns="0" rIns="0" bIns="0" anchor="ctr"/>
              <a:lstStyle/>
              <a:p>
                <a:pPr algn="ctr"/>
                <a:endParaRPr/>
              </a:p>
            </p:txBody>
          </p:sp>
        </p:grpSp>
        <p:grpSp>
          <p:nvGrpSpPr>
            <p:cNvPr id="8" name="ïṩļîḍé">
              <a:extLst>
                <a:ext uri="{FF2B5EF4-FFF2-40B4-BE49-F238E27FC236}">
                  <a16:creationId xmlns:a16="http://schemas.microsoft.com/office/drawing/2014/main" id="{3B796757-83BA-4AFA-A9AC-1E53B7746459}"/>
                </a:ext>
              </a:extLst>
            </p:cNvPr>
            <p:cNvGrpSpPr/>
            <p:nvPr/>
          </p:nvGrpSpPr>
          <p:grpSpPr>
            <a:xfrm>
              <a:off x="3662261" y="3069772"/>
              <a:ext cx="706024" cy="706024"/>
              <a:chOff x="2077663" y="2690079"/>
              <a:chExt cx="980218" cy="980218"/>
            </a:xfrm>
          </p:grpSpPr>
          <p:sp>
            <p:nvSpPr>
              <p:cNvPr id="33" name="ïślïďè">
                <a:extLst>
                  <a:ext uri="{FF2B5EF4-FFF2-40B4-BE49-F238E27FC236}">
                    <a16:creationId xmlns:a16="http://schemas.microsoft.com/office/drawing/2014/main" id="{43DC0EB5-DECF-42B2-A0A8-FC5D1341AA5D}"/>
                  </a:ext>
                </a:extLst>
              </p:cNvPr>
              <p:cNvSpPr/>
              <p:nvPr/>
            </p:nvSpPr>
            <p:spPr>
              <a:xfrm>
                <a:off x="2077663" y="2690079"/>
                <a:ext cx="980218" cy="980218"/>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endParaRPr/>
              </a:p>
            </p:txBody>
          </p:sp>
          <p:sp>
            <p:nvSpPr>
              <p:cNvPr id="34" name="îŝḷíḓè">
                <a:extLst>
                  <a:ext uri="{FF2B5EF4-FFF2-40B4-BE49-F238E27FC236}">
                    <a16:creationId xmlns:a16="http://schemas.microsoft.com/office/drawing/2014/main" id="{4D557CB5-297D-4A32-9242-60FB985FA213}"/>
                  </a:ext>
                </a:extLst>
              </p:cNvPr>
              <p:cNvSpPr/>
              <p:nvPr/>
            </p:nvSpPr>
            <p:spPr bwMode="auto">
              <a:xfrm>
                <a:off x="2300729" y="2913547"/>
                <a:ext cx="534086" cy="533282"/>
              </a:xfrm>
              <a:custGeom>
                <a:avLst/>
                <a:gdLst>
                  <a:gd name="T0" fmla="*/ 9608 w 10667"/>
                  <a:gd name="T1" fmla="*/ 4056 h 10667"/>
                  <a:gd name="T2" fmla="*/ 9642 w 10667"/>
                  <a:gd name="T3" fmla="*/ 4561 h 10667"/>
                  <a:gd name="T4" fmla="*/ 9398 w 10667"/>
                  <a:gd name="T5" fmla="*/ 5365 h 10667"/>
                  <a:gd name="T6" fmla="*/ 9237 w 10667"/>
                  <a:gd name="T7" fmla="*/ 4433 h 10667"/>
                  <a:gd name="T8" fmla="*/ 8869 w 10667"/>
                  <a:gd name="T9" fmla="*/ 4582 h 10667"/>
                  <a:gd name="T10" fmla="*/ 8709 w 10667"/>
                  <a:gd name="T11" fmla="*/ 5514 h 10667"/>
                  <a:gd name="T12" fmla="*/ 8952 w 10667"/>
                  <a:gd name="T13" fmla="*/ 5395 h 10667"/>
                  <a:gd name="T14" fmla="*/ 8998 w 10667"/>
                  <a:gd name="T15" fmla="*/ 6944 h 10667"/>
                  <a:gd name="T16" fmla="*/ 9239 w 10667"/>
                  <a:gd name="T17" fmla="*/ 5720 h 10667"/>
                  <a:gd name="T18" fmla="*/ 9377 w 10667"/>
                  <a:gd name="T19" fmla="*/ 6807 h 10667"/>
                  <a:gd name="T20" fmla="*/ 9687 w 10667"/>
                  <a:gd name="T21" fmla="*/ 6787 h 10667"/>
                  <a:gd name="T22" fmla="*/ 9559 w 10667"/>
                  <a:gd name="T23" fmla="*/ 4821 h 10667"/>
                  <a:gd name="T24" fmla="*/ 9939 w 10667"/>
                  <a:gd name="T25" fmla="*/ 5391 h 10667"/>
                  <a:gd name="T26" fmla="*/ 6566 w 10667"/>
                  <a:gd name="T27" fmla="*/ 1130 h 10667"/>
                  <a:gd name="T28" fmla="*/ 5448 w 10667"/>
                  <a:gd name="T29" fmla="*/ 2261 h 10667"/>
                  <a:gd name="T30" fmla="*/ 7197 w 10667"/>
                  <a:gd name="T31" fmla="*/ 8282 h 10667"/>
                  <a:gd name="T32" fmla="*/ 6553 w 10667"/>
                  <a:gd name="T33" fmla="*/ 5860 h 10667"/>
                  <a:gd name="T34" fmla="*/ 6867 w 10667"/>
                  <a:gd name="T35" fmla="*/ 5540 h 10667"/>
                  <a:gd name="T36" fmla="*/ 6677 w 10667"/>
                  <a:gd name="T37" fmla="*/ 2794 h 10667"/>
                  <a:gd name="T38" fmla="*/ 5875 w 10667"/>
                  <a:gd name="T39" fmla="*/ 5440 h 10667"/>
                  <a:gd name="T40" fmla="*/ 5344 w 10667"/>
                  <a:gd name="T41" fmla="*/ 2372 h 10667"/>
                  <a:gd name="T42" fmla="*/ 4134 w 10667"/>
                  <a:gd name="T43" fmla="*/ 2863 h 10667"/>
                  <a:gd name="T44" fmla="*/ 3606 w 10667"/>
                  <a:gd name="T45" fmla="*/ 5931 h 10667"/>
                  <a:gd name="T46" fmla="*/ 4406 w 10667"/>
                  <a:gd name="T47" fmla="*/ 5536 h 10667"/>
                  <a:gd name="T48" fmla="*/ 3036 w 10667"/>
                  <a:gd name="T49" fmla="*/ 8836 h 10667"/>
                  <a:gd name="T50" fmla="*/ 1301 w 10667"/>
                  <a:gd name="T51" fmla="*/ 9187 h 10667"/>
                  <a:gd name="T52" fmla="*/ 3942 w 10667"/>
                  <a:gd name="T53" fmla="*/ 10566 h 10667"/>
                  <a:gd name="T54" fmla="*/ 8368 w 10667"/>
                  <a:gd name="T55" fmla="*/ 10227 h 10667"/>
                  <a:gd name="T56" fmla="*/ 5409 w 10667"/>
                  <a:gd name="T57" fmla="*/ 9687 h 10667"/>
                  <a:gd name="T58" fmla="*/ 5462 w 10667"/>
                  <a:gd name="T59" fmla="*/ 6588 h 10667"/>
                  <a:gd name="T60" fmla="*/ 5409 w 10667"/>
                  <a:gd name="T61" fmla="*/ 9687 h 10667"/>
                  <a:gd name="T62" fmla="*/ 9674 w 10667"/>
                  <a:gd name="T63" fmla="*/ 7185 h 10667"/>
                  <a:gd name="T64" fmla="*/ 9255 w 10667"/>
                  <a:gd name="T65" fmla="*/ 7228 h 10667"/>
                  <a:gd name="T66" fmla="*/ 8691 w 10667"/>
                  <a:gd name="T67" fmla="*/ 6602 h 10667"/>
                  <a:gd name="T68" fmla="*/ 10667 w 10667"/>
                  <a:gd name="T69" fmla="*/ 7058 h 10667"/>
                  <a:gd name="T70" fmla="*/ 1068 w 10667"/>
                  <a:gd name="T71" fmla="*/ 4056 h 10667"/>
                  <a:gd name="T72" fmla="*/ 1407 w 10667"/>
                  <a:gd name="T73" fmla="*/ 4399 h 10667"/>
                  <a:gd name="T74" fmla="*/ 1620 w 10667"/>
                  <a:gd name="T75" fmla="*/ 4469 h 10667"/>
                  <a:gd name="T76" fmla="*/ 1410 w 10667"/>
                  <a:gd name="T77" fmla="*/ 5515 h 10667"/>
                  <a:gd name="T78" fmla="*/ 1189 w 10667"/>
                  <a:gd name="T79" fmla="*/ 4467 h 10667"/>
                  <a:gd name="T80" fmla="*/ 728 w 10667"/>
                  <a:gd name="T81" fmla="*/ 5387 h 10667"/>
                  <a:gd name="T82" fmla="*/ 967 w 10667"/>
                  <a:gd name="T83" fmla="*/ 5399 h 10667"/>
                  <a:gd name="T84" fmla="*/ 1088 w 10667"/>
                  <a:gd name="T85" fmla="*/ 5407 h 10667"/>
                  <a:gd name="T86" fmla="*/ 1148 w 10667"/>
                  <a:gd name="T87" fmla="*/ 6944 h 10667"/>
                  <a:gd name="T88" fmla="*/ 1411 w 10667"/>
                  <a:gd name="T89" fmla="*/ 5714 h 10667"/>
                  <a:gd name="T90" fmla="*/ 1671 w 10667"/>
                  <a:gd name="T91" fmla="*/ 6954 h 10667"/>
                  <a:gd name="T92" fmla="*/ 1743 w 10667"/>
                  <a:gd name="T93" fmla="*/ 5493 h 10667"/>
                  <a:gd name="T94" fmla="*/ 1838 w 10667"/>
                  <a:gd name="T95" fmla="*/ 5396 h 10667"/>
                  <a:gd name="T96" fmla="*/ 1780 w 10667"/>
                  <a:gd name="T97" fmla="*/ 4561 h 10667"/>
                  <a:gd name="T98" fmla="*/ 1813 w 10667"/>
                  <a:gd name="T99" fmla="*/ 7185 h 10667"/>
                  <a:gd name="T100" fmla="*/ 1394 w 10667"/>
                  <a:gd name="T101" fmla="*/ 7228 h 10667"/>
                  <a:gd name="T102" fmla="*/ 830 w 10667"/>
                  <a:gd name="T103" fmla="*/ 6602 h 10667"/>
                  <a:gd name="T104" fmla="*/ 2805 w 10667"/>
                  <a:gd name="T105" fmla="*/ 7058 h 10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67" h="10667">
                    <a:moveTo>
                      <a:pt x="8929" y="4056"/>
                    </a:moveTo>
                    <a:cubicBezTo>
                      <a:pt x="8929" y="3866"/>
                      <a:pt x="9081" y="3713"/>
                      <a:pt x="9268" y="3713"/>
                    </a:cubicBezTo>
                    <a:cubicBezTo>
                      <a:pt x="9456" y="3713"/>
                      <a:pt x="9608" y="3866"/>
                      <a:pt x="9608" y="4056"/>
                    </a:cubicBezTo>
                    <a:cubicBezTo>
                      <a:pt x="9608" y="4246"/>
                      <a:pt x="9456" y="4399"/>
                      <a:pt x="9268" y="4399"/>
                    </a:cubicBezTo>
                    <a:cubicBezTo>
                      <a:pt x="9081" y="4399"/>
                      <a:pt x="8929" y="4246"/>
                      <a:pt x="8929" y="4056"/>
                    </a:cubicBezTo>
                    <a:close/>
                    <a:moveTo>
                      <a:pt x="9642" y="4561"/>
                    </a:moveTo>
                    <a:cubicBezTo>
                      <a:pt x="9592" y="4523"/>
                      <a:pt x="9541" y="4489"/>
                      <a:pt x="9482" y="4469"/>
                    </a:cubicBezTo>
                    <a:cubicBezTo>
                      <a:pt x="9427" y="4449"/>
                      <a:pt x="9369" y="4439"/>
                      <a:pt x="9310" y="4434"/>
                    </a:cubicBezTo>
                    <a:lnTo>
                      <a:pt x="9398" y="5365"/>
                    </a:lnTo>
                    <a:lnTo>
                      <a:pt x="9272" y="5515"/>
                    </a:lnTo>
                    <a:lnTo>
                      <a:pt x="9127" y="5365"/>
                    </a:lnTo>
                    <a:lnTo>
                      <a:pt x="9237" y="4433"/>
                    </a:lnTo>
                    <a:cubicBezTo>
                      <a:pt x="9173" y="4435"/>
                      <a:pt x="9110" y="4446"/>
                      <a:pt x="9050" y="4467"/>
                    </a:cubicBezTo>
                    <a:cubicBezTo>
                      <a:pt x="9025" y="4476"/>
                      <a:pt x="9002" y="4487"/>
                      <a:pt x="8979" y="4500"/>
                    </a:cubicBezTo>
                    <a:cubicBezTo>
                      <a:pt x="8940" y="4523"/>
                      <a:pt x="8903" y="4551"/>
                      <a:pt x="8869" y="4582"/>
                    </a:cubicBezTo>
                    <a:cubicBezTo>
                      <a:pt x="8700" y="4734"/>
                      <a:pt x="8609" y="4997"/>
                      <a:pt x="8589" y="5387"/>
                    </a:cubicBezTo>
                    <a:cubicBezTo>
                      <a:pt x="8586" y="5454"/>
                      <a:pt x="8637" y="5511"/>
                      <a:pt x="8703" y="5514"/>
                    </a:cubicBezTo>
                    <a:cubicBezTo>
                      <a:pt x="8705" y="5514"/>
                      <a:pt x="8707" y="5514"/>
                      <a:pt x="8709" y="5514"/>
                    </a:cubicBezTo>
                    <a:cubicBezTo>
                      <a:pt x="8772" y="5514"/>
                      <a:pt x="8825" y="5464"/>
                      <a:pt x="8828" y="5399"/>
                    </a:cubicBezTo>
                    <a:cubicBezTo>
                      <a:pt x="8842" y="5135"/>
                      <a:pt x="8893" y="4938"/>
                      <a:pt x="8978" y="4821"/>
                    </a:cubicBezTo>
                    <a:cubicBezTo>
                      <a:pt x="8972" y="4944"/>
                      <a:pt x="8961" y="5167"/>
                      <a:pt x="8952" y="5395"/>
                    </a:cubicBezTo>
                    <a:cubicBezTo>
                      <a:pt x="8951" y="5399"/>
                      <a:pt x="8950" y="5403"/>
                      <a:pt x="8950" y="5407"/>
                    </a:cubicBezTo>
                    <a:lnTo>
                      <a:pt x="8854" y="6776"/>
                    </a:lnTo>
                    <a:cubicBezTo>
                      <a:pt x="8848" y="6863"/>
                      <a:pt x="8912" y="6938"/>
                      <a:pt x="8998" y="6944"/>
                    </a:cubicBezTo>
                    <a:cubicBezTo>
                      <a:pt x="9002" y="6944"/>
                      <a:pt x="9005" y="6944"/>
                      <a:pt x="9009" y="6944"/>
                    </a:cubicBezTo>
                    <a:cubicBezTo>
                      <a:pt x="9090" y="6944"/>
                      <a:pt x="9158" y="6881"/>
                      <a:pt x="9163" y="6798"/>
                    </a:cubicBezTo>
                    <a:lnTo>
                      <a:pt x="9239" y="5720"/>
                    </a:lnTo>
                    <a:cubicBezTo>
                      <a:pt x="9251" y="5717"/>
                      <a:pt x="9262" y="5714"/>
                      <a:pt x="9273" y="5714"/>
                    </a:cubicBezTo>
                    <a:cubicBezTo>
                      <a:pt x="9284" y="5714"/>
                      <a:pt x="9296" y="5716"/>
                      <a:pt x="9307" y="5717"/>
                    </a:cubicBezTo>
                    <a:lnTo>
                      <a:pt x="9377" y="6807"/>
                    </a:lnTo>
                    <a:cubicBezTo>
                      <a:pt x="9382" y="6890"/>
                      <a:pt x="9451" y="6954"/>
                      <a:pt x="9532" y="6954"/>
                    </a:cubicBezTo>
                    <a:cubicBezTo>
                      <a:pt x="9535" y="6954"/>
                      <a:pt x="9539" y="6954"/>
                      <a:pt x="9542" y="6954"/>
                    </a:cubicBezTo>
                    <a:cubicBezTo>
                      <a:pt x="9628" y="6948"/>
                      <a:pt x="9692" y="6873"/>
                      <a:pt x="9687" y="6787"/>
                    </a:cubicBezTo>
                    <a:lnTo>
                      <a:pt x="9604" y="5493"/>
                    </a:lnTo>
                    <a:cubicBezTo>
                      <a:pt x="9604" y="5486"/>
                      <a:pt x="9602" y="5479"/>
                      <a:pt x="9601" y="5472"/>
                    </a:cubicBezTo>
                    <a:cubicBezTo>
                      <a:pt x="9594" y="5274"/>
                      <a:pt x="9571" y="4981"/>
                      <a:pt x="9559" y="4821"/>
                    </a:cubicBezTo>
                    <a:cubicBezTo>
                      <a:pt x="9645" y="4939"/>
                      <a:pt x="9694" y="5134"/>
                      <a:pt x="9700" y="5396"/>
                    </a:cubicBezTo>
                    <a:cubicBezTo>
                      <a:pt x="9701" y="5462"/>
                      <a:pt x="9754" y="5514"/>
                      <a:pt x="9822" y="5514"/>
                    </a:cubicBezTo>
                    <a:cubicBezTo>
                      <a:pt x="9888" y="5513"/>
                      <a:pt x="9940" y="5458"/>
                      <a:pt x="9939" y="5391"/>
                    </a:cubicBezTo>
                    <a:cubicBezTo>
                      <a:pt x="9931" y="4988"/>
                      <a:pt x="9831" y="4709"/>
                      <a:pt x="9642" y="4561"/>
                    </a:cubicBezTo>
                    <a:close/>
                    <a:moveTo>
                      <a:pt x="5448" y="2261"/>
                    </a:moveTo>
                    <a:cubicBezTo>
                      <a:pt x="6065" y="2261"/>
                      <a:pt x="6566" y="1755"/>
                      <a:pt x="6566" y="1130"/>
                    </a:cubicBezTo>
                    <a:cubicBezTo>
                      <a:pt x="6566" y="506"/>
                      <a:pt x="6065" y="0"/>
                      <a:pt x="5448" y="0"/>
                    </a:cubicBezTo>
                    <a:cubicBezTo>
                      <a:pt x="4832" y="0"/>
                      <a:pt x="4332" y="506"/>
                      <a:pt x="4332" y="1130"/>
                    </a:cubicBezTo>
                    <a:cubicBezTo>
                      <a:pt x="4332" y="1755"/>
                      <a:pt x="4832" y="2261"/>
                      <a:pt x="5448" y="2261"/>
                    </a:cubicBezTo>
                    <a:close/>
                    <a:moveTo>
                      <a:pt x="9566" y="9187"/>
                    </a:moveTo>
                    <a:cubicBezTo>
                      <a:pt x="9566" y="8589"/>
                      <a:pt x="8569" y="8079"/>
                      <a:pt x="7146" y="7846"/>
                    </a:cubicBezTo>
                    <a:lnTo>
                      <a:pt x="7197" y="8282"/>
                    </a:lnTo>
                    <a:cubicBezTo>
                      <a:pt x="7559" y="8431"/>
                      <a:pt x="7781" y="8624"/>
                      <a:pt x="7781" y="8836"/>
                    </a:cubicBezTo>
                    <a:cubicBezTo>
                      <a:pt x="7781" y="9120"/>
                      <a:pt x="7386" y="9369"/>
                      <a:pt x="6788" y="9523"/>
                    </a:cubicBezTo>
                    <a:lnTo>
                      <a:pt x="6553" y="5860"/>
                    </a:lnTo>
                    <a:cubicBezTo>
                      <a:pt x="6552" y="5836"/>
                      <a:pt x="6547" y="5814"/>
                      <a:pt x="6542" y="5791"/>
                    </a:cubicBezTo>
                    <a:cubicBezTo>
                      <a:pt x="6519" y="5139"/>
                      <a:pt x="6446" y="4174"/>
                      <a:pt x="6403" y="3649"/>
                    </a:cubicBezTo>
                    <a:cubicBezTo>
                      <a:pt x="6689" y="4036"/>
                      <a:pt x="6850" y="4677"/>
                      <a:pt x="6867" y="5540"/>
                    </a:cubicBezTo>
                    <a:cubicBezTo>
                      <a:pt x="6872" y="5758"/>
                      <a:pt x="7047" y="5931"/>
                      <a:pt x="7269" y="5931"/>
                    </a:cubicBezTo>
                    <a:cubicBezTo>
                      <a:pt x="7487" y="5926"/>
                      <a:pt x="7660" y="5744"/>
                      <a:pt x="7655" y="5524"/>
                    </a:cubicBezTo>
                    <a:cubicBezTo>
                      <a:pt x="7628" y="4200"/>
                      <a:pt x="7299" y="3281"/>
                      <a:pt x="6677" y="2794"/>
                    </a:cubicBezTo>
                    <a:cubicBezTo>
                      <a:pt x="6515" y="2666"/>
                      <a:pt x="6346" y="2557"/>
                      <a:pt x="6150" y="2489"/>
                    </a:cubicBezTo>
                    <a:cubicBezTo>
                      <a:pt x="5969" y="2425"/>
                      <a:pt x="5778" y="2390"/>
                      <a:pt x="5587" y="2376"/>
                    </a:cubicBezTo>
                    <a:lnTo>
                      <a:pt x="5875" y="5440"/>
                    </a:lnTo>
                    <a:lnTo>
                      <a:pt x="5459" y="5934"/>
                    </a:lnTo>
                    <a:lnTo>
                      <a:pt x="4983" y="5440"/>
                    </a:lnTo>
                    <a:lnTo>
                      <a:pt x="5344" y="2372"/>
                    </a:lnTo>
                    <a:cubicBezTo>
                      <a:pt x="5135" y="2379"/>
                      <a:pt x="4926" y="2413"/>
                      <a:pt x="4729" y="2484"/>
                    </a:cubicBezTo>
                    <a:cubicBezTo>
                      <a:pt x="4648" y="2513"/>
                      <a:pt x="4570" y="2548"/>
                      <a:pt x="4496" y="2592"/>
                    </a:cubicBezTo>
                    <a:cubicBezTo>
                      <a:pt x="4366" y="2669"/>
                      <a:pt x="4247" y="2762"/>
                      <a:pt x="4134" y="2863"/>
                    </a:cubicBezTo>
                    <a:cubicBezTo>
                      <a:pt x="3578" y="3362"/>
                      <a:pt x="3276" y="4228"/>
                      <a:pt x="3213" y="5512"/>
                    </a:cubicBezTo>
                    <a:cubicBezTo>
                      <a:pt x="3202" y="5732"/>
                      <a:pt x="3369" y="5919"/>
                      <a:pt x="3586" y="5930"/>
                    </a:cubicBezTo>
                    <a:cubicBezTo>
                      <a:pt x="3593" y="5931"/>
                      <a:pt x="3600" y="5931"/>
                      <a:pt x="3606" y="5931"/>
                    </a:cubicBezTo>
                    <a:cubicBezTo>
                      <a:pt x="3815" y="5931"/>
                      <a:pt x="3989" y="5765"/>
                      <a:pt x="4000" y="5552"/>
                    </a:cubicBezTo>
                    <a:cubicBezTo>
                      <a:pt x="4043" y="4683"/>
                      <a:pt x="4213" y="4034"/>
                      <a:pt x="4493" y="3649"/>
                    </a:cubicBezTo>
                    <a:cubicBezTo>
                      <a:pt x="4473" y="4053"/>
                      <a:pt x="4437" y="4787"/>
                      <a:pt x="4406" y="5536"/>
                    </a:cubicBezTo>
                    <a:cubicBezTo>
                      <a:pt x="4404" y="5550"/>
                      <a:pt x="4400" y="5563"/>
                      <a:pt x="4399" y="5577"/>
                    </a:cubicBezTo>
                    <a:lnTo>
                      <a:pt x="4121" y="9550"/>
                    </a:lnTo>
                    <a:cubicBezTo>
                      <a:pt x="3469" y="9398"/>
                      <a:pt x="3036" y="9136"/>
                      <a:pt x="3036" y="8836"/>
                    </a:cubicBezTo>
                    <a:cubicBezTo>
                      <a:pt x="3036" y="8606"/>
                      <a:pt x="3298" y="8398"/>
                      <a:pt x="3715" y="8245"/>
                    </a:cubicBezTo>
                    <a:lnTo>
                      <a:pt x="3745" y="7843"/>
                    </a:lnTo>
                    <a:cubicBezTo>
                      <a:pt x="2309" y="8075"/>
                      <a:pt x="1301" y="8586"/>
                      <a:pt x="1301" y="9187"/>
                    </a:cubicBezTo>
                    <a:cubicBezTo>
                      <a:pt x="1301" y="9666"/>
                      <a:pt x="1867" y="9963"/>
                      <a:pt x="2241" y="10125"/>
                    </a:cubicBezTo>
                    <a:cubicBezTo>
                      <a:pt x="2579" y="10272"/>
                      <a:pt x="2936" y="10374"/>
                      <a:pt x="3295" y="10452"/>
                    </a:cubicBezTo>
                    <a:cubicBezTo>
                      <a:pt x="3509" y="10498"/>
                      <a:pt x="3725" y="10536"/>
                      <a:pt x="3942" y="10566"/>
                    </a:cubicBezTo>
                    <a:cubicBezTo>
                      <a:pt x="4438" y="10635"/>
                      <a:pt x="4931" y="10667"/>
                      <a:pt x="5434" y="10667"/>
                    </a:cubicBezTo>
                    <a:cubicBezTo>
                      <a:pt x="5609" y="10667"/>
                      <a:pt x="5784" y="10662"/>
                      <a:pt x="5959" y="10654"/>
                    </a:cubicBezTo>
                    <a:cubicBezTo>
                      <a:pt x="6767" y="10615"/>
                      <a:pt x="7596" y="10506"/>
                      <a:pt x="8368" y="10227"/>
                    </a:cubicBezTo>
                    <a:cubicBezTo>
                      <a:pt x="8794" y="10073"/>
                      <a:pt x="9463" y="9799"/>
                      <a:pt x="9557" y="9286"/>
                    </a:cubicBezTo>
                    <a:cubicBezTo>
                      <a:pt x="9563" y="9253"/>
                      <a:pt x="9566" y="9220"/>
                      <a:pt x="9566" y="9187"/>
                    </a:cubicBezTo>
                    <a:close/>
                    <a:moveTo>
                      <a:pt x="5409" y="9687"/>
                    </a:moveTo>
                    <a:cubicBezTo>
                      <a:pt x="5316" y="9687"/>
                      <a:pt x="5226" y="9685"/>
                      <a:pt x="5136" y="9681"/>
                    </a:cubicBezTo>
                    <a:lnTo>
                      <a:pt x="5351" y="6608"/>
                    </a:lnTo>
                    <a:cubicBezTo>
                      <a:pt x="5390" y="6597"/>
                      <a:pt x="5429" y="6588"/>
                      <a:pt x="5462" y="6588"/>
                    </a:cubicBezTo>
                    <a:cubicBezTo>
                      <a:pt x="5501" y="6588"/>
                      <a:pt x="5539" y="6595"/>
                      <a:pt x="5577" y="6599"/>
                    </a:cubicBezTo>
                    <a:lnTo>
                      <a:pt x="5773" y="9671"/>
                    </a:lnTo>
                    <a:cubicBezTo>
                      <a:pt x="5653" y="9678"/>
                      <a:pt x="5535" y="9687"/>
                      <a:pt x="5409" y="9687"/>
                    </a:cubicBezTo>
                    <a:close/>
                    <a:moveTo>
                      <a:pt x="9863" y="6751"/>
                    </a:moveTo>
                    <a:cubicBezTo>
                      <a:pt x="9985" y="6801"/>
                      <a:pt x="10061" y="6867"/>
                      <a:pt x="10061" y="6939"/>
                    </a:cubicBezTo>
                    <a:cubicBezTo>
                      <a:pt x="10061" y="7043"/>
                      <a:pt x="9905" y="7134"/>
                      <a:pt x="9674" y="7185"/>
                    </a:cubicBezTo>
                    <a:cubicBezTo>
                      <a:pt x="9657" y="7190"/>
                      <a:pt x="9638" y="7195"/>
                      <a:pt x="9619" y="7197"/>
                    </a:cubicBezTo>
                    <a:cubicBezTo>
                      <a:pt x="9614" y="7198"/>
                      <a:pt x="9609" y="7198"/>
                      <a:pt x="9605" y="7198"/>
                    </a:cubicBezTo>
                    <a:cubicBezTo>
                      <a:pt x="9499" y="7217"/>
                      <a:pt x="9382" y="7228"/>
                      <a:pt x="9255" y="7228"/>
                    </a:cubicBezTo>
                    <a:cubicBezTo>
                      <a:pt x="8811" y="7228"/>
                      <a:pt x="8451" y="7098"/>
                      <a:pt x="8451" y="6939"/>
                    </a:cubicBezTo>
                    <a:cubicBezTo>
                      <a:pt x="8451" y="6861"/>
                      <a:pt x="8539" y="6790"/>
                      <a:pt x="8681" y="6739"/>
                    </a:cubicBezTo>
                    <a:lnTo>
                      <a:pt x="8691" y="6602"/>
                    </a:lnTo>
                    <a:cubicBezTo>
                      <a:pt x="8203" y="6681"/>
                      <a:pt x="7861" y="6854"/>
                      <a:pt x="7861" y="7058"/>
                    </a:cubicBezTo>
                    <a:cubicBezTo>
                      <a:pt x="7861" y="7335"/>
                      <a:pt x="8489" y="7560"/>
                      <a:pt x="9264" y="7560"/>
                    </a:cubicBezTo>
                    <a:cubicBezTo>
                      <a:pt x="10039" y="7560"/>
                      <a:pt x="10667" y="7335"/>
                      <a:pt x="10667" y="7058"/>
                    </a:cubicBezTo>
                    <a:cubicBezTo>
                      <a:pt x="10667" y="6855"/>
                      <a:pt x="10328" y="6682"/>
                      <a:pt x="9845" y="6603"/>
                    </a:cubicBezTo>
                    <a:lnTo>
                      <a:pt x="9863" y="6751"/>
                    </a:lnTo>
                    <a:close/>
                    <a:moveTo>
                      <a:pt x="1068" y="4056"/>
                    </a:moveTo>
                    <a:cubicBezTo>
                      <a:pt x="1068" y="3866"/>
                      <a:pt x="1220" y="3713"/>
                      <a:pt x="1407" y="3713"/>
                    </a:cubicBezTo>
                    <a:cubicBezTo>
                      <a:pt x="1594" y="3713"/>
                      <a:pt x="1747" y="3866"/>
                      <a:pt x="1747" y="4056"/>
                    </a:cubicBezTo>
                    <a:cubicBezTo>
                      <a:pt x="1747" y="4246"/>
                      <a:pt x="1594" y="4399"/>
                      <a:pt x="1407" y="4399"/>
                    </a:cubicBezTo>
                    <a:cubicBezTo>
                      <a:pt x="1220" y="4399"/>
                      <a:pt x="1068" y="4246"/>
                      <a:pt x="1068" y="4056"/>
                    </a:cubicBezTo>
                    <a:close/>
                    <a:moveTo>
                      <a:pt x="1780" y="4561"/>
                    </a:moveTo>
                    <a:cubicBezTo>
                      <a:pt x="1731" y="4523"/>
                      <a:pt x="1680" y="4489"/>
                      <a:pt x="1620" y="4469"/>
                    </a:cubicBezTo>
                    <a:cubicBezTo>
                      <a:pt x="1565" y="4449"/>
                      <a:pt x="1507" y="4439"/>
                      <a:pt x="1449" y="4434"/>
                    </a:cubicBezTo>
                    <a:lnTo>
                      <a:pt x="1537" y="5365"/>
                    </a:lnTo>
                    <a:lnTo>
                      <a:pt x="1410" y="5515"/>
                    </a:lnTo>
                    <a:lnTo>
                      <a:pt x="1266" y="5365"/>
                    </a:lnTo>
                    <a:lnTo>
                      <a:pt x="1376" y="4433"/>
                    </a:lnTo>
                    <a:cubicBezTo>
                      <a:pt x="1312" y="4435"/>
                      <a:pt x="1248" y="4446"/>
                      <a:pt x="1189" y="4467"/>
                    </a:cubicBezTo>
                    <a:cubicBezTo>
                      <a:pt x="1164" y="4476"/>
                      <a:pt x="1140" y="4487"/>
                      <a:pt x="1118" y="4500"/>
                    </a:cubicBezTo>
                    <a:cubicBezTo>
                      <a:pt x="1078" y="4523"/>
                      <a:pt x="1042" y="4551"/>
                      <a:pt x="1008" y="4582"/>
                    </a:cubicBezTo>
                    <a:cubicBezTo>
                      <a:pt x="839" y="4734"/>
                      <a:pt x="747" y="4997"/>
                      <a:pt x="728" y="5387"/>
                    </a:cubicBezTo>
                    <a:cubicBezTo>
                      <a:pt x="725" y="5454"/>
                      <a:pt x="775" y="5511"/>
                      <a:pt x="841" y="5514"/>
                    </a:cubicBezTo>
                    <a:cubicBezTo>
                      <a:pt x="843" y="5514"/>
                      <a:pt x="845" y="5514"/>
                      <a:pt x="848" y="5514"/>
                    </a:cubicBezTo>
                    <a:cubicBezTo>
                      <a:pt x="911" y="5514"/>
                      <a:pt x="964" y="5464"/>
                      <a:pt x="967" y="5399"/>
                    </a:cubicBezTo>
                    <a:cubicBezTo>
                      <a:pt x="980" y="5135"/>
                      <a:pt x="1032" y="4938"/>
                      <a:pt x="1117" y="4821"/>
                    </a:cubicBezTo>
                    <a:cubicBezTo>
                      <a:pt x="1111" y="4944"/>
                      <a:pt x="1100" y="5167"/>
                      <a:pt x="1090" y="5395"/>
                    </a:cubicBezTo>
                    <a:cubicBezTo>
                      <a:pt x="1090" y="5399"/>
                      <a:pt x="1089" y="5403"/>
                      <a:pt x="1088" y="5407"/>
                    </a:cubicBezTo>
                    <a:lnTo>
                      <a:pt x="993" y="6776"/>
                    </a:lnTo>
                    <a:cubicBezTo>
                      <a:pt x="987" y="6863"/>
                      <a:pt x="1051" y="6938"/>
                      <a:pt x="1136" y="6944"/>
                    </a:cubicBezTo>
                    <a:cubicBezTo>
                      <a:pt x="1140" y="6944"/>
                      <a:pt x="1144" y="6944"/>
                      <a:pt x="1148" y="6944"/>
                    </a:cubicBezTo>
                    <a:cubicBezTo>
                      <a:pt x="1228" y="6944"/>
                      <a:pt x="1296" y="6881"/>
                      <a:pt x="1302" y="6798"/>
                    </a:cubicBezTo>
                    <a:lnTo>
                      <a:pt x="1378" y="5720"/>
                    </a:lnTo>
                    <a:cubicBezTo>
                      <a:pt x="1389" y="5717"/>
                      <a:pt x="1401" y="5714"/>
                      <a:pt x="1411" y="5714"/>
                    </a:cubicBezTo>
                    <a:cubicBezTo>
                      <a:pt x="1423" y="5714"/>
                      <a:pt x="1435" y="5716"/>
                      <a:pt x="1446" y="5717"/>
                    </a:cubicBezTo>
                    <a:lnTo>
                      <a:pt x="1516" y="6807"/>
                    </a:lnTo>
                    <a:cubicBezTo>
                      <a:pt x="1521" y="6890"/>
                      <a:pt x="1589" y="6954"/>
                      <a:pt x="1671" y="6954"/>
                    </a:cubicBezTo>
                    <a:cubicBezTo>
                      <a:pt x="1674" y="6954"/>
                      <a:pt x="1677" y="6954"/>
                      <a:pt x="1681" y="6954"/>
                    </a:cubicBezTo>
                    <a:cubicBezTo>
                      <a:pt x="1766" y="6948"/>
                      <a:pt x="1831" y="6873"/>
                      <a:pt x="1826" y="6787"/>
                    </a:cubicBezTo>
                    <a:lnTo>
                      <a:pt x="1743" y="5493"/>
                    </a:lnTo>
                    <a:cubicBezTo>
                      <a:pt x="1742" y="5486"/>
                      <a:pt x="1741" y="5479"/>
                      <a:pt x="1739" y="5472"/>
                    </a:cubicBezTo>
                    <a:cubicBezTo>
                      <a:pt x="1732" y="5274"/>
                      <a:pt x="1710" y="4981"/>
                      <a:pt x="1697" y="4821"/>
                    </a:cubicBezTo>
                    <a:cubicBezTo>
                      <a:pt x="1784" y="4939"/>
                      <a:pt x="1833" y="5134"/>
                      <a:pt x="1838" y="5396"/>
                    </a:cubicBezTo>
                    <a:cubicBezTo>
                      <a:pt x="1840" y="5462"/>
                      <a:pt x="1893" y="5514"/>
                      <a:pt x="1960" y="5514"/>
                    </a:cubicBezTo>
                    <a:cubicBezTo>
                      <a:pt x="2027" y="5513"/>
                      <a:pt x="2079" y="5458"/>
                      <a:pt x="2078" y="5391"/>
                    </a:cubicBezTo>
                    <a:cubicBezTo>
                      <a:pt x="2069" y="4988"/>
                      <a:pt x="1969" y="4709"/>
                      <a:pt x="1780" y="4561"/>
                    </a:cubicBezTo>
                    <a:close/>
                    <a:moveTo>
                      <a:pt x="2002" y="6751"/>
                    </a:moveTo>
                    <a:cubicBezTo>
                      <a:pt x="2124" y="6801"/>
                      <a:pt x="2200" y="6867"/>
                      <a:pt x="2200" y="6939"/>
                    </a:cubicBezTo>
                    <a:cubicBezTo>
                      <a:pt x="2200" y="7043"/>
                      <a:pt x="2044" y="7134"/>
                      <a:pt x="1813" y="7185"/>
                    </a:cubicBezTo>
                    <a:cubicBezTo>
                      <a:pt x="1795" y="7190"/>
                      <a:pt x="1777" y="7195"/>
                      <a:pt x="1758" y="7197"/>
                    </a:cubicBezTo>
                    <a:cubicBezTo>
                      <a:pt x="1753" y="7198"/>
                      <a:pt x="1748" y="7198"/>
                      <a:pt x="1743" y="7198"/>
                    </a:cubicBezTo>
                    <a:cubicBezTo>
                      <a:pt x="1637" y="7217"/>
                      <a:pt x="1520" y="7228"/>
                      <a:pt x="1394" y="7228"/>
                    </a:cubicBezTo>
                    <a:cubicBezTo>
                      <a:pt x="950" y="7228"/>
                      <a:pt x="589" y="7098"/>
                      <a:pt x="589" y="6939"/>
                    </a:cubicBezTo>
                    <a:cubicBezTo>
                      <a:pt x="589" y="6861"/>
                      <a:pt x="678" y="6790"/>
                      <a:pt x="820" y="6739"/>
                    </a:cubicBezTo>
                    <a:lnTo>
                      <a:pt x="830" y="6602"/>
                    </a:lnTo>
                    <a:cubicBezTo>
                      <a:pt x="342" y="6681"/>
                      <a:pt x="0" y="6854"/>
                      <a:pt x="0" y="7058"/>
                    </a:cubicBezTo>
                    <a:cubicBezTo>
                      <a:pt x="0" y="7335"/>
                      <a:pt x="628" y="7560"/>
                      <a:pt x="1403" y="7560"/>
                    </a:cubicBezTo>
                    <a:cubicBezTo>
                      <a:pt x="2177" y="7560"/>
                      <a:pt x="2805" y="7335"/>
                      <a:pt x="2805" y="7058"/>
                    </a:cubicBezTo>
                    <a:cubicBezTo>
                      <a:pt x="2805" y="6855"/>
                      <a:pt x="2467" y="6682"/>
                      <a:pt x="1984" y="6603"/>
                    </a:cubicBezTo>
                    <a:lnTo>
                      <a:pt x="2002" y="6751"/>
                    </a:lnTo>
                    <a:close/>
                  </a:path>
                </a:pathLst>
              </a:custGeom>
              <a:solidFill>
                <a:schemeClr val="accent1"/>
              </a:solidFill>
              <a:ln w="9525">
                <a:noFill/>
                <a:round/>
              </a:ln>
            </p:spPr>
            <p:txBody>
              <a:bodyPr lIns="0" tIns="0" rIns="0" bIns="0" anchor="ctr"/>
              <a:lstStyle/>
              <a:p>
                <a:pPr algn="ctr"/>
                <a:endParaRPr dirty="0"/>
              </a:p>
            </p:txBody>
          </p:sp>
        </p:grpSp>
        <p:grpSp>
          <p:nvGrpSpPr>
            <p:cNvPr id="9" name="îṧľîḋe">
              <a:extLst>
                <a:ext uri="{FF2B5EF4-FFF2-40B4-BE49-F238E27FC236}">
                  <a16:creationId xmlns:a16="http://schemas.microsoft.com/office/drawing/2014/main" id="{F4290BE7-9608-498E-8ED2-F40FD2A1344E}"/>
                </a:ext>
              </a:extLst>
            </p:cNvPr>
            <p:cNvGrpSpPr/>
            <p:nvPr/>
          </p:nvGrpSpPr>
          <p:grpSpPr>
            <a:xfrm>
              <a:off x="5399314" y="2726098"/>
              <a:ext cx="1393372" cy="1393372"/>
              <a:chOff x="2077663" y="2690079"/>
              <a:chExt cx="980218" cy="980218"/>
            </a:xfrm>
          </p:grpSpPr>
          <p:sp>
            <p:nvSpPr>
              <p:cNvPr id="31" name="îSḻíḓè">
                <a:extLst>
                  <a:ext uri="{FF2B5EF4-FFF2-40B4-BE49-F238E27FC236}">
                    <a16:creationId xmlns:a16="http://schemas.microsoft.com/office/drawing/2014/main" id="{1B1BDCA5-944E-4A4F-A5D7-D95AEAD1E29C}"/>
                  </a:ext>
                </a:extLst>
              </p:cNvPr>
              <p:cNvSpPr/>
              <p:nvPr/>
            </p:nvSpPr>
            <p:spPr>
              <a:xfrm>
                <a:off x="2077663" y="2690079"/>
                <a:ext cx="980218" cy="980218"/>
              </a:xfrm>
              <a:prstGeom prst="ellipse">
                <a:avLst/>
              </a:prstGeom>
              <a:solidFill>
                <a:schemeClr val="accent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endParaRPr/>
              </a:p>
            </p:txBody>
          </p:sp>
          <p:sp>
            <p:nvSpPr>
              <p:cNvPr id="32" name="íṩļïďe">
                <a:extLst>
                  <a:ext uri="{FF2B5EF4-FFF2-40B4-BE49-F238E27FC236}">
                    <a16:creationId xmlns:a16="http://schemas.microsoft.com/office/drawing/2014/main" id="{E969B816-27C6-414F-8AA7-A76A3222F7A1}"/>
                  </a:ext>
                </a:extLst>
              </p:cNvPr>
              <p:cNvSpPr/>
              <p:nvPr/>
            </p:nvSpPr>
            <p:spPr bwMode="auto">
              <a:xfrm>
                <a:off x="2300729" y="2913547"/>
                <a:ext cx="534086" cy="533282"/>
              </a:xfrm>
              <a:custGeom>
                <a:avLst/>
                <a:gdLst>
                  <a:gd name="T0" fmla="*/ 9608 w 10667"/>
                  <a:gd name="T1" fmla="*/ 4056 h 10667"/>
                  <a:gd name="T2" fmla="*/ 9642 w 10667"/>
                  <a:gd name="T3" fmla="*/ 4561 h 10667"/>
                  <a:gd name="T4" fmla="*/ 9398 w 10667"/>
                  <a:gd name="T5" fmla="*/ 5365 h 10667"/>
                  <a:gd name="T6" fmla="*/ 9237 w 10667"/>
                  <a:gd name="T7" fmla="*/ 4433 h 10667"/>
                  <a:gd name="T8" fmla="*/ 8869 w 10667"/>
                  <a:gd name="T9" fmla="*/ 4582 h 10667"/>
                  <a:gd name="T10" fmla="*/ 8709 w 10667"/>
                  <a:gd name="T11" fmla="*/ 5514 h 10667"/>
                  <a:gd name="T12" fmla="*/ 8952 w 10667"/>
                  <a:gd name="T13" fmla="*/ 5395 h 10667"/>
                  <a:gd name="T14" fmla="*/ 8998 w 10667"/>
                  <a:gd name="T15" fmla="*/ 6944 h 10667"/>
                  <a:gd name="T16" fmla="*/ 9239 w 10667"/>
                  <a:gd name="T17" fmla="*/ 5720 h 10667"/>
                  <a:gd name="T18" fmla="*/ 9377 w 10667"/>
                  <a:gd name="T19" fmla="*/ 6807 h 10667"/>
                  <a:gd name="T20" fmla="*/ 9687 w 10667"/>
                  <a:gd name="T21" fmla="*/ 6787 h 10667"/>
                  <a:gd name="T22" fmla="*/ 9559 w 10667"/>
                  <a:gd name="T23" fmla="*/ 4821 h 10667"/>
                  <a:gd name="T24" fmla="*/ 9939 w 10667"/>
                  <a:gd name="T25" fmla="*/ 5391 h 10667"/>
                  <a:gd name="T26" fmla="*/ 6566 w 10667"/>
                  <a:gd name="T27" fmla="*/ 1130 h 10667"/>
                  <a:gd name="T28" fmla="*/ 5448 w 10667"/>
                  <a:gd name="T29" fmla="*/ 2261 h 10667"/>
                  <a:gd name="T30" fmla="*/ 7197 w 10667"/>
                  <a:gd name="T31" fmla="*/ 8282 h 10667"/>
                  <a:gd name="T32" fmla="*/ 6553 w 10667"/>
                  <a:gd name="T33" fmla="*/ 5860 h 10667"/>
                  <a:gd name="T34" fmla="*/ 6867 w 10667"/>
                  <a:gd name="T35" fmla="*/ 5540 h 10667"/>
                  <a:gd name="T36" fmla="*/ 6677 w 10667"/>
                  <a:gd name="T37" fmla="*/ 2794 h 10667"/>
                  <a:gd name="T38" fmla="*/ 5875 w 10667"/>
                  <a:gd name="T39" fmla="*/ 5440 h 10667"/>
                  <a:gd name="T40" fmla="*/ 5344 w 10667"/>
                  <a:gd name="T41" fmla="*/ 2372 h 10667"/>
                  <a:gd name="T42" fmla="*/ 4134 w 10667"/>
                  <a:gd name="T43" fmla="*/ 2863 h 10667"/>
                  <a:gd name="T44" fmla="*/ 3606 w 10667"/>
                  <a:gd name="T45" fmla="*/ 5931 h 10667"/>
                  <a:gd name="T46" fmla="*/ 4406 w 10667"/>
                  <a:gd name="T47" fmla="*/ 5536 h 10667"/>
                  <a:gd name="T48" fmla="*/ 3036 w 10667"/>
                  <a:gd name="T49" fmla="*/ 8836 h 10667"/>
                  <a:gd name="T50" fmla="*/ 1301 w 10667"/>
                  <a:gd name="T51" fmla="*/ 9187 h 10667"/>
                  <a:gd name="T52" fmla="*/ 3942 w 10667"/>
                  <a:gd name="T53" fmla="*/ 10566 h 10667"/>
                  <a:gd name="T54" fmla="*/ 8368 w 10667"/>
                  <a:gd name="T55" fmla="*/ 10227 h 10667"/>
                  <a:gd name="T56" fmla="*/ 5409 w 10667"/>
                  <a:gd name="T57" fmla="*/ 9687 h 10667"/>
                  <a:gd name="T58" fmla="*/ 5462 w 10667"/>
                  <a:gd name="T59" fmla="*/ 6588 h 10667"/>
                  <a:gd name="T60" fmla="*/ 5409 w 10667"/>
                  <a:gd name="T61" fmla="*/ 9687 h 10667"/>
                  <a:gd name="T62" fmla="*/ 9674 w 10667"/>
                  <a:gd name="T63" fmla="*/ 7185 h 10667"/>
                  <a:gd name="T64" fmla="*/ 9255 w 10667"/>
                  <a:gd name="T65" fmla="*/ 7228 h 10667"/>
                  <a:gd name="T66" fmla="*/ 8691 w 10667"/>
                  <a:gd name="T67" fmla="*/ 6602 h 10667"/>
                  <a:gd name="T68" fmla="*/ 10667 w 10667"/>
                  <a:gd name="T69" fmla="*/ 7058 h 10667"/>
                  <a:gd name="T70" fmla="*/ 1068 w 10667"/>
                  <a:gd name="T71" fmla="*/ 4056 h 10667"/>
                  <a:gd name="T72" fmla="*/ 1407 w 10667"/>
                  <a:gd name="T73" fmla="*/ 4399 h 10667"/>
                  <a:gd name="T74" fmla="*/ 1620 w 10667"/>
                  <a:gd name="T75" fmla="*/ 4469 h 10667"/>
                  <a:gd name="T76" fmla="*/ 1410 w 10667"/>
                  <a:gd name="T77" fmla="*/ 5515 h 10667"/>
                  <a:gd name="T78" fmla="*/ 1189 w 10667"/>
                  <a:gd name="T79" fmla="*/ 4467 h 10667"/>
                  <a:gd name="T80" fmla="*/ 728 w 10667"/>
                  <a:gd name="T81" fmla="*/ 5387 h 10667"/>
                  <a:gd name="T82" fmla="*/ 967 w 10667"/>
                  <a:gd name="T83" fmla="*/ 5399 h 10667"/>
                  <a:gd name="T84" fmla="*/ 1088 w 10667"/>
                  <a:gd name="T85" fmla="*/ 5407 h 10667"/>
                  <a:gd name="T86" fmla="*/ 1148 w 10667"/>
                  <a:gd name="T87" fmla="*/ 6944 h 10667"/>
                  <a:gd name="T88" fmla="*/ 1411 w 10667"/>
                  <a:gd name="T89" fmla="*/ 5714 h 10667"/>
                  <a:gd name="T90" fmla="*/ 1671 w 10667"/>
                  <a:gd name="T91" fmla="*/ 6954 h 10667"/>
                  <a:gd name="T92" fmla="*/ 1743 w 10667"/>
                  <a:gd name="T93" fmla="*/ 5493 h 10667"/>
                  <a:gd name="T94" fmla="*/ 1838 w 10667"/>
                  <a:gd name="T95" fmla="*/ 5396 h 10667"/>
                  <a:gd name="T96" fmla="*/ 1780 w 10667"/>
                  <a:gd name="T97" fmla="*/ 4561 h 10667"/>
                  <a:gd name="T98" fmla="*/ 1813 w 10667"/>
                  <a:gd name="T99" fmla="*/ 7185 h 10667"/>
                  <a:gd name="T100" fmla="*/ 1394 w 10667"/>
                  <a:gd name="T101" fmla="*/ 7228 h 10667"/>
                  <a:gd name="T102" fmla="*/ 830 w 10667"/>
                  <a:gd name="T103" fmla="*/ 6602 h 10667"/>
                  <a:gd name="T104" fmla="*/ 2805 w 10667"/>
                  <a:gd name="T105" fmla="*/ 7058 h 10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67" h="10667">
                    <a:moveTo>
                      <a:pt x="8929" y="4056"/>
                    </a:moveTo>
                    <a:cubicBezTo>
                      <a:pt x="8929" y="3866"/>
                      <a:pt x="9081" y="3713"/>
                      <a:pt x="9268" y="3713"/>
                    </a:cubicBezTo>
                    <a:cubicBezTo>
                      <a:pt x="9456" y="3713"/>
                      <a:pt x="9608" y="3866"/>
                      <a:pt x="9608" y="4056"/>
                    </a:cubicBezTo>
                    <a:cubicBezTo>
                      <a:pt x="9608" y="4246"/>
                      <a:pt x="9456" y="4399"/>
                      <a:pt x="9268" y="4399"/>
                    </a:cubicBezTo>
                    <a:cubicBezTo>
                      <a:pt x="9081" y="4399"/>
                      <a:pt x="8929" y="4246"/>
                      <a:pt x="8929" y="4056"/>
                    </a:cubicBezTo>
                    <a:close/>
                    <a:moveTo>
                      <a:pt x="9642" y="4561"/>
                    </a:moveTo>
                    <a:cubicBezTo>
                      <a:pt x="9592" y="4523"/>
                      <a:pt x="9541" y="4489"/>
                      <a:pt x="9482" y="4469"/>
                    </a:cubicBezTo>
                    <a:cubicBezTo>
                      <a:pt x="9427" y="4449"/>
                      <a:pt x="9369" y="4439"/>
                      <a:pt x="9310" y="4434"/>
                    </a:cubicBezTo>
                    <a:lnTo>
                      <a:pt x="9398" y="5365"/>
                    </a:lnTo>
                    <a:lnTo>
                      <a:pt x="9272" y="5515"/>
                    </a:lnTo>
                    <a:lnTo>
                      <a:pt x="9127" y="5365"/>
                    </a:lnTo>
                    <a:lnTo>
                      <a:pt x="9237" y="4433"/>
                    </a:lnTo>
                    <a:cubicBezTo>
                      <a:pt x="9173" y="4435"/>
                      <a:pt x="9110" y="4446"/>
                      <a:pt x="9050" y="4467"/>
                    </a:cubicBezTo>
                    <a:cubicBezTo>
                      <a:pt x="9025" y="4476"/>
                      <a:pt x="9002" y="4487"/>
                      <a:pt x="8979" y="4500"/>
                    </a:cubicBezTo>
                    <a:cubicBezTo>
                      <a:pt x="8940" y="4523"/>
                      <a:pt x="8903" y="4551"/>
                      <a:pt x="8869" y="4582"/>
                    </a:cubicBezTo>
                    <a:cubicBezTo>
                      <a:pt x="8700" y="4734"/>
                      <a:pt x="8609" y="4997"/>
                      <a:pt x="8589" y="5387"/>
                    </a:cubicBezTo>
                    <a:cubicBezTo>
                      <a:pt x="8586" y="5454"/>
                      <a:pt x="8637" y="5511"/>
                      <a:pt x="8703" y="5514"/>
                    </a:cubicBezTo>
                    <a:cubicBezTo>
                      <a:pt x="8705" y="5514"/>
                      <a:pt x="8707" y="5514"/>
                      <a:pt x="8709" y="5514"/>
                    </a:cubicBezTo>
                    <a:cubicBezTo>
                      <a:pt x="8772" y="5514"/>
                      <a:pt x="8825" y="5464"/>
                      <a:pt x="8828" y="5399"/>
                    </a:cubicBezTo>
                    <a:cubicBezTo>
                      <a:pt x="8842" y="5135"/>
                      <a:pt x="8893" y="4938"/>
                      <a:pt x="8978" y="4821"/>
                    </a:cubicBezTo>
                    <a:cubicBezTo>
                      <a:pt x="8972" y="4944"/>
                      <a:pt x="8961" y="5167"/>
                      <a:pt x="8952" y="5395"/>
                    </a:cubicBezTo>
                    <a:cubicBezTo>
                      <a:pt x="8951" y="5399"/>
                      <a:pt x="8950" y="5403"/>
                      <a:pt x="8950" y="5407"/>
                    </a:cubicBezTo>
                    <a:lnTo>
                      <a:pt x="8854" y="6776"/>
                    </a:lnTo>
                    <a:cubicBezTo>
                      <a:pt x="8848" y="6863"/>
                      <a:pt x="8912" y="6938"/>
                      <a:pt x="8998" y="6944"/>
                    </a:cubicBezTo>
                    <a:cubicBezTo>
                      <a:pt x="9002" y="6944"/>
                      <a:pt x="9005" y="6944"/>
                      <a:pt x="9009" y="6944"/>
                    </a:cubicBezTo>
                    <a:cubicBezTo>
                      <a:pt x="9090" y="6944"/>
                      <a:pt x="9158" y="6881"/>
                      <a:pt x="9163" y="6798"/>
                    </a:cubicBezTo>
                    <a:lnTo>
                      <a:pt x="9239" y="5720"/>
                    </a:lnTo>
                    <a:cubicBezTo>
                      <a:pt x="9251" y="5717"/>
                      <a:pt x="9262" y="5714"/>
                      <a:pt x="9273" y="5714"/>
                    </a:cubicBezTo>
                    <a:cubicBezTo>
                      <a:pt x="9284" y="5714"/>
                      <a:pt x="9296" y="5716"/>
                      <a:pt x="9307" y="5717"/>
                    </a:cubicBezTo>
                    <a:lnTo>
                      <a:pt x="9377" y="6807"/>
                    </a:lnTo>
                    <a:cubicBezTo>
                      <a:pt x="9382" y="6890"/>
                      <a:pt x="9451" y="6954"/>
                      <a:pt x="9532" y="6954"/>
                    </a:cubicBezTo>
                    <a:cubicBezTo>
                      <a:pt x="9535" y="6954"/>
                      <a:pt x="9539" y="6954"/>
                      <a:pt x="9542" y="6954"/>
                    </a:cubicBezTo>
                    <a:cubicBezTo>
                      <a:pt x="9628" y="6948"/>
                      <a:pt x="9692" y="6873"/>
                      <a:pt x="9687" y="6787"/>
                    </a:cubicBezTo>
                    <a:lnTo>
                      <a:pt x="9604" y="5493"/>
                    </a:lnTo>
                    <a:cubicBezTo>
                      <a:pt x="9604" y="5486"/>
                      <a:pt x="9602" y="5479"/>
                      <a:pt x="9601" y="5472"/>
                    </a:cubicBezTo>
                    <a:cubicBezTo>
                      <a:pt x="9594" y="5274"/>
                      <a:pt x="9571" y="4981"/>
                      <a:pt x="9559" y="4821"/>
                    </a:cubicBezTo>
                    <a:cubicBezTo>
                      <a:pt x="9645" y="4939"/>
                      <a:pt x="9694" y="5134"/>
                      <a:pt x="9700" y="5396"/>
                    </a:cubicBezTo>
                    <a:cubicBezTo>
                      <a:pt x="9701" y="5462"/>
                      <a:pt x="9754" y="5514"/>
                      <a:pt x="9822" y="5514"/>
                    </a:cubicBezTo>
                    <a:cubicBezTo>
                      <a:pt x="9888" y="5513"/>
                      <a:pt x="9940" y="5458"/>
                      <a:pt x="9939" y="5391"/>
                    </a:cubicBezTo>
                    <a:cubicBezTo>
                      <a:pt x="9931" y="4988"/>
                      <a:pt x="9831" y="4709"/>
                      <a:pt x="9642" y="4561"/>
                    </a:cubicBezTo>
                    <a:close/>
                    <a:moveTo>
                      <a:pt x="5448" y="2261"/>
                    </a:moveTo>
                    <a:cubicBezTo>
                      <a:pt x="6065" y="2261"/>
                      <a:pt x="6566" y="1755"/>
                      <a:pt x="6566" y="1130"/>
                    </a:cubicBezTo>
                    <a:cubicBezTo>
                      <a:pt x="6566" y="506"/>
                      <a:pt x="6065" y="0"/>
                      <a:pt x="5448" y="0"/>
                    </a:cubicBezTo>
                    <a:cubicBezTo>
                      <a:pt x="4832" y="0"/>
                      <a:pt x="4332" y="506"/>
                      <a:pt x="4332" y="1130"/>
                    </a:cubicBezTo>
                    <a:cubicBezTo>
                      <a:pt x="4332" y="1755"/>
                      <a:pt x="4832" y="2261"/>
                      <a:pt x="5448" y="2261"/>
                    </a:cubicBezTo>
                    <a:close/>
                    <a:moveTo>
                      <a:pt x="9566" y="9187"/>
                    </a:moveTo>
                    <a:cubicBezTo>
                      <a:pt x="9566" y="8589"/>
                      <a:pt x="8569" y="8079"/>
                      <a:pt x="7146" y="7846"/>
                    </a:cubicBezTo>
                    <a:lnTo>
                      <a:pt x="7197" y="8282"/>
                    </a:lnTo>
                    <a:cubicBezTo>
                      <a:pt x="7559" y="8431"/>
                      <a:pt x="7781" y="8624"/>
                      <a:pt x="7781" y="8836"/>
                    </a:cubicBezTo>
                    <a:cubicBezTo>
                      <a:pt x="7781" y="9120"/>
                      <a:pt x="7386" y="9369"/>
                      <a:pt x="6788" y="9523"/>
                    </a:cubicBezTo>
                    <a:lnTo>
                      <a:pt x="6553" y="5860"/>
                    </a:lnTo>
                    <a:cubicBezTo>
                      <a:pt x="6552" y="5836"/>
                      <a:pt x="6547" y="5814"/>
                      <a:pt x="6542" y="5791"/>
                    </a:cubicBezTo>
                    <a:cubicBezTo>
                      <a:pt x="6519" y="5139"/>
                      <a:pt x="6446" y="4174"/>
                      <a:pt x="6403" y="3649"/>
                    </a:cubicBezTo>
                    <a:cubicBezTo>
                      <a:pt x="6689" y="4036"/>
                      <a:pt x="6850" y="4677"/>
                      <a:pt x="6867" y="5540"/>
                    </a:cubicBezTo>
                    <a:cubicBezTo>
                      <a:pt x="6872" y="5758"/>
                      <a:pt x="7047" y="5931"/>
                      <a:pt x="7269" y="5931"/>
                    </a:cubicBezTo>
                    <a:cubicBezTo>
                      <a:pt x="7487" y="5926"/>
                      <a:pt x="7660" y="5744"/>
                      <a:pt x="7655" y="5524"/>
                    </a:cubicBezTo>
                    <a:cubicBezTo>
                      <a:pt x="7628" y="4200"/>
                      <a:pt x="7299" y="3281"/>
                      <a:pt x="6677" y="2794"/>
                    </a:cubicBezTo>
                    <a:cubicBezTo>
                      <a:pt x="6515" y="2666"/>
                      <a:pt x="6346" y="2557"/>
                      <a:pt x="6150" y="2489"/>
                    </a:cubicBezTo>
                    <a:cubicBezTo>
                      <a:pt x="5969" y="2425"/>
                      <a:pt x="5778" y="2390"/>
                      <a:pt x="5587" y="2376"/>
                    </a:cubicBezTo>
                    <a:lnTo>
                      <a:pt x="5875" y="5440"/>
                    </a:lnTo>
                    <a:lnTo>
                      <a:pt x="5459" y="5934"/>
                    </a:lnTo>
                    <a:lnTo>
                      <a:pt x="4983" y="5440"/>
                    </a:lnTo>
                    <a:lnTo>
                      <a:pt x="5344" y="2372"/>
                    </a:lnTo>
                    <a:cubicBezTo>
                      <a:pt x="5135" y="2379"/>
                      <a:pt x="4926" y="2413"/>
                      <a:pt x="4729" y="2484"/>
                    </a:cubicBezTo>
                    <a:cubicBezTo>
                      <a:pt x="4648" y="2513"/>
                      <a:pt x="4570" y="2548"/>
                      <a:pt x="4496" y="2592"/>
                    </a:cubicBezTo>
                    <a:cubicBezTo>
                      <a:pt x="4366" y="2669"/>
                      <a:pt x="4247" y="2762"/>
                      <a:pt x="4134" y="2863"/>
                    </a:cubicBezTo>
                    <a:cubicBezTo>
                      <a:pt x="3578" y="3362"/>
                      <a:pt x="3276" y="4228"/>
                      <a:pt x="3213" y="5512"/>
                    </a:cubicBezTo>
                    <a:cubicBezTo>
                      <a:pt x="3202" y="5732"/>
                      <a:pt x="3369" y="5919"/>
                      <a:pt x="3586" y="5930"/>
                    </a:cubicBezTo>
                    <a:cubicBezTo>
                      <a:pt x="3593" y="5931"/>
                      <a:pt x="3600" y="5931"/>
                      <a:pt x="3606" y="5931"/>
                    </a:cubicBezTo>
                    <a:cubicBezTo>
                      <a:pt x="3815" y="5931"/>
                      <a:pt x="3989" y="5765"/>
                      <a:pt x="4000" y="5552"/>
                    </a:cubicBezTo>
                    <a:cubicBezTo>
                      <a:pt x="4043" y="4683"/>
                      <a:pt x="4213" y="4034"/>
                      <a:pt x="4493" y="3649"/>
                    </a:cubicBezTo>
                    <a:cubicBezTo>
                      <a:pt x="4473" y="4053"/>
                      <a:pt x="4437" y="4787"/>
                      <a:pt x="4406" y="5536"/>
                    </a:cubicBezTo>
                    <a:cubicBezTo>
                      <a:pt x="4404" y="5550"/>
                      <a:pt x="4400" y="5563"/>
                      <a:pt x="4399" y="5577"/>
                    </a:cubicBezTo>
                    <a:lnTo>
                      <a:pt x="4121" y="9550"/>
                    </a:lnTo>
                    <a:cubicBezTo>
                      <a:pt x="3469" y="9398"/>
                      <a:pt x="3036" y="9136"/>
                      <a:pt x="3036" y="8836"/>
                    </a:cubicBezTo>
                    <a:cubicBezTo>
                      <a:pt x="3036" y="8606"/>
                      <a:pt x="3298" y="8398"/>
                      <a:pt x="3715" y="8245"/>
                    </a:cubicBezTo>
                    <a:lnTo>
                      <a:pt x="3745" y="7843"/>
                    </a:lnTo>
                    <a:cubicBezTo>
                      <a:pt x="2309" y="8075"/>
                      <a:pt x="1301" y="8586"/>
                      <a:pt x="1301" y="9187"/>
                    </a:cubicBezTo>
                    <a:cubicBezTo>
                      <a:pt x="1301" y="9666"/>
                      <a:pt x="1867" y="9963"/>
                      <a:pt x="2241" y="10125"/>
                    </a:cubicBezTo>
                    <a:cubicBezTo>
                      <a:pt x="2579" y="10272"/>
                      <a:pt x="2936" y="10374"/>
                      <a:pt x="3295" y="10452"/>
                    </a:cubicBezTo>
                    <a:cubicBezTo>
                      <a:pt x="3509" y="10498"/>
                      <a:pt x="3725" y="10536"/>
                      <a:pt x="3942" y="10566"/>
                    </a:cubicBezTo>
                    <a:cubicBezTo>
                      <a:pt x="4438" y="10635"/>
                      <a:pt x="4931" y="10667"/>
                      <a:pt x="5434" y="10667"/>
                    </a:cubicBezTo>
                    <a:cubicBezTo>
                      <a:pt x="5609" y="10667"/>
                      <a:pt x="5784" y="10662"/>
                      <a:pt x="5959" y="10654"/>
                    </a:cubicBezTo>
                    <a:cubicBezTo>
                      <a:pt x="6767" y="10615"/>
                      <a:pt x="7596" y="10506"/>
                      <a:pt x="8368" y="10227"/>
                    </a:cubicBezTo>
                    <a:cubicBezTo>
                      <a:pt x="8794" y="10073"/>
                      <a:pt x="9463" y="9799"/>
                      <a:pt x="9557" y="9286"/>
                    </a:cubicBezTo>
                    <a:cubicBezTo>
                      <a:pt x="9563" y="9253"/>
                      <a:pt x="9566" y="9220"/>
                      <a:pt x="9566" y="9187"/>
                    </a:cubicBezTo>
                    <a:close/>
                    <a:moveTo>
                      <a:pt x="5409" y="9687"/>
                    </a:moveTo>
                    <a:cubicBezTo>
                      <a:pt x="5316" y="9687"/>
                      <a:pt x="5226" y="9685"/>
                      <a:pt x="5136" y="9681"/>
                    </a:cubicBezTo>
                    <a:lnTo>
                      <a:pt x="5351" y="6608"/>
                    </a:lnTo>
                    <a:cubicBezTo>
                      <a:pt x="5390" y="6597"/>
                      <a:pt x="5429" y="6588"/>
                      <a:pt x="5462" y="6588"/>
                    </a:cubicBezTo>
                    <a:cubicBezTo>
                      <a:pt x="5501" y="6588"/>
                      <a:pt x="5539" y="6595"/>
                      <a:pt x="5577" y="6599"/>
                    </a:cubicBezTo>
                    <a:lnTo>
                      <a:pt x="5773" y="9671"/>
                    </a:lnTo>
                    <a:cubicBezTo>
                      <a:pt x="5653" y="9678"/>
                      <a:pt x="5535" y="9687"/>
                      <a:pt x="5409" y="9687"/>
                    </a:cubicBezTo>
                    <a:close/>
                    <a:moveTo>
                      <a:pt x="9863" y="6751"/>
                    </a:moveTo>
                    <a:cubicBezTo>
                      <a:pt x="9985" y="6801"/>
                      <a:pt x="10061" y="6867"/>
                      <a:pt x="10061" y="6939"/>
                    </a:cubicBezTo>
                    <a:cubicBezTo>
                      <a:pt x="10061" y="7043"/>
                      <a:pt x="9905" y="7134"/>
                      <a:pt x="9674" y="7185"/>
                    </a:cubicBezTo>
                    <a:cubicBezTo>
                      <a:pt x="9657" y="7190"/>
                      <a:pt x="9638" y="7195"/>
                      <a:pt x="9619" y="7197"/>
                    </a:cubicBezTo>
                    <a:cubicBezTo>
                      <a:pt x="9614" y="7198"/>
                      <a:pt x="9609" y="7198"/>
                      <a:pt x="9605" y="7198"/>
                    </a:cubicBezTo>
                    <a:cubicBezTo>
                      <a:pt x="9499" y="7217"/>
                      <a:pt x="9382" y="7228"/>
                      <a:pt x="9255" y="7228"/>
                    </a:cubicBezTo>
                    <a:cubicBezTo>
                      <a:pt x="8811" y="7228"/>
                      <a:pt x="8451" y="7098"/>
                      <a:pt x="8451" y="6939"/>
                    </a:cubicBezTo>
                    <a:cubicBezTo>
                      <a:pt x="8451" y="6861"/>
                      <a:pt x="8539" y="6790"/>
                      <a:pt x="8681" y="6739"/>
                    </a:cubicBezTo>
                    <a:lnTo>
                      <a:pt x="8691" y="6602"/>
                    </a:lnTo>
                    <a:cubicBezTo>
                      <a:pt x="8203" y="6681"/>
                      <a:pt x="7861" y="6854"/>
                      <a:pt x="7861" y="7058"/>
                    </a:cubicBezTo>
                    <a:cubicBezTo>
                      <a:pt x="7861" y="7335"/>
                      <a:pt x="8489" y="7560"/>
                      <a:pt x="9264" y="7560"/>
                    </a:cubicBezTo>
                    <a:cubicBezTo>
                      <a:pt x="10039" y="7560"/>
                      <a:pt x="10667" y="7335"/>
                      <a:pt x="10667" y="7058"/>
                    </a:cubicBezTo>
                    <a:cubicBezTo>
                      <a:pt x="10667" y="6855"/>
                      <a:pt x="10328" y="6682"/>
                      <a:pt x="9845" y="6603"/>
                    </a:cubicBezTo>
                    <a:lnTo>
                      <a:pt x="9863" y="6751"/>
                    </a:lnTo>
                    <a:close/>
                    <a:moveTo>
                      <a:pt x="1068" y="4056"/>
                    </a:moveTo>
                    <a:cubicBezTo>
                      <a:pt x="1068" y="3866"/>
                      <a:pt x="1220" y="3713"/>
                      <a:pt x="1407" y="3713"/>
                    </a:cubicBezTo>
                    <a:cubicBezTo>
                      <a:pt x="1594" y="3713"/>
                      <a:pt x="1747" y="3866"/>
                      <a:pt x="1747" y="4056"/>
                    </a:cubicBezTo>
                    <a:cubicBezTo>
                      <a:pt x="1747" y="4246"/>
                      <a:pt x="1594" y="4399"/>
                      <a:pt x="1407" y="4399"/>
                    </a:cubicBezTo>
                    <a:cubicBezTo>
                      <a:pt x="1220" y="4399"/>
                      <a:pt x="1068" y="4246"/>
                      <a:pt x="1068" y="4056"/>
                    </a:cubicBezTo>
                    <a:close/>
                    <a:moveTo>
                      <a:pt x="1780" y="4561"/>
                    </a:moveTo>
                    <a:cubicBezTo>
                      <a:pt x="1731" y="4523"/>
                      <a:pt x="1680" y="4489"/>
                      <a:pt x="1620" y="4469"/>
                    </a:cubicBezTo>
                    <a:cubicBezTo>
                      <a:pt x="1565" y="4449"/>
                      <a:pt x="1507" y="4439"/>
                      <a:pt x="1449" y="4434"/>
                    </a:cubicBezTo>
                    <a:lnTo>
                      <a:pt x="1537" y="5365"/>
                    </a:lnTo>
                    <a:lnTo>
                      <a:pt x="1410" y="5515"/>
                    </a:lnTo>
                    <a:lnTo>
                      <a:pt x="1266" y="5365"/>
                    </a:lnTo>
                    <a:lnTo>
                      <a:pt x="1376" y="4433"/>
                    </a:lnTo>
                    <a:cubicBezTo>
                      <a:pt x="1312" y="4435"/>
                      <a:pt x="1248" y="4446"/>
                      <a:pt x="1189" y="4467"/>
                    </a:cubicBezTo>
                    <a:cubicBezTo>
                      <a:pt x="1164" y="4476"/>
                      <a:pt x="1140" y="4487"/>
                      <a:pt x="1118" y="4500"/>
                    </a:cubicBezTo>
                    <a:cubicBezTo>
                      <a:pt x="1078" y="4523"/>
                      <a:pt x="1042" y="4551"/>
                      <a:pt x="1008" y="4582"/>
                    </a:cubicBezTo>
                    <a:cubicBezTo>
                      <a:pt x="839" y="4734"/>
                      <a:pt x="747" y="4997"/>
                      <a:pt x="728" y="5387"/>
                    </a:cubicBezTo>
                    <a:cubicBezTo>
                      <a:pt x="725" y="5454"/>
                      <a:pt x="775" y="5511"/>
                      <a:pt x="841" y="5514"/>
                    </a:cubicBezTo>
                    <a:cubicBezTo>
                      <a:pt x="843" y="5514"/>
                      <a:pt x="845" y="5514"/>
                      <a:pt x="848" y="5514"/>
                    </a:cubicBezTo>
                    <a:cubicBezTo>
                      <a:pt x="911" y="5514"/>
                      <a:pt x="964" y="5464"/>
                      <a:pt x="967" y="5399"/>
                    </a:cubicBezTo>
                    <a:cubicBezTo>
                      <a:pt x="980" y="5135"/>
                      <a:pt x="1032" y="4938"/>
                      <a:pt x="1117" y="4821"/>
                    </a:cubicBezTo>
                    <a:cubicBezTo>
                      <a:pt x="1111" y="4944"/>
                      <a:pt x="1100" y="5167"/>
                      <a:pt x="1090" y="5395"/>
                    </a:cubicBezTo>
                    <a:cubicBezTo>
                      <a:pt x="1090" y="5399"/>
                      <a:pt x="1089" y="5403"/>
                      <a:pt x="1088" y="5407"/>
                    </a:cubicBezTo>
                    <a:lnTo>
                      <a:pt x="993" y="6776"/>
                    </a:lnTo>
                    <a:cubicBezTo>
                      <a:pt x="987" y="6863"/>
                      <a:pt x="1051" y="6938"/>
                      <a:pt x="1136" y="6944"/>
                    </a:cubicBezTo>
                    <a:cubicBezTo>
                      <a:pt x="1140" y="6944"/>
                      <a:pt x="1144" y="6944"/>
                      <a:pt x="1148" y="6944"/>
                    </a:cubicBezTo>
                    <a:cubicBezTo>
                      <a:pt x="1228" y="6944"/>
                      <a:pt x="1296" y="6881"/>
                      <a:pt x="1302" y="6798"/>
                    </a:cubicBezTo>
                    <a:lnTo>
                      <a:pt x="1378" y="5720"/>
                    </a:lnTo>
                    <a:cubicBezTo>
                      <a:pt x="1389" y="5717"/>
                      <a:pt x="1401" y="5714"/>
                      <a:pt x="1411" y="5714"/>
                    </a:cubicBezTo>
                    <a:cubicBezTo>
                      <a:pt x="1423" y="5714"/>
                      <a:pt x="1435" y="5716"/>
                      <a:pt x="1446" y="5717"/>
                    </a:cubicBezTo>
                    <a:lnTo>
                      <a:pt x="1516" y="6807"/>
                    </a:lnTo>
                    <a:cubicBezTo>
                      <a:pt x="1521" y="6890"/>
                      <a:pt x="1589" y="6954"/>
                      <a:pt x="1671" y="6954"/>
                    </a:cubicBezTo>
                    <a:cubicBezTo>
                      <a:pt x="1674" y="6954"/>
                      <a:pt x="1677" y="6954"/>
                      <a:pt x="1681" y="6954"/>
                    </a:cubicBezTo>
                    <a:cubicBezTo>
                      <a:pt x="1766" y="6948"/>
                      <a:pt x="1831" y="6873"/>
                      <a:pt x="1826" y="6787"/>
                    </a:cubicBezTo>
                    <a:lnTo>
                      <a:pt x="1743" y="5493"/>
                    </a:lnTo>
                    <a:cubicBezTo>
                      <a:pt x="1742" y="5486"/>
                      <a:pt x="1741" y="5479"/>
                      <a:pt x="1739" y="5472"/>
                    </a:cubicBezTo>
                    <a:cubicBezTo>
                      <a:pt x="1732" y="5274"/>
                      <a:pt x="1710" y="4981"/>
                      <a:pt x="1697" y="4821"/>
                    </a:cubicBezTo>
                    <a:cubicBezTo>
                      <a:pt x="1784" y="4939"/>
                      <a:pt x="1833" y="5134"/>
                      <a:pt x="1838" y="5396"/>
                    </a:cubicBezTo>
                    <a:cubicBezTo>
                      <a:pt x="1840" y="5462"/>
                      <a:pt x="1893" y="5514"/>
                      <a:pt x="1960" y="5514"/>
                    </a:cubicBezTo>
                    <a:cubicBezTo>
                      <a:pt x="2027" y="5513"/>
                      <a:pt x="2079" y="5458"/>
                      <a:pt x="2078" y="5391"/>
                    </a:cubicBezTo>
                    <a:cubicBezTo>
                      <a:pt x="2069" y="4988"/>
                      <a:pt x="1969" y="4709"/>
                      <a:pt x="1780" y="4561"/>
                    </a:cubicBezTo>
                    <a:close/>
                    <a:moveTo>
                      <a:pt x="2002" y="6751"/>
                    </a:moveTo>
                    <a:cubicBezTo>
                      <a:pt x="2124" y="6801"/>
                      <a:pt x="2200" y="6867"/>
                      <a:pt x="2200" y="6939"/>
                    </a:cubicBezTo>
                    <a:cubicBezTo>
                      <a:pt x="2200" y="7043"/>
                      <a:pt x="2044" y="7134"/>
                      <a:pt x="1813" y="7185"/>
                    </a:cubicBezTo>
                    <a:cubicBezTo>
                      <a:pt x="1795" y="7190"/>
                      <a:pt x="1777" y="7195"/>
                      <a:pt x="1758" y="7197"/>
                    </a:cubicBezTo>
                    <a:cubicBezTo>
                      <a:pt x="1753" y="7198"/>
                      <a:pt x="1748" y="7198"/>
                      <a:pt x="1743" y="7198"/>
                    </a:cubicBezTo>
                    <a:cubicBezTo>
                      <a:pt x="1637" y="7217"/>
                      <a:pt x="1520" y="7228"/>
                      <a:pt x="1394" y="7228"/>
                    </a:cubicBezTo>
                    <a:cubicBezTo>
                      <a:pt x="950" y="7228"/>
                      <a:pt x="589" y="7098"/>
                      <a:pt x="589" y="6939"/>
                    </a:cubicBezTo>
                    <a:cubicBezTo>
                      <a:pt x="589" y="6861"/>
                      <a:pt x="678" y="6790"/>
                      <a:pt x="820" y="6739"/>
                    </a:cubicBezTo>
                    <a:lnTo>
                      <a:pt x="830" y="6602"/>
                    </a:lnTo>
                    <a:cubicBezTo>
                      <a:pt x="342" y="6681"/>
                      <a:pt x="0" y="6854"/>
                      <a:pt x="0" y="7058"/>
                    </a:cubicBezTo>
                    <a:cubicBezTo>
                      <a:pt x="0" y="7335"/>
                      <a:pt x="628" y="7560"/>
                      <a:pt x="1403" y="7560"/>
                    </a:cubicBezTo>
                    <a:cubicBezTo>
                      <a:pt x="2177" y="7560"/>
                      <a:pt x="2805" y="7335"/>
                      <a:pt x="2805" y="7058"/>
                    </a:cubicBezTo>
                    <a:cubicBezTo>
                      <a:pt x="2805" y="6855"/>
                      <a:pt x="2467" y="6682"/>
                      <a:pt x="1984" y="6603"/>
                    </a:cubicBezTo>
                    <a:lnTo>
                      <a:pt x="2002" y="6751"/>
                    </a:lnTo>
                    <a:close/>
                  </a:path>
                </a:pathLst>
              </a:custGeom>
              <a:solidFill>
                <a:schemeClr val="bg1"/>
              </a:solidFill>
              <a:ln w="9525">
                <a:noFill/>
                <a:round/>
              </a:ln>
            </p:spPr>
            <p:txBody>
              <a:bodyPr lIns="0" tIns="0" rIns="0" bIns="0" anchor="ctr"/>
              <a:lstStyle/>
              <a:p>
                <a:pPr algn="ctr"/>
                <a:endParaRPr/>
              </a:p>
            </p:txBody>
          </p:sp>
        </p:grpSp>
        <p:grpSp>
          <p:nvGrpSpPr>
            <p:cNvPr id="10" name="ïsḻiḍè">
              <a:extLst>
                <a:ext uri="{FF2B5EF4-FFF2-40B4-BE49-F238E27FC236}">
                  <a16:creationId xmlns:a16="http://schemas.microsoft.com/office/drawing/2014/main" id="{7C4E37DD-4B81-42E4-9309-580474D5E7FD}"/>
                </a:ext>
              </a:extLst>
            </p:cNvPr>
            <p:cNvGrpSpPr/>
            <p:nvPr/>
          </p:nvGrpSpPr>
          <p:grpSpPr>
            <a:xfrm>
              <a:off x="7823715" y="3069772"/>
              <a:ext cx="706024" cy="706024"/>
              <a:chOff x="2077663" y="2690079"/>
              <a:chExt cx="980218" cy="980218"/>
            </a:xfrm>
          </p:grpSpPr>
          <p:sp>
            <p:nvSpPr>
              <p:cNvPr id="29" name="í$1ïdé">
                <a:extLst>
                  <a:ext uri="{FF2B5EF4-FFF2-40B4-BE49-F238E27FC236}">
                    <a16:creationId xmlns:a16="http://schemas.microsoft.com/office/drawing/2014/main" id="{B106B5CF-358C-4D7C-B7DB-282937E58673}"/>
                  </a:ext>
                </a:extLst>
              </p:cNvPr>
              <p:cNvSpPr/>
              <p:nvPr/>
            </p:nvSpPr>
            <p:spPr>
              <a:xfrm>
                <a:off x="2077663" y="2690079"/>
                <a:ext cx="980218" cy="980218"/>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endParaRPr/>
              </a:p>
            </p:txBody>
          </p:sp>
          <p:sp>
            <p:nvSpPr>
              <p:cNvPr id="30" name="îṧľiḋé">
                <a:extLst>
                  <a:ext uri="{FF2B5EF4-FFF2-40B4-BE49-F238E27FC236}">
                    <a16:creationId xmlns:a16="http://schemas.microsoft.com/office/drawing/2014/main" id="{534A74AE-DB50-4EE8-A7B9-3AFB5282737B}"/>
                  </a:ext>
                </a:extLst>
              </p:cNvPr>
              <p:cNvSpPr/>
              <p:nvPr/>
            </p:nvSpPr>
            <p:spPr bwMode="auto">
              <a:xfrm>
                <a:off x="2300729" y="2913547"/>
                <a:ext cx="534086" cy="533282"/>
              </a:xfrm>
              <a:custGeom>
                <a:avLst/>
                <a:gdLst>
                  <a:gd name="T0" fmla="*/ 9608 w 10667"/>
                  <a:gd name="T1" fmla="*/ 4056 h 10667"/>
                  <a:gd name="T2" fmla="*/ 9642 w 10667"/>
                  <a:gd name="T3" fmla="*/ 4561 h 10667"/>
                  <a:gd name="T4" fmla="*/ 9398 w 10667"/>
                  <a:gd name="T5" fmla="*/ 5365 h 10667"/>
                  <a:gd name="T6" fmla="*/ 9237 w 10667"/>
                  <a:gd name="T7" fmla="*/ 4433 h 10667"/>
                  <a:gd name="T8" fmla="*/ 8869 w 10667"/>
                  <a:gd name="T9" fmla="*/ 4582 h 10667"/>
                  <a:gd name="T10" fmla="*/ 8709 w 10667"/>
                  <a:gd name="T11" fmla="*/ 5514 h 10667"/>
                  <a:gd name="T12" fmla="*/ 8952 w 10667"/>
                  <a:gd name="T13" fmla="*/ 5395 h 10667"/>
                  <a:gd name="T14" fmla="*/ 8998 w 10667"/>
                  <a:gd name="T15" fmla="*/ 6944 h 10667"/>
                  <a:gd name="T16" fmla="*/ 9239 w 10667"/>
                  <a:gd name="T17" fmla="*/ 5720 h 10667"/>
                  <a:gd name="T18" fmla="*/ 9377 w 10667"/>
                  <a:gd name="T19" fmla="*/ 6807 h 10667"/>
                  <a:gd name="T20" fmla="*/ 9687 w 10667"/>
                  <a:gd name="T21" fmla="*/ 6787 h 10667"/>
                  <a:gd name="T22" fmla="*/ 9559 w 10667"/>
                  <a:gd name="T23" fmla="*/ 4821 h 10667"/>
                  <a:gd name="T24" fmla="*/ 9939 w 10667"/>
                  <a:gd name="T25" fmla="*/ 5391 h 10667"/>
                  <a:gd name="T26" fmla="*/ 6566 w 10667"/>
                  <a:gd name="T27" fmla="*/ 1130 h 10667"/>
                  <a:gd name="T28" fmla="*/ 5448 w 10667"/>
                  <a:gd name="T29" fmla="*/ 2261 h 10667"/>
                  <a:gd name="T30" fmla="*/ 7197 w 10667"/>
                  <a:gd name="T31" fmla="*/ 8282 h 10667"/>
                  <a:gd name="T32" fmla="*/ 6553 w 10667"/>
                  <a:gd name="T33" fmla="*/ 5860 h 10667"/>
                  <a:gd name="T34" fmla="*/ 6867 w 10667"/>
                  <a:gd name="T35" fmla="*/ 5540 h 10667"/>
                  <a:gd name="T36" fmla="*/ 6677 w 10667"/>
                  <a:gd name="T37" fmla="*/ 2794 h 10667"/>
                  <a:gd name="T38" fmla="*/ 5875 w 10667"/>
                  <a:gd name="T39" fmla="*/ 5440 h 10667"/>
                  <a:gd name="T40" fmla="*/ 5344 w 10667"/>
                  <a:gd name="T41" fmla="*/ 2372 h 10667"/>
                  <a:gd name="T42" fmla="*/ 4134 w 10667"/>
                  <a:gd name="T43" fmla="*/ 2863 h 10667"/>
                  <a:gd name="T44" fmla="*/ 3606 w 10667"/>
                  <a:gd name="T45" fmla="*/ 5931 h 10667"/>
                  <a:gd name="T46" fmla="*/ 4406 w 10667"/>
                  <a:gd name="T47" fmla="*/ 5536 h 10667"/>
                  <a:gd name="T48" fmla="*/ 3036 w 10667"/>
                  <a:gd name="T49" fmla="*/ 8836 h 10667"/>
                  <a:gd name="T50" fmla="*/ 1301 w 10667"/>
                  <a:gd name="T51" fmla="*/ 9187 h 10667"/>
                  <a:gd name="T52" fmla="*/ 3942 w 10667"/>
                  <a:gd name="T53" fmla="*/ 10566 h 10667"/>
                  <a:gd name="T54" fmla="*/ 8368 w 10667"/>
                  <a:gd name="T55" fmla="*/ 10227 h 10667"/>
                  <a:gd name="T56" fmla="*/ 5409 w 10667"/>
                  <a:gd name="T57" fmla="*/ 9687 h 10667"/>
                  <a:gd name="T58" fmla="*/ 5462 w 10667"/>
                  <a:gd name="T59" fmla="*/ 6588 h 10667"/>
                  <a:gd name="T60" fmla="*/ 5409 w 10667"/>
                  <a:gd name="T61" fmla="*/ 9687 h 10667"/>
                  <a:gd name="T62" fmla="*/ 9674 w 10667"/>
                  <a:gd name="T63" fmla="*/ 7185 h 10667"/>
                  <a:gd name="T64" fmla="*/ 9255 w 10667"/>
                  <a:gd name="T65" fmla="*/ 7228 h 10667"/>
                  <a:gd name="T66" fmla="*/ 8691 w 10667"/>
                  <a:gd name="T67" fmla="*/ 6602 h 10667"/>
                  <a:gd name="T68" fmla="*/ 10667 w 10667"/>
                  <a:gd name="T69" fmla="*/ 7058 h 10667"/>
                  <a:gd name="T70" fmla="*/ 1068 w 10667"/>
                  <a:gd name="T71" fmla="*/ 4056 h 10667"/>
                  <a:gd name="T72" fmla="*/ 1407 w 10667"/>
                  <a:gd name="T73" fmla="*/ 4399 h 10667"/>
                  <a:gd name="T74" fmla="*/ 1620 w 10667"/>
                  <a:gd name="T75" fmla="*/ 4469 h 10667"/>
                  <a:gd name="T76" fmla="*/ 1410 w 10667"/>
                  <a:gd name="T77" fmla="*/ 5515 h 10667"/>
                  <a:gd name="T78" fmla="*/ 1189 w 10667"/>
                  <a:gd name="T79" fmla="*/ 4467 h 10667"/>
                  <a:gd name="T80" fmla="*/ 728 w 10667"/>
                  <a:gd name="T81" fmla="*/ 5387 h 10667"/>
                  <a:gd name="T82" fmla="*/ 967 w 10667"/>
                  <a:gd name="T83" fmla="*/ 5399 h 10667"/>
                  <a:gd name="T84" fmla="*/ 1088 w 10667"/>
                  <a:gd name="T85" fmla="*/ 5407 h 10667"/>
                  <a:gd name="T86" fmla="*/ 1148 w 10667"/>
                  <a:gd name="T87" fmla="*/ 6944 h 10667"/>
                  <a:gd name="T88" fmla="*/ 1411 w 10667"/>
                  <a:gd name="T89" fmla="*/ 5714 h 10667"/>
                  <a:gd name="T90" fmla="*/ 1671 w 10667"/>
                  <a:gd name="T91" fmla="*/ 6954 h 10667"/>
                  <a:gd name="T92" fmla="*/ 1743 w 10667"/>
                  <a:gd name="T93" fmla="*/ 5493 h 10667"/>
                  <a:gd name="T94" fmla="*/ 1838 w 10667"/>
                  <a:gd name="T95" fmla="*/ 5396 h 10667"/>
                  <a:gd name="T96" fmla="*/ 1780 w 10667"/>
                  <a:gd name="T97" fmla="*/ 4561 h 10667"/>
                  <a:gd name="T98" fmla="*/ 1813 w 10667"/>
                  <a:gd name="T99" fmla="*/ 7185 h 10667"/>
                  <a:gd name="T100" fmla="*/ 1394 w 10667"/>
                  <a:gd name="T101" fmla="*/ 7228 h 10667"/>
                  <a:gd name="T102" fmla="*/ 830 w 10667"/>
                  <a:gd name="T103" fmla="*/ 6602 h 10667"/>
                  <a:gd name="T104" fmla="*/ 2805 w 10667"/>
                  <a:gd name="T105" fmla="*/ 7058 h 10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67" h="10667">
                    <a:moveTo>
                      <a:pt x="8929" y="4056"/>
                    </a:moveTo>
                    <a:cubicBezTo>
                      <a:pt x="8929" y="3866"/>
                      <a:pt x="9081" y="3713"/>
                      <a:pt x="9268" y="3713"/>
                    </a:cubicBezTo>
                    <a:cubicBezTo>
                      <a:pt x="9456" y="3713"/>
                      <a:pt x="9608" y="3866"/>
                      <a:pt x="9608" y="4056"/>
                    </a:cubicBezTo>
                    <a:cubicBezTo>
                      <a:pt x="9608" y="4246"/>
                      <a:pt x="9456" y="4399"/>
                      <a:pt x="9268" y="4399"/>
                    </a:cubicBezTo>
                    <a:cubicBezTo>
                      <a:pt x="9081" y="4399"/>
                      <a:pt x="8929" y="4246"/>
                      <a:pt x="8929" y="4056"/>
                    </a:cubicBezTo>
                    <a:close/>
                    <a:moveTo>
                      <a:pt x="9642" y="4561"/>
                    </a:moveTo>
                    <a:cubicBezTo>
                      <a:pt x="9592" y="4523"/>
                      <a:pt x="9541" y="4489"/>
                      <a:pt x="9482" y="4469"/>
                    </a:cubicBezTo>
                    <a:cubicBezTo>
                      <a:pt x="9427" y="4449"/>
                      <a:pt x="9369" y="4439"/>
                      <a:pt x="9310" y="4434"/>
                    </a:cubicBezTo>
                    <a:lnTo>
                      <a:pt x="9398" y="5365"/>
                    </a:lnTo>
                    <a:lnTo>
                      <a:pt x="9272" y="5515"/>
                    </a:lnTo>
                    <a:lnTo>
                      <a:pt x="9127" y="5365"/>
                    </a:lnTo>
                    <a:lnTo>
                      <a:pt x="9237" y="4433"/>
                    </a:lnTo>
                    <a:cubicBezTo>
                      <a:pt x="9173" y="4435"/>
                      <a:pt x="9110" y="4446"/>
                      <a:pt x="9050" y="4467"/>
                    </a:cubicBezTo>
                    <a:cubicBezTo>
                      <a:pt x="9025" y="4476"/>
                      <a:pt x="9002" y="4487"/>
                      <a:pt x="8979" y="4500"/>
                    </a:cubicBezTo>
                    <a:cubicBezTo>
                      <a:pt x="8940" y="4523"/>
                      <a:pt x="8903" y="4551"/>
                      <a:pt x="8869" y="4582"/>
                    </a:cubicBezTo>
                    <a:cubicBezTo>
                      <a:pt x="8700" y="4734"/>
                      <a:pt x="8609" y="4997"/>
                      <a:pt x="8589" y="5387"/>
                    </a:cubicBezTo>
                    <a:cubicBezTo>
                      <a:pt x="8586" y="5454"/>
                      <a:pt x="8637" y="5511"/>
                      <a:pt x="8703" y="5514"/>
                    </a:cubicBezTo>
                    <a:cubicBezTo>
                      <a:pt x="8705" y="5514"/>
                      <a:pt x="8707" y="5514"/>
                      <a:pt x="8709" y="5514"/>
                    </a:cubicBezTo>
                    <a:cubicBezTo>
                      <a:pt x="8772" y="5514"/>
                      <a:pt x="8825" y="5464"/>
                      <a:pt x="8828" y="5399"/>
                    </a:cubicBezTo>
                    <a:cubicBezTo>
                      <a:pt x="8842" y="5135"/>
                      <a:pt x="8893" y="4938"/>
                      <a:pt x="8978" y="4821"/>
                    </a:cubicBezTo>
                    <a:cubicBezTo>
                      <a:pt x="8972" y="4944"/>
                      <a:pt x="8961" y="5167"/>
                      <a:pt x="8952" y="5395"/>
                    </a:cubicBezTo>
                    <a:cubicBezTo>
                      <a:pt x="8951" y="5399"/>
                      <a:pt x="8950" y="5403"/>
                      <a:pt x="8950" y="5407"/>
                    </a:cubicBezTo>
                    <a:lnTo>
                      <a:pt x="8854" y="6776"/>
                    </a:lnTo>
                    <a:cubicBezTo>
                      <a:pt x="8848" y="6863"/>
                      <a:pt x="8912" y="6938"/>
                      <a:pt x="8998" y="6944"/>
                    </a:cubicBezTo>
                    <a:cubicBezTo>
                      <a:pt x="9002" y="6944"/>
                      <a:pt x="9005" y="6944"/>
                      <a:pt x="9009" y="6944"/>
                    </a:cubicBezTo>
                    <a:cubicBezTo>
                      <a:pt x="9090" y="6944"/>
                      <a:pt x="9158" y="6881"/>
                      <a:pt x="9163" y="6798"/>
                    </a:cubicBezTo>
                    <a:lnTo>
                      <a:pt x="9239" y="5720"/>
                    </a:lnTo>
                    <a:cubicBezTo>
                      <a:pt x="9251" y="5717"/>
                      <a:pt x="9262" y="5714"/>
                      <a:pt x="9273" y="5714"/>
                    </a:cubicBezTo>
                    <a:cubicBezTo>
                      <a:pt x="9284" y="5714"/>
                      <a:pt x="9296" y="5716"/>
                      <a:pt x="9307" y="5717"/>
                    </a:cubicBezTo>
                    <a:lnTo>
                      <a:pt x="9377" y="6807"/>
                    </a:lnTo>
                    <a:cubicBezTo>
                      <a:pt x="9382" y="6890"/>
                      <a:pt x="9451" y="6954"/>
                      <a:pt x="9532" y="6954"/>
                    </a:cubicBezTo>
                    <a:cubicBezTo>
                      <a:pt x="9535" y="6954"/>
                      <a:pt x="9539" y="6954"/>
                      <a:pt x="9542" y="6954"/>
                    </a:cubicBezTo>
                    <a:cubicBezTo>
                      <a:pt x="9628" y="6948"/>
                      <a:pt x="9692" y="6873"/>
                      <a:pt x="9687" y="6787"/>
                    </a:cubicBezTo>
                    <a:lnTo>
                      <a:pt x="9604" y="5493"/>
                    </a:lnTo>
                    <a:cubicBezTo>
                      <a:pt x="9604" y="5486"/>
                      <a:pt x="9602" y="5479"/>
                      <a:pt x="9601" y="5472"/>
                    </a:cubicBezTo>
                    <a:cubicBezTo>
                      <a:pt x="9594" y="5274"/>
                      <a:pt x="9571" y="4981"/>
                      <a:pt x="9559" y="4821"/>
                    </a:cubicBezTo>
                    <a:cubicBezTo>
                      <a:pt x="9645" y="4939"/>
                      <a:pt x="9694" y="5134"/>
                      <a:pt x="9700" y="5396"/>
                    </a:cubicBezTo>
                    <a:cubicBezTo>
                      <a:pt x="9701" y="5462"/>
                      <a:pt x="9754" y="5514"/>
                      <a:pt x="9822" y="5514"/>
                    </a:cubicBezTo>
                    <a:cubicBezTo>
                      <a:pt x="9888" y="5513"/>
                      <a:pt x="9940" y="5458"/>
                      <a:pt x="9939" y="5391"/>
                    </a:cubicBezTo>
                    <a:cubicBezTo>
                      <a:pt x="9931" y="4988"/>
                      <a:pt x="9831" y="4709"/>
                      <a:pt x="9642" y="4561"/>
                    </a:cubicBezTo>
                    <a:close/>
                    <a:moveTo>
                      <a:pt x="5448" y="2261"/>
                    </a:moveTo>
                    <a:cubicBezTo>
                      <a:pt x="6065" y="2261"/>
                      <a:pt x="6566" y="1755"/>
                      <a:pt x="6566" y="1130"/>
                    </a:cubicBezTo>
                    <a:cubicBezTo>
                      <a:pt x="6566" y="506"/>
                      <a:pt x="6065" y="0"/>
                      <a:pt x="5448" y="0"/>
                    </a:cubicBezTo>
                    <a:cubicBezTo>
                      <a:pt x="4832" y="0"/>
                      <a:pt x="4332" y="506"/>
                      <a:pt x="4332" y="1130"/>
                    </a:cubicBezTo>
                    <a:cubicBezTo>
                      <a:pt x="4332" y="1755"/>
                      <a:pt x="4832" y="2261"/>
                      <a:pt x="5448" y="2261"/>
                    </a:cubicBezTo>
                    <a:close/>
                    <a:moveTo>
                      <a:pt x="9566" y="9187"/>
                    </a:moveTo>
                    <a:cubicBezTo>
                      <a:pt x="9566" y="8589"/>
                      <a:pt x="8569" y="8079"/>
                      <a:pt x="7146" y="7846"/>
                    </a:cubicBezTo>
                    <a:lnTo>
                      <a:pt x="7197" y="8282"/>
                    </a:lnTo>
                    <a:cubicBezTo>
                      <a:pt x="7559" y="8431"/>
                      <a:pt x="7781" y="8624"/>
                      <a:pt x="7781" y="8836"/>
                    </a:cubicBezTo>
                    <a:cubicBezTo>
                      <a:pt x="7781" y="9120"/>
                      <a:pt x="7386" y="9369"/>
                      <a:pt x="6788" y="9523"/>
                    </a:cubicBezTo>
                    <a:lnTo>
                      <a:pt x="6553" y="5860"/>
                    </a:lnTo>
                    <a:cubicBezTo>
                      <a:pt x="6552" y="5836"/>
                      <a:pt x="6547" y="5814"/>
                      <a:pt x="6542" y="5791"/>
                    </a:cubicBezTo>
                    <a:cubicBezTo>
                      <a:pt x="6519" y="5139"/>
                      <a:pt x="6446" y="4174"/>
                      <a:pt x="6403" y="3649"/>
                    </a:cubicBezTo>
                    <a:cubicBezTo>
                      <a:pt x="6689" y="4036"/>
                      <a:pt x="6850" y="4677"/>
                      <a:pt x="6867" y="5540"/>
                    </a:cubicBezTo>
                    <a:cubicBezTo>
                      <a:pt x="6872" y="5758"/>
                      <a:pt x="7047" y="5931"/>
                      <a:pt x="7269" y="5931"/>
                    </a:cubicBezTo>
                    <a:cubicBezTo>
                      <a:pt x="7487" y="5926"/>
                      <a:pt x="7660" y="5744"/>
                      <a:pt x="7655" y="5524"/>
                    </a:cubicBezTo>
                    <a:cubicBezTo>
                      <a:pt x="7628" y="4200"/>
                      <a:pt x="7299" y="3281"/>
                      <a:pt x="6677" y="2794"/>
                    </a:cubicBezTo>
                    <a:cubicBezTo>
                      <a:pt x="6515" y="2666"/>
                      <a:pt x="6346" y="2557"/>
                      <a:pt x="6150" y="2489"/>
                    </a:cubicBezTo>
                    <a:cubicBezTo>
                      <a:pt x="5969" y="2425"/>
                      <a:pt x="5778" y="2390"/>
                      <a:pt x="5587" y="2376"/>
                    </a:cubicBezTo>
                    <a:lnTo>
                      <a:pt x="5875" y="5440"/>
                    </a:lnTo>
                    <a:lnTo>
                      <a:pt x="5459" y="5934"/>
                    </a:lnTo>
                    <a:lnTo>
                      <a:pt x="4983" y="5440"/>
                    </a:lnTo>
                    <a:lnTo>
                      <a:pt x="5344" y="2372"/>
                    </a:lnTo>
                    <a:cubicBezTo>
                      <a:pt x="5135" y="2379"/>
                      <a:pt x="4926" y="2413"/>
                      <a:pt x="4729" y="2484"/>
                    </a:cubicBezTo>
                    <a:cubicBezTo>
                      <a:pt x="4648" y="2513"/>
                      <a:pt x="4570" y="2548"/>
                      <a:pt x="4496" y="2592"/>
                    </a:cubicBezTo>
                    <a:cubicBezTo>
                      <a:pt x="4366" y="2669"/>
                      <a:pt x="4247" y="2762"/>
                      <a:pt x="4134" y="2863"/>
                    </a:cubicBezTo>
                    <a:cubicBezTo>
                      <a:pt x="3578" y="3362"/>
                      <a:pt x="3276" y="4228"/>
                      <a:pt x="3213" y="5512"/>
                    </a:cubicBezTo>
                    <a:cubicBezTo>
                      <a:pt x="3202" y="5732"/>
                      <a:pt x="3369" y="5919"/>
                      <a:pt x="3586" y="5930"/>
                    </a:cubicBezTo>
                    <a:cubicBezTo>
                      <a:pt x="3593" y="5931"/>
                      <a:pt x="3600" y="5931"/>
                      <a:pt x="3606" y="5931"/>
                    </a:cubicBezTo>
                    <a:cubicBezTo>
                      <a:pt x="3815" y="5931"/>
                      <a:pt x="3989" y="5765"/>
                      <a:pt x="4000" y="5552"/>
                    </a:cubicBezTo>
                    <a:cubicBezTo>
                      <a:pt x="4043" y="4683"/>
                      <a:pt x="4213" y="4034"/>
                      <a:pt x="4493" y="3649"/>
                    </a:cubicBezTo>
                    <a:cubicBezTo>
                      <a:pt x="4473" y="4053"/>
                      <a:pt x="4437" y="4787"/>
                      <a:pt x="4406" y="5536"/>
                    </a:cubicBezTo>
                    <a:cubicBezTo>
                      <a:pt x="4404" y="5550"/>
                      <a:pt x="4400" y="5563"/>
                      <a:pt x="4399" y="5577"/>
                    </a:cubicBezTo>
                    <a:lnTo>
                      <a:pt x="4121" y="9550"/>
                    </a:lnTo>
                    <a:cubicBezTo>
                      <a:pt x="3469" y="9398"/>
                      <a:pt x="3036" y="9136"/>
                      <a:pt x="3036" y="8836"/>
                    </a:cubicBezTo>
                    <a:cubicBezTo>
                      <a:pt x="3036" y="8606"/>
                      <a:pt x="3298" y="8398"/>
                      <a:pt x="3715" y="8245"/>
                    </a:cubicBezTo>
                    <a:lnTo>
                      <a:pt x="3745" y="7843"/>
                    </a:lnTo>
                    <a:cubicBezTo>
                      <a:pt x="2309" y="8075"/>
                      <a:pt x="1301" y="8586"/>
                      <a:pt x="1301" y="9187"/>
                    </a:cubicBezTo>
                    <a:cubicBezTo>
                      <a:pt x="1301" y="9666"/>
                      <a:pt x="1867" y="9963"/>
                      <a:pt x="2241" y="10125"/>
                    </a:cubicBezTo>
                    <a:cubicBezTo>
                      <a:pt x="2579" y="10272"/>
                      <a:pt x="2936" y="10374"/>
                      <a:pt x="3295" y="10452"/>
                    </a:cubicBezTo>
                    <a:cubicBezTo>
                      <a:pt x="3509" y="10498"/>
                      <a:pt x="3725" y="10536"/>
                      <a:pt x="3942" y="10566"/>
                    </a:cubicBezTo>
                    <a:cubicBezTo>
                      <a:pt x="4438" y="10635"/>
                      <a:pt x="4931" y="10667"/>
                      <a:pt x="5434" y="10667"/>
                    </a:cubicBezTo>
                    <a:cubicBezTo>
                      <a:pt x="5609" y="10667"/>
                      <a:pt x="5784" y="10662"/>
                      <a:pt x="5959" y="10654"/>
                    </a:cubicBezTo>
                    <a:cubicBezTo>
                      <a:pt x="6767" y="10615"/>
                      <a:pt x="7596" y="10506"/>
                      <a:pt x="8368" y="10227"/>
                    </a:cubicBezTo>
                    <a:cubicBezTo>
                      <a:pt x="8794" y="10073"/>
                      <a:pt x="9463" y="9799"/>
                      <a:pt x="9557" y="9286"/>
                    </a:cubicBezTo>
                    <a:cubicBezTo>
                      <a:pt x="9563" y="9253"/>
                      <a:pt x="9566" y="9220"/>
                      <a:pt x="9566" y="9187"/>
                    </a:cubicBezTo>
                    <a:close/>
                    <a:moveTo>
                      <a:pt x="5409" y="9687"/>
                    </a:moveTo>
                    <a:cubicBezTo>
                      <a:pt x="5316" y="9687"/>
                      <a:pt x="5226" y="9685"/>
                      <a:pt x="5136" y="9681"/>
                    </a:cubicBezTo>
                    <a:lnTo>
                      <a:pt x="5351" y="6608"/>
                    </a:lnTo>
                    <a:cubicBezTo>
                      <a:pt x="5390" y="6597"/>
                      <a:pt x="5429" y="6588"/>
                      <a:pt x="5462" y="6588"/>
                    </a:cubicBezTo>
                    <a:cubicBezTo>
                      <a:pt x="5501" y="6588"/>
                      <a:pt x="5539" y="6595"/>
                      <a:pt x="5577" y="6599"/>
                    </a:cubicBezTo>
                    <a:lnTo>
                      <a:pt x="5773" y="9671"/>
                    </a:lnTo>
                    <a:cubicBezTo>
                      <a:pt x="5653" y="9678"/>
                      <a:pt x="5535" y="9687"/>
                      <a:pt x="5409" y="9687"/>
                    </a:cubicBezTo>
                    <a:close/>
                    <a:moveTo>
                      <a:pt x="9863" y="6751"/>
                    </a:moveTo>
                    <a:cubicBezTo>
                      <a:pt x="9985" y="6801"/>
                      <a:pt x="10061" y="6867"/>
                      <a:pt x="10061" y="6939"/>
                    </a:cubicBezTo>
                    <a:cubicBezTo>
                      <a:pt x="10061" y="7043"/>
                      <a:pt x="9905" y="7134"/>
                      <a:pt x="9674" y="7185"/>
                    </a:cubicBezTo>
                    <a:cubicBezTo>
                      <a:pt x="9657" y="7190"/>
                      <a:pt x="9638" y="7195"/>
                      <a:pt x="9619" y="7197"/>
                    </a:cubicBezTo>
                    <a:cubicBezTo>
                      <a:pt x="9614" y="7198"/>
                      <a:pt x="9609" y="7198"/>
                      <a:pt x="9605" y="7198"/>
                    </a:cubicBezTo>
                    <a:cubicBezTo>
                      <a:pt x="9499" y="7217"/>
                      <a:pt x="9382" y="7228"/>
                      <a:pt x="9255" y="7228"/>
                    </a:cubicBezTo>
                    <a:cubicBezTo>
                      <a:pt x="8811" y="7228"/>
                      <a:pt x="8451" y="7098"/>
                      <a:pt x="8451" y="6939"/>
                    </a:cubicBezTo>
                    <a:cubicBezTo>
                      <a:pt x="8451" y="6861"/>
                      <a:pt x="8539" y="6790"/>
                      <a:pt x="8681" y="6739"/>
                    </a:cubicBezTo>
                    <a:lnTo>
                      <a:pt x="8691" y="6602"/>
                    </a:lnTo>
                    <a:cubicBezTo>
                      <a:pt x="8203" y="6681"/>
                      <a:pt x="7861" y="6854"/>
                      <a:pt x="7861" y="7058"/>
                    </a:cubicBezTo>
                    <a:cubicBezTo>
                      <a:pt x="7861" y="7335"/>
                      <a:pt x="8489" y="7560"/>
                      <a:pt x="9264" y="7560"/>
                    </a:cubicBezTo>
                    <a:cubicBezTo>
                      <a:pt x="10039" y="7560"/>
                      <a:pt x="10667" y="7335"/>
                      <a:pt x="10667" y="7058"/>
                    </a:cubicBezTo>
                    <a:cubicBezTo>
                      <a:pt x="10667" y="6855"/>
                      <a:pt x="10328" y="6682"/>
                      <a:pt x="9845" y="6603"/>
                    </a:cubicBezTo>
                    <a:lnTo>
                      <a:pt x="9863" y="6751"/>
                    </a:lnTo>
                    <a:close/>
                    <a:moveTo>
                      <a:pt x="1068" y="4056"/>
                    </a:moveTo>
                    <a:cubicBezTo>
                      <a:pt x="1068" y="3866"/>
                      <a:pt x="1220" y="3713"/>
                      <a:pt x="1407" y="3713"/>
                    </a:cubicBezTo>
                    <a:cubicBezTo>
                      <a:pt x="1594" y="3713"/>
                      <a:pt x="1747" y="3866"/>
                      <a:pt x="1747" y="4056"/>
                    </a:cubicBezTo>
                    <a:cubicBezTo>
                      <a:pt x="1747" y="4246"/>
                      <a:pt x="1594" y="4399"/>
                      <a:pt x="1407" y="4399"/>
                    </a:cubicBezTo>
                    <a:cubicBezTo>
                      <a:pt x="1220" y="4399"/>
                      <a:pt x="1068" y="4246"/>
                      <a:pt x="1068" y="4056"/>
                    </a:cubicBezTo>
                    <a:close/>
                    <a:moveTo>
                      <a:pt x="1780" y="4561"/>
                    </a:moveTo>
                    <a:cubicBezTo>
                      <a:pt x="1731" y="4523"/>
                      <a:pt x="1680" y="4489"/>
                      <a:pt x="1620" y="4469"/>
                    </a:cubicBezTo>
                    <a:cubicBezTo>
                      <a:pt x="1565" y="4449"/>
                      <a:pt x="1507" y="4439"/>
                      <a:pt x="1449" y="4434"/>
                    </a:cubicBezTo>
                    <a:lnTo>
                      <a:pt x="1537" y="5365"/>
                    </a:lnTo>
                    <a:lnTo>
                      <a:pt x="1410" y="5515"/>
                    </a:lnTo>
                    <a:lnTo>
                      <a:pt x="1266" y="5365"/>
                    </a:lnTo>
                    <a:lnTo>
                      <a:pt x="1376" y="4433"/>
                    </a:lnTo>
                    <a:cubicBezTo>
                      <a:pt x="1312" y="4435"/>
                      <a:pt x="1248" y="4446"/>
                      <a:pt x="1189" y="4467"/>
                    </a:cubicBezTo>
                    <a:cubicBezTo>
                      <a:pt x="1164" y="4476"/>
                      <a:pt x="1140" y="4487"/>
                      <a:pt x="1118" y="4500"/>
                    </a:cubicBezTo>
                    <a:cubicBezTo>
                      <a:pt x="1078" y="4523"/>
                      <a:pt x="1042" y="4551"/>
                      <a:pt x="1008" y="4582"/>
                    </a:cubicBezTo>
                    <a:cubicBezTo>
                      <a:pt x="839" y="4734"/>
                      <a:pt x="747" y="4997"/>
                      <a:pt x="728" y="5387"/>
                    </a:cubicBezTo>
                    <a:cubicBezTo>
                      <a:pt x="725" y="5454"/>
                      <a:pt x="775" y="5511"/>
                      <a:pt x="841" y="5514"/>
                    </a:cubicBezTo>
                    <a:cubicBezTo>
                      <a:pt x="843" y="5514"/>
                      <a:pt x="845" y="5514"/>
                      <a:pt x="848" y="5514"/>
                    </a:cubicBezTo>
                    <a:cubicBezTo>
                      <a:pt x="911" y="5514"/>
                      <a:pt x="964" y="5464"/>
                      <a:pt x="967" y="5399"/>
                    </a:cubicBezTo>
                    <a:cubicBezTo>
                      <a:pt x="980" y="5135"/>
                      <a:pt x="1032" y="4938"/>
                      <a:pt x="1117" y="4821"/>
                    </a:cubicBezTo>
                    <a:cubicBezTo>
                      <a:pt x="1111" y="4944"/>
                      <a:pt x="1100" y="5167"/>
                      <a:pt x="1090" y="5395"/>
                    </a:cubicBezTo>
                    <a:cubicBezTo>
                      <a:pt x="1090" y="5399"/>
                      <a:pt x="1089" y="5403"/>
                      <a:pt x="1088" y="5407"/>
                    </a:cubicBezTo>
                    <a:lnTo>
                      <a:pt x="993" y="6776"/>
                    </a:lnTo>
                    <a:cubicBezTo>
                      <a:pt x="987" y="6863"/>
                      <a:pt x="1051" y="6938"/>
                      <a:pt x="1136" y="6944"/>
                    </a:cubicBezTo>
                    <a:cubicBezTo>
                      <a:pt x="1140" y="6944"/>
                      <a:pt x="1144" y="6944"/>
                      <a:pt x="1148" y="6944"/>
                    </a:cubicBezTo>
                    <a:cubicBezTo>
                      <a:pt x="1228" y="6944"/>
                      <a:pt x="1296" y="6881"/>
                      <a:pt x="1302" y="6798"/>
                    </a:cubicBezTo>
                    <a:lnTo>
                      <a:pt x="1378" y="5720"/>
                    </a:lnTo>
                    <a:cubicBezTo>
                      <a:pt x="1389" y="5717"/>
                      <a:pt x="1401" y="5714"/>
                      <a:pt x="1411" y="5714"/>
                    </a:cubicBezTo>
                    <a:cubicBezTo>
                      <a:pt x="1423" y="5714"/>
                      <a:pt x="1435" y="5716"/>
                      <a:pt x="1446" y="5717"/>
                    </a:cubicBezTo>
                    <a:lnTo>
                      <a:pt x="1516" y="6807"/>
                    </a:lnTo>
                    <a:cubicBezTo>
                      <a:pt x="1521" y="6890"/>
                      <a:pt x="1589" y="6954"/>
                      <a:pt x="1671" y="6954"/>
                    </a:cubicBezTo>
                    <a:cubicBezTo>
                      <a:pt x="1674" y="6954"/>
                      <a:pt x="1677" y="6954"/>
                      <a:pt x="1681" y="6954"/>
                    </a:cubicBezTo>
                    <a:cubicBezTo>
                      <a:pt x="1766" y="6948"/>
                      <a:pt x="1831" y="6873"/>
                      <a:pt x="1826" y="6787"/>
                    </a:cubicBezTo>
                    <a:lnTo>
                      <a:pt x="1743" y="5493"/>
                    </a:lnTo>
                    <a:cubicBezTo>
                      <a:pt x="1742" y="5486"/>
                      <a:pt x="1741" y="5479"/>
                      <a:pt x="1739" y="5472"/>
                    </a:cubicBezTo>
                    <a:cubicBezTo>
                      <a:pt x="1732" y="5274"/>
                      <a:pt x="1710" y="4981"/>
                      <a:pt x="1697" y="4821"/>
                    </a:cubicBezTo>
                    <a:cubicBezTo>
                      <a:pt x="1784" y="4939"/>
                      <a:pt x="1833" y="5134"/>
                      <a:pt x="1838" y="5396"/>
                    </a:cubicBezTo>
                    <a:cubicBezTo>
                      <a:pt x="1840" y="5462"/>
                      <a:pt x="1893" y="5514"/>
                      <a:pt x="1960" y="5514"/>
                    </a:cubicBezTo>
                    <a:cubicBezTo>
                      <a:pt x="2027" y="5513"/>
                      <a:pt x="2079" y="5458"/>
                      <a:pt x="2078" y="5391"/>
                    </a:cubicBezTo>
                    <a:cubicBezTo>
                      <a:pt x="2069" y="4988"/>
                      <a:pt x="1969" y="4709"/>
                      <a:pt x="1780" y="4561"/>
                    </a:cubicBezTo>
                    <a:close/>
                    <a:moveTo>
                      <a:pt x="2002" y="6751"/>
                    </a:moveTo>
                    <a:cubicBezTo>
                      <a:pt x="2124" y="6801"/>
                      <a:pt x="2200" y="6867"/>
                      <a:pt x="2200" y="6939"/>
                    </a:cubicBezTo>
                    <a:cubicBezTo>
                      <a:pt x="2200" y="7043"/>
                      <a:pt x="2044" y="7134"/>
                      <a:pt x="1813" y="7185"/>
                    </a:cubicBezTo>
                    <a:cubicBezTo>
                      <a:pt x="1795" y="7190"/>
                      <a:pt x="1777" y="7195"/>
                      <a:pt x="1758" y="7197"/>
                    </a:cubicBezTo>
                    <a:cubicBezTo>
                      <a:pt x="1753" y="7198"/>
                      <a:pt x="1748" y="7198"/>
                      <a:pt x="1743" y="7198"/>
                    </a:cubicBezTo>
                    <a:cubicBezTo>
                      <a:pt x="1637" y="7217"/>
                      <a:pt x="1520" y="7228"/>
                      <a:pt x="1394" y="7228"/>
                    </a:cubicBezTo>
                    <a:cubicBezTo>
                      <a:pt x="950" y="7228"/>
                      <a:pt x="589" y="7098"/>
                      <a:pt x="589" y="6939"/>
                    </a:cubicBezTo>
                    <a:cubicBezTo>
                      <a:pt x="589" y="6861"/>
                      <a:pt x="678" y="6790"/>
                      <a:pt x="820" y="6739"/>
                    </a:cubicBezTo>
                    <a:lnTo>
                      <a:pt x="830" y="6602"/>
                    </a:lnTo>
                    <a:cubicBezTo>
                      <a:pt x="342" y="6681"/>
                      <a:pt x="0" y="6854"/>
                      <a:pt x="0" y="7058"/>
                    </a:cubicBezTo>
                    <a:cubicBezTo>
                      <a:pt x="0" y="7335"/>
                      <a:pt x="628" y="7560"/>
                      <a:pt x="1403" y="7560"/>
                    </a:cubicBezTo>
                    <a:cubicBezTo>
                      <a:pt x="2177" y="7560"/>
                      <a:pt x="2805" y="7335"/>
                      <a:pt x="2805" y="7058"/>
                    </a:cubicBezTo>
                    <a:cubicBezTo>
                      <a:pt x="2805" y="6855"/>
                      <a:pt x="2467" y="6682"/>
                      <a:pt x="1984" y="6603"/>
                    </a:cubicBezTo>
                    <a:lnTo>
                      <a:pt x="2002" y="6751"/>
                    </a:lnTo>
                    <a:close/>
                  </a:path>
                </a:pathLst>
              </a:custGeom>
              <a:solidFill>
                <a:schemeClr val="accent1"/>
              </a:solidFill>
              <a:ln w="9525">
                <a:noFill/>
                <a:round/>
              </a:ln>
            </p:spPr>
            <p:txBody>
              <a:bodyPr lIns="0" tIns="0" rIns="0" bIns="0" anchor="ctr"/>
              <a:lstStyle/>
              <a:p>
                <a:pPr algn="ctr"/>
                <a:endParaRPr/>
              </a:p>
            </p:txBody>
          </p:sp>
        </p:grpSp>
        <p:grpSp>
          <p:nvGrpSpPr>
            <p:cNvPr id="11" name="îṩ1îḋè">
              <a:extLst>
                <a:ext uri="{FF2B5EF4-FFF2-40B4-BE49-F238E27FC236}">
                  <a16:creationId xmlns:a16="http://schemas.microsoft.com/office/drawing/2014/main" id="{21750EF2-802B-4AD7-8D53-D8E72516D54C}"/>
                </a:ext>
              </a:extLst>
            </p:cNvPr>
            <p:cNvGrpSpPr/>
            <p:nvPr/>
          </p:nvGrpSpPr>
          <p:grpSpPr>
            <a:xfrm>
              <a:off x="9904442" y="3069772"/>
              <a:ext cx="706024" cy="706024"/>
              <a:chOff x="2077663" y="2690079"/>
              <a:chExt cx="980218" cy="980218"/>
            </a:xfrm>
          </p:grpSpPr>
          <p:sp>
            <p:nvSpPr>
              <p:cNvPr id="27" name="iṣḻïḍè">
                <a:extLst>
                  <a:ext uri="{FF2B5EF4-FFF2-40B4-BE49-F238E27FC236}">
                    <a16:creationId xmlns:a16="http://schemas.microsoft.com/office/drawing/2014/main" id="{856D5ED0-2654-43D0-826D-7CE2DED0810C}"/>
                  </a:ext>
                </a:extLst>
              </p:cNvPr>
              <p:cNvSpPr/>
              <p:nvPr/>
            </p:nvSpPr>
            <p:spPr>
              <a:xfrm>
                <a:off x="2077663" y="2690079"/>
                <a:ext cx="980218" cy="980218"/>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endParaRPr/>
              </a:p>
            </p:txBody>
          </p:sp>
          <p:sp>
            <p:nvSpPr>
              <p:cNvPr id="28" name="íṩḷîḑè">
                <a:extLst>
                  <a:ext uri="{FF2B5EF4-FFF2-40B4-BE49-F238E27FC236}">
                    <a16:creationId xmlns:a16="http://schemas.microsoft.com/office/drawing/2014/main" id="{50C1BCF7-57E4-41C6-9FE7-FEAFFE86B7E1}"/>
                  </a:ext>
                </a:extLst>
              </p:cNvPr>
              <p:cNvSpPr/>
              <p:nvPr/>
            </p:nvSpPr>
            <p:spPr bwMode="auto">
              <a:xfrm>
                <a:off x="2300729" y="2913547"/>
                <a:ext cx="534086" cy="533282"/>
              </a:xfrm>
              <a:custGeom>
                <a:avLst/>
                <a:gdLst>
                  <a:gd name="T0" fmla="*/ 9608 w 10667"/>
                  <a:gd name="T1" fmla="*/ 4056 h 10667"/>
                  <a:gd name="T2" fmla="*/ 9642 w 10667"/>
                  <a:gd name="T3" fmla="*/ 4561 h 10667"/>
                  <a:gd name="T4" fmla="*/ 9398 w 10667"/>
                  <a:gd name="T5" fmla="*/ 5365 h 10667"/>
                  <a:gd name="T6" fmla="*/ 9237 w 10667"/>
                  <a:gd name="T7" fmla="*/ 4433 h 10667"/>
                  <a:gd name="T8" fmla="*/ 8869 w 10667"/>
                  <a:gd name="T9" fmla="*/ 4582 h 10667"/>
                  <a:gd name="T10" fmla="*/ 8709 w 10667"/>
                  <a:gd name="T11" fmla="*/ 5514 h 10667"/>
                  <a:gd name="T12" fmla="*/ 8952 w 10667"/>
                  <a:gd name="T13" fmla="*/ 5395 h 10667"/>
                  <a:gd name="T14" fmla="*/ 8998 w 10667"/>
                  <a:gd name="T15" fmla="*/ 6944 h 10667"/>
                  <a:gd name="T16" fmla="*/ 9239 w 10667"/>
                  <a:gd name="T17" fmla="*/ 5720 h 10667"/>
                  <a:gd name="T18" fmla="*/ 9377 w 10667"/>
                  <a:gd name="T19" fmla="*/ 6807 h 10667"/>
                  <a:gd name="T20" fmla="*/ 9687 w 10667"/>
                  <a:gd name="T21" fmla="*/ 6787 h 10667"/>
                  <a:gd name="T22" fmla="*/ 9559 w 10667"/>
                  <a:gd name="T23" fmla="*/ 4821 h 10667"/>
                  <a:gd name="T24" fmla="*/ 9939 w 10667"/>
                  <a:gd name="T25" fmla="*/ 5391 h 10667"/>
                  <a:gd name="T26" fmla="*/ 6566 w 10667"/>
                  <a:gd name="T27" fmla="*/ 1130 h 10667"/>
                  <a:gd name="T28" fmla="*/ 5448 w 10667"/>
                  <a:gd name="T29" fmla="*/ 2261 h 10667"/>
                  <a:gd name="T30" fmla="*/ 7197 w 10667"/>
                  <a:gd name="T31" fmla="*/ 8282 h 10667"/>
                  <a:gd name="T32" fmla="*/ 6553 w 10667"/>
                  <a:gd name="T33" fmla="*/ 5860 h 10667"/>
                  <a:gd name="T34" fmla="*/ 6867 w 10667"/>
                  <a:gd name="T35" fmla="*/ 5540 h 10667"/>
                  <a:gd name="T36" fmla="*/ 6677 w 10667"/>
                  <a:gd name="T37" fmla="*/ 2794 h 10667"/>
                  <a:gd name="T38" fmla="*/ 5875 w 10667"/>
                  <a:gd name="T39" fmla="*/ 5440 h 10667"/>
                  <a:gd name="T40" fmla="*/ 5344 w 10667"/>
                  <a:gd name="T41" fmla="*/ 2372 h 10667"/>
                  <a:gd name="T42" fmla="*/ 4134 w 10667"/>
                  <a:gd name="T43" fmla="*/ 2863 h 10667"/>
                  <a:gd name="T44" fmla="*/ 3606 w 10667"/>
                  <a:gd name="T45" fmla="*/ 5931 h 10667"/>
                  <a:gd name="T46" fmla="*/ 4406 w 10667"/>
                  <a:gd name="T47" fmla="*/ 5536 h 10667"/>
                  <a:gd name="T48" fmla="*/ 3036 w 10667"/>
                  <a:gd name="T49" fmla="*/ 8836 h 10667"/>
                  <a:gd name="T50" fmla="*/ 1301 w 10667"/>
                  <a:gd name="T51" fmla="*/ 9187 h 10667"/>
                  <a:gd name="T52" fmla="*/ 3942 w 10667"/>
                  <a:gd name="T53" fmla="*/ 10566 h 10667"/>
                  <a:gd name="T54" fmla="*/ 8368 w 10667"/>
                  <a:gd name="T55" fmla="*/ 10227 h 10667"/>
                  <a:gd name="T56" fmla="*/ 5409 w 10667"/>
                  <a:gd name="T57" fmla="*/ 9687 h 10667"/>
                  <a:gd name="T58" fmla="*/ 5462 w 10667"/>
                  <a:gd name="T59" fmla="*/ 6588 h 10667"/>
                  <a:gd name="T60" fmla="*/ 5409 w 10667"/>
                  <a:gd name="T61" fmla="*/ 9687 h 10667"/>
                  <a:gd name="T62" fmla="*/ 9674 w 10667"/>
                  <a:gd name="T63" fmla="*/ 7185 h 10667"/>
                  <a:gd name="T64" fmla="*/ 9255 w 10667"/>
                  <a:gd name="T65" fmla="*/ 7228 h 10667"/>
                  <a:gd name="T66" fmla="*/ 8691 w 10667"/>
                  <a:gd name="T67" fmla="*/ 6602 h 10667"/>
                  <a:gd name="T68" fmla="*/ 10667 w 10667"/>
                  <a:gd name="T69" fmla="*/ 7058 h 10667"/>
                  <a:gd name="T70" fmla="*/ 1068 w 10667"/>
                  <a:gd name="T71" fmla="*/ 4056 h 10667"/>
                  <a:gd name="T72" fmla="*/ 1407 w 10667"/>
                  <a:gd name="T73" fmla="*/ 4399 h 10667"/>
                  <a:gd name="T74" fmla="*/ 1620 w 10667"/>
                  <a:gd name="T75" fmla="*/ 4469 h 10667"/>
                  <a:gd name="T76" fmla="*/ 1410 w 10667"/>
                  <a:gd name="T77" fmla="*/ 5515 h 10667"/>
                  <a:gd name="T78" fmla="*/ 1189 w 10667"/>
                  <a:gd name="T79" fmla="*/ 4467 h 10667"/>
                  <a:gd name="T80" fmla="*/ 728 w 10667"/>
                  <a:gd name="T81" fmla="*/ 5387 h 10667"/>
                  <a:gd name="T82" fmla="*/ 967 w 10667"/>
                  <a:gd name="T83" fmla="*/ 5399 h 10667"/>
                  <a:gd name="T84" fmla="*/ 1088 w 10667"/>
                  <a:gd name="T85" fmla="*/ 5407 h 10667"/>
                  <a:gd name="T86" fmla="*/ 1148 w 10667"/>
                  <a:gd name="T87" fmla="*/ 6944 h 10667"/>
                  <a:gd name="T88" fmla="*/ 1411 w 10667"/>
                  <a:gd name="T89" fmla="*/ 5714 h 10667"/>
                  <a:gd name="T90" fmla="*/ 1671 w 10667"/>
                  <a:gd name="T91" fmla="*/ 6954 h 10667"/>
                  <a:gd name="T92" fmla="*/ 1743 w 10667"/>
                  <a:gd name="T93" fmla="*/ 5493 h 10667"/>
                  <a:gd name="T94" fmla="*/ 1838 w 10667"/>
                  <a:gd name="T95" fmla="*/ 5396 h 10667"/>
                  <a:gd name="T96" fmla="*/ 1780 w 10667"/>
                  <a:gd name="T97" fmla="*/ 4561 h 10667"/>
                  <a:gd name="T98" fmla="*/ 1813 w 10667"/>
                  <a:gd name="T99" fmla="*/ 7185 h 10667"/>
                  <a:gd name="T100" fmla="*/ 1394 w 10667"/>
                  <a:gd name="T101" fmla="*/ 7228 h 10667"/>
                  <a:gd name="T102" fmla="*/ 830 w 10667"/>
                  <a:gd name="T103" fmla="*/ 6602 h 10667"/>
                  <a:gd name="T104" fmla="*/ 2805 w 10667"/>
                  <a:gd name="T105" fmla="*/ 7058 h 10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67" h="10667">
                    <a:moveTo>
                      <a:pt x="8929" y="4056"/>
                    </a:moveTo>
                    <a:cubicBezTo>
                      <a:pt x="8929" y="3866"/>
                      <a:pt x="9081" y="3713"/>
                      <a:pt x="9268" y="3713"/>
                    </a:cubicBezTo>
                    <a:cubicBezTo>
                      <a:pt x="9456" y="3713"/>
                      <a:pt x="9608" y="3866"/>
                      <a:pt x="9608" y="4056"/>
                    </a:cubicBezTo>
                    <a:cubicBezTo>
                      <a:pt x="9608" y="4246"/>
                      <a:pt x="9456" y="4399"/>
                      <a:pt x="9268" y="4399"/>
                    </a:cubicBezTo>
                    <a:cubicBezTo>
                      <a:pt x="9081" y="4399"/>
                      <a:pt x="8929" y="4246"/>
                      <a:pt x="8929" y="4056"/>
                    </a:cubicBezTo>
                    <a:close/>
                    <a:moveTo>
                      <a:pt x="9642" y="4561"/>
                    </a:moveTo>
                    <a:cubicBezTo>
                      <a:pt x="9592" y="4523"/>
                      <a:pt x="9541" y="4489"/>
                      <a:pt x="9482" y="4469"/>
                    </a:cubicBezTo>
                    <a:cubicBezTo>
                      <a:pt x="9427" y="4449"/>
                      <a:pt x="9369" y="4439"/>
                      <a:pt x="9310" y="4434"/>
                    </a:cubicBezTo>
                    <a:lnTo>
                      <a:pt x="9398" y="5365"/>
                    </a:lnTo>
                    <a:lnTo>
                      <a:pt x="9272" y="5515"/>
                    </a:lnTo>
                    <a:lnTo>
                      <a:pt x="9127" y="5365"/>
                    </a:lnTo>
                    <a:lnTo>
                      <a:pt x="9237" y="4433"/>
                    </a:lnTo>
                    <a:cubicBezTo>
                      <a:pt x="9173" y="4435"/>
                      <a:pt x="9110" y="4446"/>
                      <a:pt x="9050" y="4467"/>
                    </a:cubicBezTo>
                    <a:cubicBezTo>
                      <a:pt x="9025" y="4476"/>
                      <a:pt x="9002" y="4487"/>
                      <a:pt x="8979" y="4500"/>
                    </a:cubicBezTo>
                    <a:cubicBezTo>
                      <a:pt x="8940" y="4523"/>
                      <a:pt x="8903" y="4551"/>
                      <a:pt x="8869" y="4582"/>
                    </a:cubicBezTo>
                    <a:cubicBezTo>
                      <a:pt x="8700" y="4734"/>
                      <a:pt x="8609" y="4997"/>
                      <a:pt x="8589" y="5387"/>
                    </a:cubicBezTo>
                    <a:cubicBezTo>
                      <a:pt x="8586" y="5454"/>
                      <a:pt x="8637" y="5511"/>
                      <a:pt x="8703" y="5514"/>
                    </a:cubicBezTo>
                    <a:cubicBezTo>
                      <a:pt x="8705" y="5514"/>
                      <a:pt x="8707" y="5514"/>
                      <a:pt x="8709" y="5514"/>
                    </a:cubicBezTo>
                    <a:cubicBezTo>
                      <a:pt x="8772" y="5514"/>
                      <a:pt x="8825" y="5464"/>
                      <a:pt x="8828" y="5399"/>
                    </a:cubicBezTo>
                    <a:cubicBezTo>
                      <a:pt x="8842" y="5135"/>
                      <a:pt x="8893" y="4938"/>
                      <a:pt x="8978" y="4821"/>
                    </a:cubicBezTo>
                    <a:cubicBezTo>
                      <a:pt x="8972" y="4944"/>
                      <a:pt x="8961" y="5167"/>
                      <a:pt x="8952" y="5395"/>
                    </a:cubicBezTo>
                    <a:cubicBezTo>
                      <a:pt x="8951" y="5399"/>
                      <a:pt x="8950" y="5403"/>
                      <a:pt x="8950" y="5407"/>
                    </a:cubicBezTo>
                    <a:lnTo>
                      <a:pt x="8854" y="6776"/>
                    </a:lnTo>
                    <a:cubicBezTo>
                      <a:pt x="8848" y="6863"/>
                      <a:pt x="8912" y="6938"/>
                      <a:pt x="8998" y="6944"/>
                    </a:cubicBezTo>
                    <a:cubicBezTo>
                      <a:pt x="9002" y="6944"/>
                      <a:pt x="9005" y="6944"/>
                      <a:pt x="9009" y="6944"/>
                    </a:cubicBezTo>
                    <a:cubicBezTo>
                      <a:pt x="9090" y="6944"/>
                      <a:pt x="9158" y="6881"/>
                      <a:pt x="9163" y="6798"/>
                    </a:cubicBezTo>
                    <a:lnTo>
                      <a:pt x="9239" y="5720"/>
                    </a:lnTo>
                    <a:cubicBezTo>
                      <a:pt x="9251" y="5717"/>
                      <a:pt x="9262" y="5714"/>
                      <a:pt x="9273" y="5714"/>
                    </a:cubicBezTo>
                    <a:cubicBezTo>
                      <a:pt x="9284" y="5714"/>
                      <a:pt x="9296" y="5716"/>
                      <a:pt x="9307" y="5717"/>
                    </a:cubicBezTo>
                    <a:lnTo>
                      <a:pt x="9377" y="6807"/>
                    </a:lnTo>
                    <a:cubicBezTo>
                      <a:pt x="9382" y="6890"/>
                      <a:pt x="9451" y="6954"/>
                      <a:pt x="9532" y="6954"/>
                    </a:cubicBezTo>
                    <a:cubicBezTo>
                      <a:pt x="9535" y="6954"/>
                      <a:pt x="9539" y="6954"/>
                      <a:pt x="9542" y="6954"/>
                    </a:cubicBezTo>
                    <a:cubicBezTo>
                      <a:pt x="9628" y="6948"/>
                      <a:pt x="9692" y="6873"/>
                      <a:pt x="9687" y="6787"/>
                    </a:cubicBezTo>
                    <a:lnTo>
                      <a:pt x="9604" y="5493"/>
                    </a:lnTo>
                    <a:cubicBezTo>
                      <a:pt x="9604" y="5486"/>
                      <a:pt x="9602" y="5479"/>
                      <a:pt x="9601" y="5472"/>
                    </a:cubicBezTo>
                    <a:cubicBezTo>
                      <a:pt x="9594" y="5274"/>
                      <a:pt x="9571" y="4981"/>
                      <a:pt x="9559" y="4821"/>
                    </a:cubicBezTo>
                    <a:cubicBezTo>
                      <a:pt x="9645" y="4939"/>
                      <a:pt x="9694" y="5134"/>
                      <a:pt x="9700" y="5396"/>
                    </a:cubicBezTo>
                    <a:cubicBezTo>
                      <a:pt x="9701" y="5462"/>
                      <a:pt x="9754" y="5514"/>
                      <a:pt x="9822" y="5514"/>
                    </a:cubicBezTo>
                    <a:cubicBezTo>
                      <a:pt x="9888" y="5513"/>
                      <a:pt x="9940" y="5458"/>
                      <a:pt x="9939" y="5391"/>
                    </a:cubicBezTo>
                    <a:cubicBezTo>
                      <a:pt x="9931" y="4988"/>
                      <a:pt x="9831" y="4709"/>
                      <a:pt x="9642" y="4561"/>
                    </a:cubicBezTo>
                    <a:close/>
                    <a:moveTo>
                      <a:pt x="5448" y="2261"/>
                    </a:moveTo>
                    <a:cubicBezTo>
                      <a:pt x="6065" y="2261"/>
                      <a:pt x="6566" y="1755"/>
                      <a:pt x="6566" y="1130"/>
                    </a:cubicBezTo>
                    <a:cubicBezTo>
                      <a:pt x="6566" y="506"/>
                      <a:pt x="6065" y="0"/>
                      <a:pt x="5448" y="0"/>
                    </a:cubicBezTo>
                    <a:cubicBezTo>
                      <a:pt x="4832" y="0"/>
                      <a:pt x="4332" y="506"/>
                      <a:pt x="4332" y="1130"/>
                    </a:cubicBezTo>
                    <a:cubicBezTo>
                      <a:pt x="4332" y="1755"/>
                      <a:pt x="4832" y="2261"/>
                      <a:pt x="5448" y="2261"/>
                    </a:cubicBezTo>
                    <a:close/>
                    <a:moveTo>
                      <a:pt x="9566" y="9187"/>
                    </a:moveTo>
                    <a:cubicBezTo>
                      <a:pt x="9566" y="8589"/>
                      <a:pt x="8569" y="8079"/>
                      <a:pt x="7146" y="7846"/>
                    </a:cubicBezTo>
                    <a:lnTo>
                      <a:pt x="7197" y="8282"/>
                    </a:lnTo>
                    <a:cubicBezTo>
                      <a:pt x="7559" y="8431"/>
                      <a:pt x="7781" y="8624"/>
                      <a:pt x="7781" y="8836"/>
                    </a:cubicBezTo>
                    <a:cubicBezTo>
                      <a:pt x="7781" y="9120"/>
                      <a:pt x="7386" y="9369"/>
                      <a:pt x="6788" y="9523"/>
                    </a:cubicBezTo>
                    <a:lnTo>
                      <a:pt x="6553" y="5860"/>
                    </a:lnTo>
                    <a:cubicBezTo>
                      <a:pt x="6552" y="5836"/>
                      <a:pt x="6547" y="5814"/>
                      <a:pt x="6542" y="5791"/>
                    </a:cubicBezTo>
                    <a:cubicBezTo>
                      <a:pt x="6519" y="5139"/>
                      <a:pt x="6446" y="4174"/>
                      <a:pt x="6403" y="3649"/>
                    </a:cubicBezTo>
                    <a:cubicBezTo>
                      <a:pt x="6689" y="4036"/>
                      <a:pt x="6850" y="4677"/>
                      <a:pt x="6867" y="5540"/>
                    </a:cubicBezTo>
                    <a:cubicBezTo>
                      <a:pt x="6872" y="5758"/>
                      <a:pt x="7047" y="5931"/>
                      <a:pt x="7269" y="5931"/>
                    </a:cubicBezTo>
                    <a:cubicBezTo>
                      <a:pt x="7487" y="5926"/>
                      <a:pt x="7660" y="5744"/>
                      <a:pt x="7655" y="5524"/>
                    </a:cubicBezTo>
                    <a:cubicBezTo>
                      <a:pt x="7628" y="4200"/>
                      <a:pt x="7299" y="3281"/>
                      <a:pt x="6677" y="2794"/>
                    </a:cubicBezTo>
                    <a:cubicBezTo>
                      <a:pt x="6515" y="2666"/>
                      <a:pt x="6346" y="2557"/>
                      <a:pt x="6150" y="2489"/>
                    </a:cubicBezTo>
                    <a:cubicBezTo>
                      <a:pt x="5969" y="2425"/>
                      <a:pt x="5778" y="2390"/>
                      <a:pt x="5587" y="2376"/>
                    </a:cubicBezTo>
                    <a:lnTo>
                      <a:pt x="5875" y="5440"/>
                    </a:lnTo>
                    <a:lnTo>
                      <a:pt x="5459" y="5934"/>
                    </a:lnTo>
                    <a:lnTo>
                      <a:pt x="4983" y="5440"/>
                    </a:lnTo>
                    <a:lnTo>
                      <a:pt x="5344" y="2372"/>
                    </a:lnTo>
                    <a:cubicBezTo>
                      <a:pt x="5135" y="2379"/>
                      <a:pt x="4926" y="2413"/>
                      <a:pt x="4729" y="2484"/>
                    </a:cubicBezTo>
                    <a:cubicBezTo>
                      <a:pt x="4648" y="2513"/>
                      <a:pt x="4570" y="2548"/>
                      <a:pt x="4496" y="2592"/>
                    </a:cubicBezTo>
                    <a:cubicBezTo>
                      <a:pt x="4366" y="2669"/>
                      <a:pt x="4247" y="2762"/>
                      <a:pt x="4134" y="2863"/>
                    </a:cubicBezTo>
                    <a:cubicBezTo>
                      <a:pt x="3578" y="3362"/>
                      <a:pt x="3276" y="4228"/>
                      <a:pt x="3213" y="5512"/>
                    </a:cubicBezTo>
                    <a:cubicBezTo>
                      <a:pt x="3202" y="5732"/>
                      <a:pt x="3369" y="5919"/>
                      <a:pt x="3586" y="5930"/>
                    </a:cubicBezTo>
                    <a:cubicBezTo>
                      <a:pt x="3593" y="5931"/>
                      <a:pt x="3600" y="5931"/>
                      <a:pt x="3606" y="5931"/>
                    </a:cubicBezTo>
                    <a:cubicBezTo>
                      <a:pt x="3815" y="5931"/>
                      <a:pt x="3989" y="5765"/>
                      <a:pt x="4000" y="5552"/>
                    </a:cubicBezTo>
                    <a:cubicBezTo>
                      <a:pt x="4043" y="4683"/>
                      <a:pt x="4213" y="4034"/>
                      <a:pt x="4493" y="3649"/>
                    </a:cubicBezTo>
                    <a:cubicBezTo>
                      <a:pt x="4473" y="4053"/>
                      <a:pt x="4437" y="4787"/>
                      <a:pt x="4406" y="5536"/>
                    </a:cubicBezTo>
                    <a:cubicBezTo>
                      <a:pt x="4404" y="5550"/>
                      <a:pt x="4400" y="5563"/>
                      <a:pt x="4399" y="5577"/>
                    </a:cubicBezTo>
                    <a:lnTo>
                      <a:pt x="4121" y="9550"/>
                    </a:lnTo>
                    <a:cubicBezTo>
                      <a:pt x="3469" y="9398"/>
                      <a:pt x="3036" y="9136"/>
                      <a:pt x="3036" y="8836"/>
                    </a:cubicBezTo>
                    <a:cubicBezTo>
                      <a:pt x="3036" y="8606"/>
                      <a:pt x="3298" y="8398"/>
                      <a:pt x="3715" y="8245"/>
                    </a:cubicBezTo>
                    <a:lnTo>
                      <a:pt x="3745" y="7843"/>
                    </a:lnTo>
                    <a:cubicBezTo>
                      <a:pt x="2309" y="8075"/>
                      <a:pt x="1301" y="8586"/>
                      <a:pt x="1301" y="9187"/>
                    </a:cubicBezTo>
                    <a:cubicBezTo>
                      <a:pt x="1301" y="9666"/>
                      <a:pt x="1867" y="9963"/>
                      <a:pt x="2241" y="10125"/>
                    </a:cubicBezTo>
                    <a:cubicBezTo>
                      <a:pt x="2579" y="10272"/>
                      <a:pt x="2936" y="10374"/>
                      <a:pt x="3295" y="10452"/>
                    </a:cubicBezTo>
                    <a:cubicBezTo>
                      <a:pt x="3509" y="10498"/>
                      <a:pt x="3725" y="10536"/>
                      <a:pt x="3942" y="10566"/>
                    </a:cubicBezTo>
                    <a:cubicBezTo>
                      <a:pt x="4438" y="10635"/>
                      <a:pt x="4931" y="10667"/>
                      <a:pt x="5434" y="10667"/>
                    </a:cubicBezTo>
                    <a:cubicBezTo>
                      <a:pt x="5609" y="10667"/>
                      <a:pt x="5784" y="10662"/>
                      <a:pt x="5959" y="10654"/>
                    </a:cubicBezTo>
                    <a:cubicBezTo>
                      <a:pt x="6767" y="10615"/>
                      <a:pt x="7596" y="10506"/>
                      <a:pt x="8368" y="10227"/>
                    </a:cubicBezTo>
                    <a:cubicBezTo>
                      <a:pt x="8794" y="10073"/>
                      <a:pt x="9463" y="9799"/>
                      <a:pt x="9557" y="9286"/>
                    </a:cubicBezTo>
                    <a:cubicBezTo>
                      <a:pt x="9563" y="9253"/>
                      <a:pt x="9566" y="9220"/>
                      <a:pt x="9566" y="9187"/>
                    </a:cubicBezTo>
                    <a:close/>
                    <a:moveTo>
                      <a:pt x="5409" y="9687"/>
                    </a:moveTo>
                    <a:cubicBezTo>
                      <a:pt x="5316" y="9687"/>
                      <a:pt x="5226" y="9685"/>
                      <a:pt x="5136" y="9681"/>
                    </a:cubicBezTo>
                    <a:lnTo>
                      <a:pt x="5351" y="6608"/>
                    </a:lnTo>
                    <a:cubicBezTo>
                      <a:pt x="5390" y="6597"/>
                      <a:pt x="5429" y="6588"/>
                      <a:pt x="5462" y="6588"/>
                    </a:cubicBezTo>
                    <a:cubicBezTo>
                      <a:pt x="5501" y="6588"/>
                      <a:pt x="5539" y="6595"/>
                      <a:pt x="5577" y="6599"/>
                    </a:cubicBezTo>
                    <a:lnTo>
                      <a:pt x="5773" y="9671"/>
                    </a:lnTo>
                    <a:cubicBezTo>
                      <a:pt x="5653" y="9678"/>
                      <a:pt x="5535" y="9687"/>
                      <a:pt x="5409" y="9687"/>
                    </a:cubicBezTo>
                    <a:close/>
                    <a:moveTo>
                      <a:pt x="9863" y="6751"/>
                    </a:moveTo>
                    <a:cubicBezTo>
                      <a:pt x="9985" y="6801"/>
                      <a:pt x="10061" y="6867"/>
                      <a:pt x="10061" y="6939"/>
                    </a:cubicBezTo>
                    <a:cubicBezTo>
                      <a:pt x="10061" y="7043"/>
                      <a:pt x="9905" y="7134"/>
                      <a:pt x="9674" y="7185"/>
                    </a:cubicBezTo>
                    <a:cubicBezTo>
                      <a:pt x="9657" y="7190"/>
                      <a:pt x="9638" y="7195"/>
                      <a:pt x="9619" y="7197"/>
                    </a:cubicBezTo>
                    <a:cubicBezTo>
                      <a:pt x="9614" y="7198"/>
                      <a:pt x="9609" y="7198"/>
                      <a:pt x="9605" y="7198"/>
                    </a:cubicBezTo>
                    <a:cubicBezTo>
                      <a:pt x="9499" y="7217"/>
                      <a:pt x="9382" y="7228"/>
                      <a:pt x="9255" y="7228"/>
                    </a:cubicBezTo>
                    <a:cubicBezTo>
                      <a:pt x="8811" y="7228"/>
                      <a:pt x="8451" y="7098"/>
                      <a:pt x="8451" y="6939"/>
                    </a:cubicBezTo>
                    <a:cubicBezTo>
                      <a:pt x="8451" y="6861"/>
                      <a:pt x="8539" y="6790"/>
                      <a:pt x="8681" y="6739"/>
                    </a:cubicBezTo>
                    <a:lnTo>
                      <a:pt x="8691" y="6602"/>
                    </a:lnTo>
                    <a:cubicBezTo>
                      <a:pt x="8203" y="6681"/>
                      <a:pt x="7861" y="6854"/>
                      <a:pt x="7861" y="7058"/>
                    </a:cubicBezTo>
                    <a:cubicBezTo>
                      <a:pt x="7861" y="7335"/>
                      <a:pt x="8489" y="7560"/>
                      <a:pt x="9264" y="7560"/>
                    </a:cubicBezTo>
                    <a:cubicBezTo>
                      <a:pt x="10039" y="7560"/>
                      <a:pt x="10667" y="7335"/>
                      <a:pt x="10667" y="7058"/>
                    </a:cubicBezTo>
                    <a:cubicBezTo>
                      <a:pt x="10667" y="6855"/>
                      <a:pt x="10328" y="6682"/>
                      <a:pt x="9845" y="6603"/>
                    </a:cubicBezTo>
                    <a:lnTo>
                      <a:pt x="9863" y="6751"/>
                    </a:lnTo>
                    <a:close/>
                    <a:moveTo>
                      <a:pt x="1068" y="4056"/>
                    </a:moveTo>
                    <a:cubicBezTo>
                      <a:pt x="1068" y="3866"/>
                      <a:pt x="1220" y="3713"/>
                      <a:pt x="1407" y="3713"/>
                    </a:cubicBezTo>
                    <a:cubicBezTo>
                      <a:pt x="1594" y="3713"/>
                      <a:pt x="1747" y="3866"/>
                      <a:pt x="1747" y="4056"/>
                    </a:cubicBezTo>
                    <a:cubicBezTo>
                      <a:pt x="1747" y="4246"/>
                      <a:pt x="1594" y="4399"/>
                      <a:pt x="1407" y="4399"/>
                    </a:cubicBezTo>
                    <a:cubicBezTo>
                      <a:pt x="1220" y="4399"/>
                      <a:pt x="1068" y="4246"/>
                      <a:pt x="1068" y="4056"/>
                    </a:cubicBezTo>
                    <a:close/>
                    <a:moveTo>
                      <a:pt x="1780" y="4561"/>
                    </a:moveTo>
                    <a:cubicBezTo>
                      <a:pt x="1731" y="4523"/>
                      <a:pt x="1680" y="4489"/>
                      <a:pt x="1620" y="4469"/>
                    </a:cubicBezTo>
                    <a:cubicBezTo>
                      <a:pt x="1565" y="4449"/>
                      <a:pt x="1507" y="4439"/>
                      <a:pt x="1449" y="4434"/>
                    </a:cubicBezTo>
                    <a:lnTo>
                      <a:pt x="1537" y="5365"/>
                    </a:lnTo>
                    <a:lnTo>
                      <a:pt x="1410" y="5515"/>
                    </a:lnTo>
                    <a:lnTo>
                      <a:pt x="1266" y="5365"/>
                    </a:lnTo>
                    <a:lnTo>
                      <a:pt x="1376" y="4433"/>
                    </a:lnTo>
                    <a:cubicBezTo>
                      <a:pt x="1312" y="4435"/>
                      <a:pt x="1248" y="4446"/>
                      <a:pt x="1189" y="4467"/>
                    </a:cubicBezTo>
                    <a:cubicBezTo>
                      <a:pt x="1164" y="4476"/>
                      <a:pt x="1140" y="4487"/>
                      <a:pt x="1118" y="4500"/>
                    </a:cubicBezTo>
                    <a:cubicBezTo>
                      <a:pt x="1078" y="4523"/>
                      <a:pt x="1042" y="4551"/>
                      <a:pt x="1008" y="4582"/>
                    </a:cubicBezTo>
                    <a:cubicBezTo>
                      <a:pt x="839" y="4734"/>
                      <a:pt x="747" y="4997"/>
                      <a:pt x="728" y="5387"/>
                    </a:cubicBezTo>
                    <a:cubicBezTo>
                      <a:pt x="725" y="5454"/>
                      <a:pt x="775" y="5511"/>
                      <a:pt x="841" y="5514"/>
                    </a:cubicBezTo>
                    <a:cubicBezTo>
                      <a:pt x="843" y="5514"/>
                      <a:pt x="845" y="5514"/>
                      <a:pt x="848" y="5514"/>
                    </a:cubicBezTo>
                    <a:cubicBezTo>
                      <a:pt x="911" y="5514"/>
                      <a:pt x="964" y="5464"/>
                      <a:pt x="967" y="5399"/>
                    </a:cubicBezTo>
                    <a:cubicBezTo>
                      <a:pt x="980" y="5135"/>
                      <a:pt x="1032" y="4938"/>
                      <a:pt x="1117" y="4821"/>
                    </a:cubicBezTo>
                    <a:cubicBezTo>
                      <a:pt x="1111" y="4944"/>
                      <a:pt x="1100" y="5167"/>
                      <a:pt x="1090" y="5395"/>
                    </a:cubicBezTo>
                    <a:cubicBezTo>
                      <a:pt x="1090" y="5399"/>
                      <a:pt x="1089" y="5403"/>
                      <a:pt x="1088" y="5407"/>
                    </a:cubicBezTo>
                    <a:lnTo>
                      <a:pt x="993" y="6776"/>
                    </a:lnTo>
                    <a:cubicBezTo>
                      <a:pt x="987" y="6863"/>
                      <a:pt x="1051" y="6938"/>
                      <a:pt x="1136" y="6944"/>
                    </a:cubicBezTo>
                    <a:cubicBezTo>
                      <a:pt x="1140" y="6944"/>
                      <a:pt x="1144" y="6944"/>
                      <a:pt x="1148" y="6944"/>
                    </a:cubicBezTo>
                    <a:cubicBezTo>
                      <a:pt x="1228" y="6944"/>
                      <a:pt x="1296" y="6881"/>
                      <a:pt x="1302" y="6798"/>
                    </a:cubicBezTo>
                    <a:lnTo>
                      <a:pt x="1378" y="5720"/>
                    </a:lnTo>
                    <a:cubicBezTo>
                      <a:pt x="1389" y="5717"/>
                      <a:pt x="1401" y="5714"/>
                      <a:pt x="1411" y="5714"/>
                    </a:cubicBezTo>
                    <a:cubicBezTo>
                      <a:pt x="1423" y="5714"/>
                      <a:pt x="1435" y="5716"/>
                      <a:pt x="1446" y="5717"/>
                    </a:cubicBezTo>
                    <a:lnTo>
                      <a:pt x="1516" y="6807"/>
                    </a:lnTo>
                    <a:cubicBezTo>
                      <a:pt x="1521" y="6890"/>
                      <a:pt x="1589" y="6954"/>
                      <a:pt x="1671" y="6954"/>
                    </a:cubicBezTo>
                    <a:cubicBezTo>
                      <a:pt x="1674" y="6954"/>
                      <a:pt x="1677" y="6954"/>
                      <a:pt x="1681" y="6954"/>
                    </a:cubicBezTo>
                    <a:cubicBezTo>
                      <a:pt x="1766" y="6948"/>
                      <a:pt x="1831" y="6873"/>
                      <a:pt x="1826" y="6787"/>
                    </a:cubicBezTo>
                    <a:lnTo>
                      <a:pt x="1743" y="5493"/>
                    </a:lnTo>
                    <a:cubicBezTo>
                      <a:pt x="1742" y="5486"/>
                      <a:pt x="1741" y="5479"/>
                      <a:pt x="1739" y="5472"/>
                    </a:cubicBezTo>
                    <a:cubicBezTo>
                      <a:pt x="1732" y="5274"/>
                      <a:pt x="1710" y="4981"/>
                      <a:pt x="1697" y="4821"/>
                    </a:cubicBezTo>
                    <a:cubicBezTo>
                      <a:pt x="1784" y="4939"/>
                      <a:pt x="1833" y="5134"/>
                      <a:pt x="1838" y="5396"/>
                    </a:cubicBezTo>
                    <a:cubicBezTo>
                      <a:pt x="1840" y="5462"/>
                      <a:pt x="1893" y="5514"/>
                      <a:pt x="1960" y="5514"/>
                    </a:cubicBezTo>
                    <a:cubicBezTo>
                      <a:pt x="2027" y="5513"/>
                      <a:pt x="2079" y="5458"/>
                      <a:pt x="2078" y="5391"/>
                    </a:cubicBezTo>
                    <a:cubicBezTo>
                      <a:pt x="2069" y="4988"/>
                      <a:pt x="1969" y="4709"/>
                      <a:pt x="1780" y="4561"/>
                    </a:cubicBezTo>
                    <a:close/>
                    <a:moveTo>
                      <a:pt x="2002" y="6751"/>
                    </a:moveTo>
                    <a:cubicBezTo>
                      <a:pt x="2124" y="6801"/>
                      <a:pt x="2200" y="6867"/>
                      <a:pt x="2200" y="6939"/>
                    </a:cubicBezTo>
                    <a:cubicBezTo>
                      <a:pt x="2200" y="7043"/>
                      <a:pt x="2044" y="7134"/>
                      <a:pt x="1813" y="7185"/>
                    </a:cubicBezTo>
                    <a:cubicBezTo>
                      <a:pt x="1795" y="7190"/>
                      <a:pt x="1777" y="7195"/>
                      <a:pt x="1758" y="7197"/>
                    </a:cubicBezTo>
                    <a:cubicBezTo>
                      <a:pt x="1753" y="7198"/>
                      <a:pt x="1748" y="7198"/>
                      <a:pt x="1743" y="7198"/>
                    </a:cubicBezTo>
                    <a:cubicBezTo>
                      <a:pt x="1637" y="7217"/>
                      <a:pt x="1520" y="7228"/>
                      <a:pt x="1394" y="7228"/>
                    </a:cubicBezTo>
                    <a:cubicBezTo>
                      <a:pt x="950" y="7228"/>
                      <a:pt x="589" y="7098"/>
                      <a:pt x="589" y="6939"/>
                    </a:cubicBezTo>
                    <a:cubicBezTo>
                      <a:pt x="589" y="6861"/>
                      <a:pt x="678" y="6790"/>
                      <a:pt x="820" y="6739"/>
                    </a:cubicBezTo>
                    <a:lnTo>
                      <a:pt x="830" y="6602"/>
                    </a:lnTo>
                    <a:cubicBezTo>
                      <a:pt x="342" y="6681"/>
                      <a:pt x="0" y="6854"/>
                      <a:pt x="0" y="7058"/>
                    </a:cubicBezTo>
                    <a:cubicBezTo>
                      <a:pt x="0" y="7335"/>
                      <a:pt x="628" y="7560"/>
                      <a:pt x="1403" y="7560"/>
                    </a:cubicBezTo>
                    <a:cubicBezTo>
                      <a:pt x="2177" y="7560"/>
                      <a:pt x="2805" y="7335"/>
                      <a:pt x="2805" y="7058"/>
                    </a:cubicBezTo>
                    <a:cubicBezTo>
                      <a:pt x="2805" y="6855"/>
                      <a:pt x="2467" y="6682"/>
                      <a:pt x="1984" y="6603"/>
                    </a:cubicBezTo>
                    <a:lnTo>
                      <a:pt x="2002" y="6751"/>
                    </a:lnTo>
                    <a:close/>
                  </a:path>
                </a:pathLst>
              </a:custGeom>
              <a:solidFill>
                <a:schemeClr val="accent1"/>
              </a:solidFill>
              <a:ln w="9525">
                <a:noFill/>
                <a:round/>
              </a:ln>
            </p:spPr>
            <p:txBody>
              <a:bodyPr lIns="0" tIns="0" rIns="0" bIns="0" anchor="ctr"/>
              <a:lstStyle/>
              <a:p>
                <a:pPr algn="ctr"/>
                <a:endParaRPr/>
              </a:p>
            </p:txBody>
          </p:sp>
        </p:grpSp>
        <p:grpSp>
          <p:nvGrpSpPr>
            <p:cNvPr id="12" name="i$ľîḓè">
              <a:extLst>
                <a:ext uri="{FF2B5EF4-FFF2-40B4-BE49-F238E27FC236}">
                  <a16:creationId xmlns:a16="http://schemas.microsoft.com/office/drawing/2014/main" id="{0155CE03-095F-4AAC-940E-9F78815C2537}"/>
                </a:ext>
              </a:extLst>
            </p:cNvPr>
            <p:cNvGrpSpPr/>
            <p:nvPr/>
          </p:nvGrpSpPr>
          <p:grpSpPr>
            <a:xfrm>
              <a:off x="1009839" y="3973869"/>
              <a:ext cx="1849411" cy="997226"/>
              <a:chOff x="1072499" y="1797239"/>
              <a:chExt cx="1849411" cy="997226"/>
            </a:xfrm>
          </p:grpSpPr>
          <p:sp>
            <p:nvSpPr>
              <p:cNvPr id="25" name="ïsḷïḍè">
                <a:extLst>
                  <a:ext uri="{FF2B5EF4-FFF2-40B4-BE49-F238E27FC236}">
                    <a16:creationId xmlns:a16="http://schemas.microsoft.com/office/drawing/2014/main" id="{ECC8FA32-5E42-4983-9D0B-8C97D4DF2C61}"/>
                  </a:ext>
                </a:extLst>
              </p:cNvPr>
              <p:cNvSpPr/>
              <p:nvPr/>
            </p:nvSpPr>
            <p:spPr bwMode="auto">
              <a:xfrm>
                <a:off x="1072499" y="1797239"/>
                <a:ext cx="1849411" cy="379554"/>
              </a:xfrm>
              <a:prstGeom prst="rect">
                <a:avLst/>
              </a:prstGeom>
              <a:noFill/>
              <a:ln w="28575" algn="ctr">
                <a:noFill/>
                <a:round/>
                <a:headEnd/>
                <a:tailEnd/>
              </a:ln>
            </p:spPr>
            <p:txBody>
              <a:bodyPr wrap="square" lIns="91440" tIns="45720" rIns="91440" bIns="45720" anchor="ctr">
                <a:normAutofit/>
              </a:bodyPr>
              <a:lstStyle>
                <a:defPPr>
                  <a:defRPr lang="en-US"/>
                </a:defPPr>
                <a:lvl1pPr marL="0" algn="l" defTabSz="609585" rtl="0" eaLnBrk="1" latinLnBrk="0" hangingPunct="1">
                  <a:defRPr sz="2400" kern="1200">
                    <a:solidFill>
                      <a:schemeClr val="tx1"/>
                    </a:solidFill>
                  </a:defRPr>
                </a:lvl1pPr>
                <a:lvl2pPr marL="609585" algn="l" defTabSz="609585" rtl="0" eaLnBrk="1" latinLnBrk="0" hangingPunct="1">
                  <a:defRPr sz="2400" kern="1200">
                    <a:solidFill>
                      <a:schemeClr val="tx1"/>
                    </a:solidFill>
                  </a:defRPr>
                </a:lvl2pPr>
                <a:lvl3pPr marL="1219170" algn="l" defTabSz="609585" rtl="0" eaLnBrk="1" latinLnBrk="0" hangingPunct="1">
                  <a:defRPr sz="2400" kern="1200">
                    <a:solidFill>
                      <a:schemeClr val="tx1"/>
                    </a:solidFill>
                  </a:defRPr>
                </a:lvl3pPr>
                <a:lvl4pPr marL="1828754" algn="l" defTabSz="609585" rtl="0" eaLnBrk="1" latinLnBrk="0" hangingPunct="1">
                  <a:defRPr sz="2400" kern="1200">
                    <a:solidFill>
                      <a:schemeClr val="tx1"/>
                    </a:solidFill>
                  </a:defRPr>
                </a:lvl4pPr>
                <a:lvl5pPr marL="2438339" algn="l" defTabSz="609585" rtl="0" eaLnBrk="1" latinLnBrk="0" hangingPunct="1">
                  <a:defRPr sz="2400" kern="1200">
                    <a:solidFill>
                      <a:schemeClr val="tx1"/>
                    </a:solidFill>
                  </a:defRPr>
                </a:lvl5pPr>
                <a:lvl6pPr marL="3047924" algn="l" defTabSz="609585" rtl="0" eaLnBrk="1" latinLnBrk="0" hangingPunct="1">
                  <a:defRPr sz="2400" kern="1200">
                    <a:solidFill>
                      <a:schemeClr val="tx1"/>
                    </a:solidFill>
                  </a:defRPr>
                </a:lvl6pPr>
                <a:lvl7pPr marL="3657509" algn="l" defTabSz="609585" rtl="0" eaLnBrk="1" latinLnBrk="0" hangingPunct="1">
                  <a:defRPr sz="2400" kern="1200">
                    <a:solidFill>
                      <a:schemeClr val="tx1"/>
                    </a:solidFill>
                  </a:defRPr>
                </a:lvl7pPr>
                <a:lvl8pPr marL="4267093" algn="l" defTabSz="609585" rtl="0" eaLnBrk="1" latinLnBrk="0" hangingPunct="1">
                  <a:defRPr sz="2400" kern="1200">
                    <a:solidFill>
                      <a:schemeClr val="tx1"/>
                    </a:solidFill>
                  </a:defRPr>
                </a:lvl8pPr>
                <a:lvl9pPr marL="4876678" algn="l" defTabSz="609585" rtl="0" eaLnBrk="1" latinLnBrk="0" hangingPunct="1">
                  <a:defRPr sz="2400" kern="1200">
                    <a:solidFill>
                      <a:schemeClr val="tx1"/>
                    </a:solidFill>
                  </a:defRPr>
                </a:lvl9pPr>
              </a:lstStyle>
              <a:p>
                <a:pPr algn="ctr" defTabSz="914400"/>
                <a:r>
                  <a:rPr lang="en-US" altLang="zh-CN" sz="1600" b="1" kern="0"/>
                  <a:t>Text he</a:t>
                </a:r>
                <a:r>
                  <a:rPr lang="en-US" altLang="zh-CN" sz="100" b="1" kern="0"/>
                  <a:t> </a:t>
                </a:r>
                <a:r>
                  <a:rPr lang="en-US" altLang="zh-CN" sz="1600" b="1" kern="0"/>
                  <a:t>re</a:t>
                </a:r>
                <a:endParaRPr lang="zh-CN" altLang="en-US" sz="1600" b="1" kern="0" dirty="0"/>
              </a:p>
            </p:txBody>
          </p:sp>
          <p:sp>
            <p:nvSpPr>
              <p:cNvPr id="26" name="ïsľiḑé">
                <a:extLst>
                  <a:ext uri="{FF2B5EF4-FFF2-40B4-BE49-F238E27FC236}">
                    <a16:creationId xmlns:a16="http://schemas.microsoft.com/office/drawing/2014/main" id="{BDE0D30D-54C5-4CB9-8B3D-EA5F0E35ADFE}"/>
                  </a:ext>
                </a:extLst>
              </p:cNvPr>
              <p:cNvSpPr/>
              <p:nvPr/>
            </p:nvSpPr>
            <p:spPr>
              <a:xfrm>
                <a:off x="1072499" y="2176793"/>
                <a:ext cx="1849411" cy="61767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en-US"/>
                </a:defPPr>
                <a:lvl1pPr marL="0" algn="l" defTabSz="609585" rtl="0" eaLnBrk="1" latinLnBrk="0" hangingPunct="1">
                  <a:defRPr sz="2400" kern="1200">
                    <a:solidFill>
                      <a:schemeClr val="lt1"/>
                    </a:solidFill>
                  </a:defRPr>
                </a:lvl1pPr>
                <a:lvl2pPr marL="609585" algn="l" defTabSz="609585" rtl="0" eaLnBrk="1" latinLnBrk="0" hangingPunct="1">
                  <a:defRPr sz="2400" kern="1200">
                    <a:solidFill>
                      <a:schemeClr val="lt1"/>
                    </a:solidFill>
                  </a:defRPr>
                </a:lvl2pPr>
                <a:lvl3pPr marL="1219170" algn="l" defTabSz="609585" rtl="0" eaLnBrk="1" latinLnBrk="0" hangingPunct="1">
                  <a:defRPr sz="2400" kern="1200">
                    <a:solidFill>
                      <a:schemeClr val="lt1"/>
                    </a:solidFill>
                  </a:defRPr>
                </a:lvl3pPr>
                <a:lvl4pPr marL="1828754" algn="l" defTabSz="609585" rtl="0" eaLnBrk="1" latinLnBrk="0" hangingPunct="1">
                  <a:defRPr sz="2400" kern="1200">
                    <a:solidFill>
                      <a:schemeClr val="lt1"/>
                    </a:solidFill>
                  </a:defRPr>
                </a:lvl4pPr>
                <a:lvl5pPr marL="2438339" algn="l" defTabSz="609585" rtl="0" eaLnBrk="1" latinLnBrk="0" hangingPunct="1">
                  <a:defRPr sz="2400" kern="1200">
                    <a:solidFill>
                      <a:schemeClr val="lt1"/>
                    </a:solidFill>
                  </a:defRPr>
                </a:lvl5pPr>
                <a:lvl6pPr marL="3047924" algn="l" defTabSz="609585" rtl="0" eaLnBrk="1" latinLnBrk="0" hangingPunct="1">
                  <a:defRPr sz="2400" kern="1200">
                    <a:solidFill>
                      <a:schemeClr val="lt1"/>
                    </a:solidFill>
                  </a:defRPr>
                </a:lvl6pPr>
                <a:lvl7pPr marL="3657509" algn="l" defTabSz="609585" rtl="0" eaLnBrk="1" latinLnBrk="0" hangingPunct="1">
                  <a:defRPr sz="2400" kern="1200">
                    <a:solidFill>
                      <a:schemeClr val="lt1"/>
                    </a:solidFill>
                  </a:defRPr>
                </a:lvl7pPr>
                <a:lvl8pPr marL="4267093" algn="l" defTabSz="609585" rtl="0" eaLnBrk="1" latinLnBrk="0" hangingPunct="1">
                  <a:defRPr sz="2400" kern="1200">
                    <a:solidFill>
                      <a:schemeClr val="lt1"/>
                    </a:solidFill>
                  </a:defRPr>
                </a:lvl8pPr>
                <a:lvl9pPr marL="4876678" algn="l" defTabSz="609585" rtl="0" eaLnBrk="1" latinLnBrk="0" hangingPunct="1">
                  <a:defRPr sz="2400" kern="1200">
                    <a:solidFill>
                      <a:schemeClr val="lt1"/>
                    </a:solidFill>
                  </a:defRPr>
                </a:lvl9pPr>
              </a:lstStyle>
              <a:p>
                <a:pPr lvl="0" algn="ctr">
                  <a:lnSpc>
                    <a:spcPct val="150000"/>
                  </a:lnSpc>
                </a:pPr>
                <a:r>
                  <a:rPr lang="en-US" altLang="zh-CN" sz="1100">
                    <a:solidFill>
                      <a:schemeClr val="tx1"/>
                    </a:solidFill>
                  </a:rPr>
                  <a:t>Supporti</a:t>
                </a:r>
                <a:r>
                  <a:rPr lang="en-US" altLang="zh-CN" sz="100">
                    <a:solidFill>
                      <a:schemeClr val="tx1"/>
                    </a:solidFill>
                  </a:rPr>
                  <a:t> </a:t>
                </a:r>
                <a:r>
                  <a:rPr lang="en-US" altLang="zh-CN" sz="1100">
                    <a:solidFill>
                      <a:schemeClr val="tx1"/>
                    </a:solidFill>
                  </a:rPr>
                  <a:t>ng </a:t>
                </a:r>
                <a:r>
                  <a:rPr lang="en-US" altLang="zh-CN" sz="1100" dirty="0">
                    <a:solidFill>
                      <a:schemeClr val="tx1"/>
                    </a:solidFill>
                  </a:rPr>
                  <a:t>text here.</a:t>
                </a:r>
              </a:p>
              <a:p>
                <a:pPr lvl="0" algn="ctr">
                  <a:lnSpc>
                    <a:spcPct val="150000"/>
                  </a:lnSpc>
                </a:pPr>
                <a:r>
                  <a:rPr lang="en-US" altLang="zh-CN" sz="1100" dirty="0">
                    <a:solidFill>
                      <a:schemeClr val="tx1"/>
                    </a:solidFill>
                  </a:rPr>
                  <a:t>……</a:t>
                </a:r>
              </a:p>
            </p:txBody>
          </p:sp>
        </p:grpSp>
        <p:grpSp>
          <p:nvGrpSpPr>
            <p:cNvPr id="13" name="îś1íḍe">
              <a:extLst>
                <a:ext uri="{FF2B5EF4-FFF2-40B4-BE49-F238E27FC236}">
                  <a16:creationId xmlns:a16="http://schemas.microsoft.com/office/drawing/2014/main" id="{B643CFC1-60B1-40F8-9C74-C34E4491331C}"/>
                </a:ext>
              </a:extLst>
            </p:cNvPr>
            <p:cNvGrpSpPr/>
            <p:nvPr/>
          </p:nvGrpSpPr>
          <p:grpSpPr>
            <a:xfrm>
              <a:off x="3090566" y="3973869"/>
              <a:ext cx="1849411" cy="997226"/>
              <a:chOff x="1072499" y="1797239"/>
              <a:chExt cx="1849411" cy="997226"/>
            </a:xfrm>
          </p:grpSpPr>
          <p:sp>
            <p:nvSpPr>
              <p:cNvPr id="23" name="iṥļíḑê">
                <a:extLst>
                  <a:ext uri="{FF2B5EF4-FFF2-40B4-BE49-F238E27FC236}">
                    <a16:creationId xmlns:a16="http://schemas.microsoft.com/office/drawing/2014/main" id="{8724BA88-89B1-4E51-8307-CF322D13641D}"/>
                  </a:ext>
                </a:extLst>
              </p:cNvPr>
              <p:cNvSpPr/>
              <p:nvPr/>
            </p:nvSpPr>
            <p:spPr bwMode="auto">
              <a:xfrm>
                <a:off x="1072499" y="1797239"/>
                <a:ext cx="1849411" cy="379554"/>
              </a:xfrm>
              <a:prstGeom prst="rect">
                <a:avLst/>
              </a:prstGeom>
              <a:noFill/>
              <a:ln w="28575" algn="ctr">
                <a:noFill/>
                <a:round/>
                <a:headEnd/>
                <a:tailEnd/>
              </a:ln>
            </p:spPr>
            <p:txBody>
              <a:bodyPr wrap="square" lIns="91440" tIns="45720" rIns="91440" bIns="45720" anchor="ctr">
                <a:normAutofit/>
              </a:bodyPr>
              <a:lstStyle>
                <a:defPPr>
                  <a:defRPr lang="en-US"/>
                </a:defPPr>
                <a:lvl1pPr marL="0" algn="l" defTabSz="609585" rtl="0" eaLnBrk="1" latinLnBrk="0" hangingPunct="1">
                  <a:defRPr sz="2400" kern="1200">
                    <a:solidFill>
                      <a:schemeClr val="tx1"/>
                    </a:solidFill>
                  </a:defRPr>
                </a:lvl1pPr>
                <a:lvl2pPr marL="609585" algn="l" defTabSz="609585" rtl="0" eaLnBrk="1" latinLnBrk="0" hangingPunct="1">
                  <a:defRPr sz="2400" kern="1200">
                    <a:solidFill>
                      <a:schemeClr val="tx1"/>
                    </a:solidFill>
                  </a:defRPr>
                </a:lvl2pPr>
                <a:lvl3pPr marL="1219170" algn="l" defTabSz="609585" rtl="0" eaLnBrk="1" latinLnBrk="0" hangingPunct="1">
                  <a:defRPr sz="2400" kern="1200">
                    <a:solidFill>
                      <a:schemeClr val="tx1"/>
                    </a:solidFill>
                  </a:defRPr>
                </a:lvl3pPr>
                <a:lvl4pPr marL="1828754" algn="l" defTabSz="609585" rtl="0" eaLnBrk="1" latinLnBrk="0" hangingPunct="1">
                  <a:defRPr sz="2400" kern="1200">
                    <a:solidFill>
                      <a:schemeClr val="tx1"/>
                    </a:solidFill>
                  </a:defRPr>
                </a:lvl4pPr>
                <a:lvl5pPr marL="2438339" algn="l" defTabSz="609585" rtl="0" eaLnBrk="1" latinLnBrk="0" hangingPunct="1">
                  <a:defRPr sz="2400" kern="1200">
                    <a:solidFill>
                      <a:schemeClr val="tx1"/>
                    </a:solidFill>
                  </a:defRPr>
                </a:lvl5pPr>
                <a:lvl6pPr marL="3047924" algn="l" defTabSz="609585" rtl="0" eaLnBrk="1" latinLnBrk="0" hangingPunct="1">
                  <a:defRPr sz="2400" kern="1200">
                    <a:solidFill>
                      <a:schemeClr val="tx1"/>
                    </a:solidFill>
                  </a:defRPr>
                </a:lvl6pPr>
                <a:lvl7pPr marL="3657509" algn="l" defTabSz="609585" rtl="0" eaLnBrk="1" latinLnBrk="0" hangingPunct="1">
                  <a:defRPr sz="2400" kern="1200">
                    <a:solidFill>
                      <a:schemeClr val="tx1"/>
                    </a:solidFill>
                  </a:defRPr>
                </a:lvl7pPr>
                <a:lvl8pPr marL="4267093" algn="l" defTabSz="609585" rtl="0" eaLnBrk="1" latinLnBrk="0" hangingPunct="1">
                  <a:defRPr sz="2400" kern="1200">
                    <a:solidFill>
                      <a:schemeClr val="tx1"/>
                    </a:solidFill>
                  </a:defRPr>
                </a:lvl8pPr>
                <a:lvl9pPr marL="4876678" algn="l" defTabSz="609585" rtl="0" eaLnBrk="1" latinLnBrk="0" hangingPunct="1">
                  <a:defRPr sz="2400" kern="1200">
                    <a:solidFill>
                      <a:schemeClr val="tx1"/>
                    </a:solidFill>
                  </a:defRPr>
                </a:lvl9pPr>
              </a:lstStyle>
              <a:p>
                <a:pPr algn="ctr" defTabSz="914400"/>
                <a:r>
                  <a:rPr lang="en-US" altLang="zh-CN" sz="1600" b="1" kern="0"/>
                  <a:t>Tex</a:t>
                </a:r>
                <a:r>
                  <a:rPr lang="en-US" altLang="zh-CN" sz="100" b="1" kern="0"/>
                  <a:t> </a:t>
                </a:r>
                <a:r>
                  <a:rPr lang="en-US" altLang="zh-CN" sz="1600" b="1" kern="0"/>
                  <a:t>t </a:t>
                </a:r>
                <a:r>
                  <a:rPr lang="en-US" altLang="zh-CN" sz="1600" b="1" kern="0" dirty="0"/>
                  <a:t>here</a:t>
                </a:r>
                <a:endParaRPr lang="zh-CN" altLang="en-US" sz="1600" b="1" kern="0" dirty="0"/>
              </a:p>
            </p:txBody>
          </p:sp>
          <p:sp>
            <p:nvSpPr>
              <p:cNvPr id="24" name="ïṩḷíḋe">
                <a:extLst>
                  <a:ext uri="{FF2B5EF4-FFF2-40B4-BE49-F238E27FC236}">
                    <a16:creationId xmlns:a16="http://schemas.microsoft.com/office/drawing/2014/main" id="{8077C3F9-A9DC-47F5-AD88-9ED22DBF47AD}"/>
                  </a:ext>
                </a:extLst>
              </p:cNvPr>
              <p:cNvSpPr/>
              <p:nvPr/>
            </p:nvSpPr>
            <p:spPr>
              <a:xfrm>
                <a:off x="1072499" y="2176793"/>
                <a:ext cx="1849411" cy="61767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en-US"/>
                </a:defPPr>
                <a:lvl1pPr marL="0" algn="l" defTabSz="609585" rtl="0" eaLnBrk="1" latinLnBrk="0" hangingPunct="1">
                  <a:defRPr sz="2400" kern="1200">
                    <a:solidFill>
                      <a:schemeClr val="lt1"/>
                    </a:solidFill>
                  </a:defRPr>
                </a:lvl1pPr>
                <a:lvl2pPr marL="609585" algn="l" defTabSz="609585" rtl="0" eaLnBrk="1" latinLnBrk="0" hangingPunct="1">
                  <a:defRPr sz="2400" kern="1200">
                    <a:solidFill>
                      <a:schemeClr val="lt1"/>
                    </a:solidFill>
                  </a:defRPr>
                </a:lvl2pPr>
                <a:lvl3pPr marL="1219170" algn="l" defTabSz="609585" rtl="0" eaLnBrk="1" latinLnBrk="0" hangingPunct="1">
                  <a:defRPr sz="2400" kern="1200">
                    <a:solidFill>
                      <a:schemeClr val="lt1"/>
                    </a:solidFill>
                  </a:defRPr>
                </a:lvl3pPr>
                <a:lvl4pPr marL="1828754" algn="l" defTabSz="609585" rtl="0" eaLnBrk="1" latinLnBrk="0" hangingPunct="1">
                  <a:defRPr sz="2400" kern="1200">
                    <a:solidFill>
                      <a:schemeClr val="lt1"/>
                    </a:solidFill>
                  </a:defRPr>
                </a:lvl4pPr>
                <a:lvl5pPr marL="2438339" algn="l" defTabSz="609585" rtl="0" eaLnBrk="1" latinLnBrk="0" hangingPunct="1">
                  <a:defRPr sz="2400" kern="1200">
                    <a:solidFill>
                      <a:schemeClr val="lt1"/>
                    </a:solidFill>
                  </a:defRPr>
                </a:lvl5pPr>
                <a:lvl6pPr marL="3047924" algn="l" defTabSz="609585" rtl="0" eaLnBrk="1" latinLnBrk="0" hangingPunct="1">
                  <a:defRPr sz="2400" kern="1200">
                    <a:solidFill>
                      <a:schemeClr val="lt1"/>
                    </a:solidFill>
                  </a:defRPr>
                </a:lvl6pPr>
                <a:lvl7pPr marL="3657509" algn="l" defTabSz="609585" rtl="0" eaLnBrk="1" latinLnBrk="0" hangingPunct="1">
                  <a:defRPr sz="2400" kern="1200">
                    <a:solidFill>
                      <a:schemeClr val="lt1"/>
                    </a:solidFill>
                  </a:defRPr>
                </a:lvl7pPr>
                <a:lvl8pPr marL="4267093" algn="l" defTabSz="609585" rtl="0" eaLnBrk="1" latinLnBrk="0" hangingPunct="1">
                  <a:defRPr sz="2400" kern="1200">
                    <a:solidFill>
                      <a:schemeClr val="lt1"/>
                    </a:solidFill>
                  </a:defRPr>
                </a:lvl8pPr>
                <a:lvl9pPr marL="4876678" algn="l" defTabSz="609585" rtl="0" eaLnBrk="1" latinLnBrk="0" hangingPunct="1">
                  <a:defRPr sz="2400" kern="1200">
                    <a:solidFill>
                      <a:schemeClr val="lt1"/>
                    </a:solidFill>
                  </a:defRPr>
                </a:lvl9pPr>
              </a:lstStyle>
              <a:p>
                <a:pPr lvl="0" algn="ctr">
                  <a:lnSpc>
                    <a:spcPct val="150000"/>
                  </a:lnSpc>
                </a:pPr>
                <a:r>
                  <a:rPr lang="en-US" altLang="zh-CN" sz="1100">
                    <a:solidFill>
                      <a:schemeClr val="tx1"/>
                    </a:solidFill>
                  </a:rPr>
                  <a:t>Supporti</a:t>
                </a:r>
                <a:r>
                  <a:rPr lang="en-US" altLang="zh-CN" sz="100">
                    <a:solidFill>
                      <a:schemeClr val="tx1"/>
                    </a:solidFill>
                  </a:rPr>
                  <a:t> </a:t>
                </a:r>
                <a:r>
                  <a:rPr lang="en-US" altLang="zh-CN" sz="1100">
                    <a:solidFill>
                      <a:schemeClr val="tx1"/>
                    </a:solidFill>
                  </a:rPr>
                  <a:t>ng </a:t>
                </a:r>
                <a:r>
                  <a:rPr lang="en-US" altLang="zh-CN" sz="1100" dirty="0">
                    <a:solidFill>
                      <a:schemeClr val="tx1"/>
                    </a:solidFill>
                  </a:rPr>
                  <a:t>text here.</a:t>
                </a:r>
              </a:p>
              <a:p>
                <a:pPr lvl="0" algn="ctr">
                  <a:lnSpc>
                    <a:spcPct val="150000"/>
                  </a:lnSpc>
                </a:pPr>
                <a:r>
                  <a:rPr lang="en-US" altLang="zh-CN" sz="1100" dirty="0">
                    <a:solidFill>
                      <a:schemeClr val="tx1"/>
                    </a:solidFill>
                  </a:rPr>
                  <a:t>……</a:t>
                </a:r>
              </a:p>
            </p:txBody>
          </p:sp>
        </p:grpSp>
        <p:grpSp>
          <p:nvGrpSpPr>
            <p:cNvPr id="14" name="í$ļiḋê">
              <a:extLst>
                <a:ext uri="{FF2B5EF4-FFF2-40B4-BE49-F238E27FC236}">
                  <a16:creationId xmlns:a16="http://schemas.microsoft.com/office/drawing/2014/main" id="{63F8DE81-3EA2-4CE8-9B5C-3F4E05C29C62}"/>
                </a:ext>
              </a:extLst>
            </p:cNvPr>
            <p:cNvGrpSpPr/>
            <p:nvPr/>
          </p:nvGrpSpPr>
          <p:grpSpPr>
            <a:xfrm>
              <a:off x="5171293" y="1494920"/>
              <a:ext cx="1849411" cy="997226"/>
              <a:chOff x="1072499" y="1797239"/>
              <a:chExt cx="1849411" cy="997226"/>
            </a:xfrm>
          </p:grpSpPr>
          <p:sp>
            <p:nvSpPr>
              <p:cNvPr id="21" name="íṣḻiḍé">
                <a:extLst>
                  <a:ext uri="{FF2B5EF4-FFF2-40B4-BE49-F238E27FC236}">
                    <a16:creationId xmlns:a16="http://schemas.microsoft.com/office/drawing/2014/main" id="{9F157CB4-8562-4DD6-84EC-9D53D4D5CE93}"/>
                  </a:ext>
                </a:extLst>
              </p:cNvPr>
              <p:cNvSpPr/>
              <p:nvPr/>
            </p:nvSpPr>
            <p:spPr bwMode="auto">
              <a:xfrm>
                <a:off x="1072499" y="1797239"/>
                <a:ext cx="1849411" cy="379554"/>
              </a:xfrm>
              <a:prstGeom prst="rect">
                <a:avLst/>
              </a:prstGeom>
              <a:noFill/>
              <a:ln w="28575" algn="ctr">
                <a:noFill/>
                <a:round/>
                <a:headEnd/>
                <a:tailEnd/>
              </a:ln>
            </p:spPr>
            <p:txBody>
              <a:bodyPr wrap="square" lIns="91440" tIns="45720" rIns="91440" bIns="45720" anchor="ctr">
                <a:normAutofit/>
              </a:bodyPr>
              <a:lstStyle>
                <a:defPPr>
                  <a:defRPr lang="en-US"/>
                </a:defPPr>
                <a:lvl1pPr marL="0" algn="l" defTabSz="609585" rtl="0" eaLnBrk="1" latinLnBrk="0" hangingPunct="1">
                  <a:defRPr sz="2400" kern="1200">
                    <a:solidFill>
                      <a:schemeClr val="tx1"/>
                    </a:solidFill>
                  </a:defRPr>
                </a:lvl1pPr>
                <a:lvl2pPr marL="609585" algn="l" defTabSz="609585" rtl="0" eaLnBrk="1" latinLnBrk="0" hangingPunct="1">
                  <a:defRPr sz="2400" kern="1200">
                    <a:solidFill>
                      <a:schemeClr val="tx1"/>
                    </a:solidFill>
                  </a:defRPr>
                </a:lvl2pPr>
                <a:lvl3pPr marL="1219170" algn="l" defTabSz="609585" rtl="0" eaLnBrk="1" latinLnBrk="0" hangingPunct="1">
                  <a:defRPr sz="2400" kern="1200">
                    <a:solidFill>
                      <a:schemeClr val="tx1"/>
                    </a:solidFill>
                  </a:defRPr>
                </a:lvl3pPr>
                <a:lvl4pPr marL="1828754" algn="l" defTabSz="609585" rtl="0" eaLnBrk="1" latinLnBrk="0" hangingPunct="1">
                  <a:defRPr sz="2400" kern="1200">
                    <a:solidFill>
                      <a:schemeClr val="tx1"/>
                    </a:solidFill>
                  </a:defRPr>
                </a:lvl4pPr>
                <a:lvl5pPr marL="2438339" algn="l" defTabSz="609585" rtl="0" eaLnBrk="1" latinLnBrk="0" hangingPunct="1">
                  <a:defRPr sz="2400" kern="1200">
                    <a:solidFill>
                      <a:schemeClr val="tx1"/>
                    </a:solidFill>
                  </a:defRPr>
                </a:lvl5pPr>
                <a:lvl6pPr marL="3047924" algn="l" defTabSz="609585" rtl="0" eaLnBrk="1" latinLnBrk="0" hangingPunct="1">
                  <a:defRPr sz="2400" kern="1200">
                    <a:solidFill>
                      <a:schemeClr val="tx1"/>
                    </a:solidFill>
                  </a:defRPr>
                </a:lvl6pPr>
                <a:lvl7pPr marL="3657509" algn="l" defTabSz="609585" rtl="0" eaLnBrk="1" latinLnBrk="0" hangingPunct="1">
                  <a:defRPr sz="2400" kern="1200">
                    <a:solidFill>
                      <a:schemeClr val="tx1"/>
                    </a:solidFill>
                  </a:defRPr>
                </a:lvl7pPr>
                <a:lvl8pPr marL="4267093" algn="l" defTabSz="609585" rtl="0" eaLnBrk="1" latinLnBrk="0" hangingPunct="1">
                  <a:defRPr sz="2400" kern="1200">
                    <a:solidFill>
                      <a:schemeClr val="tx1"/>
                    </a:solidFill>
                  </a:defRPr>
                </a:lvl8pPr>
                <a:lvl9pPr marL="4876678" algn="l" defTabSz="609585" rtl="0" eaLnBrk="1" latinLnBrk="0" hangingPunct="1">
                  <a:defRPr sz="2400" kern="1200">
                    <a:solidFill>
                      <a:schemeClr val="tx1"/>
                    </a:solidFill>
                  </a:defRPr>
                </a:lvl9pPr>
              </a:lstStyle>
              <a:p>
                <a:pPr algn="ctr" defTabSz="914400"/>
                <a:r>
                  <a:rPr lang="en-US" altLang="zh-CN" sz="1600" b="1" kern="0"/>
                  <a:t>Tex</a:t>
                </a:r>
                <a:r>
                  <a:rPr lang="en-US" altLang="zh-CN" sz="100" b="1" kern="0"/>
                  <a:t> </a:t>
                </a:r>
                <a:r>
                  <a:rPr lang="en-US" altLang="zh-CN" sz="1600" b="1" kern="0"/>
                  <a:t>t </a:t>
                </a:r>
                <a:r>
                  <a:rPr lang="en-US" altLang="zh-CN" sz="1600" b="1" kern="0" dirty="0"/>
                  <a:t>here</a:t>
                </a:r>
                <a:endParaRPr lang="zh-CN" altLang="en-US" sz="1600" b="1" kern="0" dirty="0"/>
              </a:p>
            </p:txBody>
          </p:sp>
          <p:sp>
            <p:nvSpPr>
              <p:cNvPr id="22" name="íŝḷïdê">
                <a:extLst>
                  <a:ext uri="{FF2B5EF4-FFF2-40B4-BE49-F238E27FC236}">
                    <a16:creationId xmlns:a16="http://schemas.microsoft.com/office/drawing/2014/main" id="{4C6CE4D1-37A3-47CE-BD7E-D9F4DF1942E6}"/>
                  </a:ext>
                </a:extLst>
              </p:cNvPr>
              <p:cNvSpPr/>
              <p:nvPr/>
            </p:nvSpPr>
            <p:spPr>
              <a:xfrm>
                <a:off x="1072499" y="2176793"/>
                <a:ext cx="1849411" cy="61767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en-US"/>
                </a:defPPr>
                <a:lvl1pPr marL="0" algn="l" defTabSz="609585" rtl="0" eaLnBrk="1" latinLnBrk="0" hangingPunct="1">
                  <a:defRPr sz="2400" kern="1200">
                    <a:solidFill>
                      <a:schemeClr val="lt1"/>
                    </a:solidFill>
                  </a:defRPr>
                </a:lvl1pPr>
                <a:lvl2pPr marL="609585" algn="l" defTabSz="609585" rtl="0" eaLnBrk="1" latinLnBrk="0" hangingPunct="1">
                  <a:defRPr sz="2400" kern="1200">
                    <a:solidFill>
                      <a:schemeClr val="lt1"/>
                    </a:solidFill>
                  </a:defRPr>
                </a:lvl2pPr>
                <a:lvl3pPr marL="1219170" algn="l" defTabSz="609585" rtl="0" eaLnBrk="1" latinLnBrk="0" hangingPunct="1">
                  <a:defRPr sz="2400" kern="1200">
                    <a:solidFill>
                      <a:schemeClr val="lt1"/>
                    </a:solidFill>
                  </a:defRPr>
                </a:lvl3pPr>
                <a:lvl4pPr marL="1828754" algn="l" defTabSz="609585" rtl="0" eaLnBrk="1" latinLnBrk="0" hangingPunct="1">
                  <a:defRPr sz="2400" kern="1200">
                    <a:solidFill>
                      <a:schemeClr val="lt1"/>
                    </a:solidFill>
                  </a:defRPr>
                </a:lvl4pPr>
                <a:lvl5pPr marL="2438339" algn="l" defTabSz="609585" rtl="0" eaLnBrk="1" latinLnBrk="0" hangingPunct="1">
                  <a:defRPr sz="2400" kern="1200">
                    <a:solidFill>
                      <a:schemeClr val="lt1"/>
                    </a:solidFill>
                  </a:defRPr>
                </a:lvl5pPr>
                <a:lvl6pPr marL="3047924" algn="l" defTabSz="609585" rtl="0" eaLnBrk="1" latinLnBrk="0" hangingPunct="1">
                  <a:defRPr sz="2400" kern="1200">
                    <a:solidFill>
                      <a:schemeClr val="lt1"/>
                    </a:solidFill>
                  </a:defRPr>
                </a:lvl6pPr>
                <a:lvl7pPr marL="3657509" algn="l" defTabSz="609585" rtl="0" eaLnBrk="1" latinLnBrk="0" hangingPunct="1">
                  <a:defRPr sz="2400" kern="1200">
                    <a:solidFill>
                      <a:schemeClr val="lt1"/>
                    </a:solidFill>
                  </a:defRPr>
                </a:lvl7pPr>
                <a:lvl8pPr marL="4267093" algn="l" defTabSz="609585" rtl="0" eaLnBrk="1" latinLnBrk="0" hangingPunct="1">
                  <a:defRPr sz="2400" kern="1200">
                    <a:solidFill>
                      <a:schemeClr val="lt1"/>
                    </a:solidFill>
                  </a:defRPr>
                </a:lvl8pPr>
                <a:lvl9pPr marL="4876678" algn="l" defTabSz="609585" rtl="0" eaLnBrk="1" latinLnBrk="0" hangingPunct="1">
                  <a:defRPr sz="2400" kern="1200">
                    <a:solidFill>
                      <a:schemeClr val="lt1"/>
                    </a:solidFill>
                  </a:defRPr>
                </a:lvl9pPr>
              </a:lstStyle>
              <a:p>
                <a:pPr lvl="0" algn="ctr">
                  <a:lnSpc>
                    <a:spcPct val="150000"/>
                  </a:lnSpc>
                </a:pPr>
                <a:r>
                  <a:rPr lang="en-US" altLang="zh-CN" sz="1100">
                    <a:solidFill>
                      <a:schemeClr val="tx1"/>
                    </a:solidFill>
                  </a:rPr>
                  <a:t>Supporti</a:t>
                </a:r>
                <a:r>
                  <a:rPr lang="en-US" altLang="zh-CN" sz="100">
                    <a:solidFill>
                      <a:schemeClr val="tx1"/>
                    </a:solidFill>
                  </a:rPr>
                  <a:t> </a:t>
                </a:r>
                <a:r>
                  <a:rPr lang="en-US" altLang="zh-CN" sz="1100">
                    <a:solidFill>
                      <a:schemeClr val="tx1"/>
                    </a:solidFill>
                  </a:rPr>
                  <a:t>ng </a:t>
                </a:r>
                <a:r>
                  <a:rPr lang="en-US" altLang="zh-CN" sz="1100" dirty="0">
                    <a:solidFill>
                      <a:schemeClr val="tx1"/>
                    </a:solidFill>
                  </a:rPr>
                  <a:t>text here.</a:t>
                </a:r>
              </a:p>
              <a:p>
                <a:pPr lvl="0" algn="ctr">
                  <a:lnSpc>
                    <a:spcPct val="150000"/>
                  </a:lnSpc>
                </a:pPr>
                <a:r>
                  <a:rPr lang="en-US" altLang="zh-CN" sz="1100" dirty="0">
                    <a:solidFill>
                      <a:schemeClr val="tx1"/>
                    </a:solidFill>
                  </a:rPr>
                  <a:t>……</a:t>
                </a:r>
              </a:p>
            </p:txBody>
          </p:sp>
        </p:grpSp>
        <p:grpSp>
          <p:nvGrpSpPr>
            <p:cNvPr id="15" name="îşľîḑe">
              <a:extLst>
                <a:ext uri="{FF2B5EF4-FFF2-40B4-BE49-F238E27FC236}">
                  <a16:creationId xmlns:a16="http://schemas.microsoft.com/office/drawing/2014/main" id="{34A72D5A-D49D-420A-8AFC-CDA8122FF49E}"/>
                </a:ext>
              </a:extLst>
            </p:cNvPr>
            <p:cNvGrpSpPr/>
            <p:nvPr/>
          </p:nvGrpSpPr>
          <p:grpSpPr>
            <a:xfrm>
              <a:off x="7252020" y="3973869"/>
              <a:ext cx="1849411" cy="997226"/>
              <a:chOff x="1072499" y="1797239"/>
              <a:chExt cx="1849411" cy="997226"/>
            </a:xfrm>
          </p:grpSpPr>
          <p:sp>
            <p:nvSpPr>
              <p:cNvPr id="19" name="ïšľide">
                <a:extLst>
                  <a:ext uri="{FF2B5EF4-FFF2-40B4-BE49-F238E27FC236}">
                    <a16:creationId xmlns:a16="http://schemas.microsoft.com/office/drawing/2014/main" id="{F5820974-7EC8-4375-86AE-E4C30FE1EAE9}"/>
                  </a:ext>
                </a:extLst>
              </p:cNvPr>
              <p:cNvSpPr/>
              <p:nvPr/>
            </p:nvSpPr>
            <p:spPr bwMode="auto">
              <a:xfrm>
                <a:off x="1072499" y="1797239"/>
                <a:ext cx="1849411" cy="379554"/>
              </a:xfrm>
              <a:prstGeom prst="rect">
                <a:avLst/>
              </a:prstGeom>
              <a:noFill/>
              <a:ln w="28575" algn="ctr">
                <a:noFill/>
                <a:round/>
                <a:headEnd/>
                <a:tailEnd/>
              </a:ln>
            </p:spPr>
            <p:txBody>
              <a:bodyPr wrap="square" lIns="91440" tIns="45720" rIns="91440" bIns="45720" anchor="ctr">
                <a:normAutofit/>
              </a:bodyPr>
              <a:lstStyle>
                <a:defPPr>
                  <a:defRPr lang="en-US"/>
                </a:defPPr>
                <a:lvl1pPr marL="0" algn="l" defTabSz="609585" rtl="0" eaLnBrk="1" latinLnBrk="0" hangingPunct="1">
                  <a:defRPr sz="2400" kern="1200">
                    <a:solidFill>
                      <a:schemeClr val="tx1"/>
                    </a:solidFill>
                  </a:defRPr>
                </a:lvl1pPr>
                <a:lvl2pPr marL="609585" algn="l" defTabSz="609585" rtl="0" eaLnBrk="1" latinLnBrk="0" hangingPunct="1">
                  <a:defRPr sz="2400" kern="1200">
                    <a:solidFill>
                      <a:schemeClr val="tx1"/>
                    </a:solidFill>
                  </a:defRPr>
                </a:lvl2pPr>
                <a:lvl3pPr marL="1219170" algn="l" defTabSz="609585" rtl="0" eaLnBrk="1" latinLnBrk="0" hangingPunct="1">
                  <a:defRPr sz="2400" kern="1200">
                    <a:solidFill>
                      <a:schemeClr val="tx1"/>
                    </a:solidFill>
                  </a:defRPr>
                </a:lvl3pPr>
                <a:lvl4pPr marL="1828754" algn="l" defTabSz="609585" rtl="0" eaLnBrk="1" latinLnBrk="0" hangingPunct="1">
                  <a:defRPr sz="2400" kern="1200">
                    <a:solidFill>
                      <a:schemeClr val="tx1"/>
                    </a:solidFill>
                  </a:defRPr>
                </a:lvl4pPr>
                <a:lvl5pPr marL="2438339" algn="l" defTabSz="609585" rtl="0" eaLnBrk="1" latinLnBrk="0" hangingPunct="1">
                  <a:defRPr sz="2400" kern="1200">
                    <a:solidFill>
                      <a:schemeClr val="tx1"/>
                    </a:solidFill>
                  </a:defRPr>
                </a:lvl5pPr>
                <a:lvl6pPr marL="3047924" algn="l" defTabSz="609585" rtl="0" eaLnBrk="1" latinLnBrk="0" hangingPunct="1">
                  <a:defRPr sz="2400" kern="1200">
                    <a:solidFill>
                      <a:schemeClr val="tx1"/>
                    </a:solidFill>
                  </a:defRPr>
                </a:lvl6pPr>
                <a:lvl7pPr marL="3657509" algn="l" defTabSz="609585" rtl="0" eaLnBrk="1" latinLnBrk="0" hangingPunct="1">
                  <a:defRPr sz="2400" kern="1200">
                    <a:solidFill>
                      <a:schemeClr val="tx1"/>
                    </a:solidFill>
                  </a:defRPr>
                </a:lvl7pPr>
                <a:lvl8pPr marL="4267093" algn="l" defTabSz="609585" rtl="0" eaLnBrk="1" latinLnBrk="0" hangingPunct="1">
                  <a:defRPr sz="2400" kern="1200">
                    <a:solidFill>
                      <a:schemeClr val="tx1"/>
                    </a:solidFill>
                  </a:defRPr>
                </a:lvl8pPr>
                <a:lvl9pPr marL="4876678" algn="l" defTabSz="609585" rtl="0" eaLnBrk="1" latinLnBrk="0" hangingPunct="1">
                  <a:defRPr sz="2400" kern="1200">
                    <a:solidFill>
                      <a:schemeClr val="tx1"/>
                    </a:solidFill>
                  </a:defRPr>
                </a:lvl9pPr>
              </a:lstStyle>
              <a:p>
                <a:pPr algn="ctr" defTabSz="914400"/>
                <a:r>
                  <a:rPr lang="en-US" altLang="zh-CN" sz="1600" b="1" kern="0"/>
                  <a:t>Tex</a:t>
                </a:r>
                <a:r>
                  <a:rPr lang="en-US" altLang="zh-CN" sz="100" b="1" kern="0"/>
                  <a:t> </a:t>
                </a:r>
                <a:r>
                  <a:rPr lang="en-US" altLang="zh-CN" sz="1600" b="1" kern="0"/>
                  <a:t>t </a:t>
                </a:r>
                <a:r>
                  <a:rPr lang="en-US" altLang="zh-CN" sz="1600" b="1" kern="0" dirty="0"/>
                  <a:t>here</a:t>
                </a:r>
                <a:endParaRPr lang="zh-CN" altLang="en-US" sz="1600" b="1" kern="0" dirty="0"/>
              </a:p>
            </p:txBody>
          </p:sp>
          <p:sp>
            <p:nvSpPr>
              <p:cNvPr id="20" name="iS1íḑê">
                <a:extLst>
                  <a:ext uri="{FF2B5EF4-FFF2-40B4-BE49-F238E27FC236}">
                    <a16:creationId xmlns:a16="http://schemas.microsoft.com/office/drawing/2014/main" id="{1A53AA3B-0EC0-4039-986D-F3369CA00F6F}"/>
                  </a:ext>
                </a:extLst>
              </p:cNvPr>
              <p:cNvSpPr/>
              <p:nvPr/>
            </p:nvSpPr>
            <p:spPr>
              <a:xfrm>
                <a:off x="1072499" y="2176793"/>
                <a:ext cx="1849411" cy="61767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en-US"/>
                </a:defPPr>
                <a:lvl1pPr marL="0" algn="l" defTabSz="609585" rtl="0" eaLnBrk="1" latinLnBrk="0" hangingPunct="1">
                  <a:defRPr sz="2400" kern="1200">
                    <a:solidFill>
                      <a:schemeClr val="lt1"/>
                    </a:solidFill>
                  </a:defRPr>
                </a:lvl1pPr>
                <a:lvl2pPr marL="609585" algn="l" defTabSz="609585" rtl="0" eaLnBrk="1" latinLnBrk="0" hangingPunct="1">
                  <a:defRPr sz="2400" kern="1200">
                    <a:solidFill>
                      <a:schemeClr val="lt1"/>
                    </a:solidFill>
                  </a:defRPr>
                </a:lvl2pPr>
                <a:lvl3pPr marL="1219170" algn="l" defTabSz="609585" rtl="0" eaLnBrk="1" latinLnBrk="0" hangingPunct="1">
                  <a:defRPr sz="2400" kern="1200">
                    <a:solidFill>
                      <a:schemeClr val="lt1"/>
                    </a:solidFill>
                  </a:defRPr>
                </a:lvl3pPr>
                <a:lvl4pPr marL="1828754" algn="l" defTabSz="609585" rtl="0" eaLnBrk="1" latinLnBrk="0" hangingPunct="1">
                  <a:defRPr sz="2400" kern="1200">
                    <a:solidFill>
                      <a:schemeClr val="lt1"/>
                    </a:solidFill>
                  </a:defRPr>
                </a:lvl4pPr>
                <a:lvl5pPr marL="2438339" algn="l" defTabSz="609585" rtl="0" eaLnBrk="1" latinLnBrk="0" hangingPunct="1">
                  <a:defRPr sz="2400" kern="1200">
                    <a:solidFill>
                      <a:schemeClr val="lt1"/>
                    </a:solidFill>
                  </a:defRPr>
                </a:lvl5pPr>
                <a:lvl6pPr marL="3047924" algn="l" defTabSz="609585" rtl="0" eaLnBrk="1" latinLnBrk="0" hangingPunct="1">
                  <a:defRPr sz="2400" kern="1200">
                    <a:solidFill>
                      <a:schemeClr val="lt1"/>
                    </a:solidFill>
                  </a:defRPr>
                </a:lvl6pPr>
                <a:lvl7pPr marL="3657509" algn="l" defTabSz="609585" rtl="0" eaLnBrk="1" latinLnBrk="0" hangingPunct="1">
                  <a:defRPr sz="2400" kern="1200">
                    <a:solidFill>
                      <a:schemeClr val="lt1"/>
                    </a:solidFill>
                  </a:defRPr>
                </a:lvl7pPr>
                <a:lvl8pPr marL="4267093" algn="l" defTabSz="609585" rtl="0" eaLnBrk="1" latinLnBrk="0" hangingPunct="1">
                  <a:defRPr sz="2400" kern="1200">
                    <a:solidFill>
                      <a:schemeClr val="lt1"/>
                    </a:solidFill>
                  </a:defRPr>
                </a:lvl8pPr>
                <a:lvl9pPr marL="4876678" algn="l" defTabSz="609585" rtl="0" eaLnBrk="1" latinLnBrk="0" hangingPunct="1">
                  <a:defRPr sz="2400" kern="1200">
                    <a:solidFill>
                      <a:schemeClr val="lt1"/>
                    </a:solidFill>
                  </a:defRPr>
                </a:lvl9pPr>
              </a:lstStyle>
              <a:p>
                <a:pPr lvl="0" algn="ctr">
                  <a:lnSpc>
                    <a:spcPct val="150000"/>
                  </a:lnSpc>
                </a:pPr>
                <a:r>
                  <a:rPr lang="en-US" altLang="zh-CN" sz="1100">
                    <a:solidFill>
                      <a:schemeClr val="tx1"/>
                    </a:solidFill>
                  </a:rPr>
                  <a:t>Supporti</a:t>
                </a:r>
                <a:r>
                  <a:rPr lang="en-US" altLang="zh-CN" sz="100">
                    <a:solidFill>
                      <a:schemeClr val="tx1"/>
                    </a:solidFill>
                  </a:rPr>
                  <a:t> </a:t>
                </a:r>
                <a:r>
                  <a:rPr lang="en-US" altLang="zh-CN" sz="1100">
                    <a:solidFill>
                      <a:schemeClr val="tx1"/>
                    </a:solidFill>
                  </a:rPr>
                  <a:t>ng </a:t>
                </a:r>
                <a:r>
                  <a:rPr lang="en-US" altLang="zh-CN" sz="1100" dirty="0">
                    <a:solidFill>
                      <a:schemeClr val="tx1"/>
                    </a:solidFill>
                  </a:rPr>
                  <a:t>text here.</a:t>
                </a:r>
              </a:p>
              <a:p>
                <a:pPr lvl="0" algn="ctr">
                  <a:lnSpc>
                    <a:spcPct val="150000"/>
                  </a:lnSpc>
                </a:pPr>
                <a:r>
                  <a:rPr lang="en-US" altLang="zh-CN" sz="1100" dirty="0">
                    <a:solidFill>
                      <a:schemeClr val="tx1"/>
                    </a:solidFill>
                  </a:rPr>
                  <a:t>……</a:t>
                </a:r>
              </a:p>
            </p:txBody>
          </p:sp>
        </p:grpSp>
        <p:grpSp>
          <p:nvGrpSpPr>
            <p:cNvPr id="16" name="ïṡliḋè">
              <a:extLst>
                <a:ext uri="{FF2B5EF4-FFF2-40B4-BE49-F238E27FC236}">
                  <a16:creationId xmlns:a16="http://schemas.microsoft.com/office/drawing/2014/main" id="{1F9AAB4C-B607-412E-B162-324E845C967E}"/>
                </a:ext>
              </a:extLst>
            </p:cNvPr>
            <p:cNvGrpSpPr/>
            <p:nvPr/>
          </p:nvGrpSpPr>
          <p:grpSpPr>
            <a:xfrm>
              <a:off x="9332747" y="3973869"/>
              <a:ext cx="1849411" cy="997226"/>
              <a:chOff x="1072499" y="1797239"/>
              <a:chExt cx="1849411" cy="997226"/>
            </a:xfrm>
          </p:grpSpPr>
          <p:sp>
            <p:nvSpPr>
              <p:cNvPr id="17" name="ïSḻïḓe">
                <a:extLst>
                  <a:ext uri="{FF2B5EF4-FFF2-40B4-BE49-F238E27FC236}">
                    <a16:creationId xmlns:a16="http://schemas.microsoft.com/office/drawing/2014/main" id="{D418AB33-C541-4ECA-BBC7-E1080905DF18}"/>
                  </a:ext>
                </a:extLst>
              </p:cNvPr>
              <p:cNvSpPr/>
              <p:nvPr/>
            </p:nvSpPr>
            <p:spPr bwMode="auto">
              <a:xfrm>
                <a:off x="1072499" y="1797239"/>
                <a:ext cx="1849411" cy="379554"/>
              </a:xfrm>
              <a:prstGeom prst="rect">
                <a:avLst/>
              </a:prstGeom>
              <a:noFill/>
              <a:ln w="28575" algn="ctr">
                <a:noFill/>
                <a:round/>
                <a:headEnd/>
                <a:tailEnd/>
              </a:ln>
            </p:spPr>
            <p:txBody>
              <a:bodyPr wrap="square" lIns="91440" tIns="45720" rIns="91440" bIns="45720" anchor="ctr">
                <a:normAutofit/>
              </a:bodyPr>
              <a:lstStyle>
                <a:defPPr>
                  <a:defRPr lang="en-US"/>
                </a:defPPr>
                <a:lvl1pPr marL="0" algn="l" defTabSz="609585" rtl="0" eaLnBrk="1" latinLnBrk="0" hangingPunct="1">
                  <a:defRPr sz="2400" kern="1200">
                    <a:solidFill>
                      <a:schemeClr val="tx1"/>
                    </a:solidFill>
                  </a:defRPr>
                </a:lvl1pPr>
                <a:lvl2pPr marL="609585" algn="l" defTabSz="609585" rtl="0" eaLnBrk="1" latinLnBrk="0" hangingPunct="1">
                  <a:defRPr sz="2400" kern="1200">
                    <a:solidFill>
                      <a:schemeClr val="tx1"/>
                    </a:solidFill>
                  </a:defRPr>
                </a:lvl2pPr>
                <a:lvl3pPr marL="1219170" algn="l" defTabSz="609585" rtl="0" eaLnBrk="1" latinLnBrk="0" hangingPunct="1">
                  <a:defRPr sz="2400" kern="1200">
                    <a:solidFill>
                      <a:schemeClr val="tx1"/>
                    </a:solidFill>
                  </a:defRPr>
                </a:lvl3pPr>
                <a:lvl4pPr marL="1828754" algn="l" defTabSz="609585" rtl="0" eaLnBrk="1" latinLnBrk="0" hangingPunct="1">
                  <a:defRPr sz="2400" kern="1200">
                    <a:solidFill>
                      <a:schemeClr val="tx1"/>
                    </a:solidFill>
                  </a:defRPr>
                </a:lvl4pPr>
                <a:lvl5pPr marL="2438339" algn="l" defTabSz="609585" rtl="0" eaLnBrk="1" latinLnBrk="0" hangingPunct="1">
                  <a:defRPr sz="2400" kern="1200">
                    <a:solidFill>
                      <a:schemeClr val="tx1"/>
                    </a:solidFill>
                  </a:defRPr>
                </a:lvl5pPr>
                <a:lvl6pPr marL="3047924" algn="l" defTabSz="609585" rtl="0" eaLnBrk="1" latinLnBrk="0" hangingPunct="1">
                  <a:defRPr sz="2400" kern="1200">
                    <a:solidFill>
                      <a:schemeClr val="tx1"/>
                    </a:solidFill>
                  </a:defRPr>
                </a:lvl6pPr>
                <a:lvl7pPr marL="3657509" algn="l" defTabSz="609585" rtl="0" eaLnBrk="1" latinLnBrk="0" hangingPunct="1">
                  <a:defRPr sz="2400" kern="1200">
                    <a:solidFill>
                      <a:schemeClr val="tx1"/>
                    </a:solidFill>
                  </a:defRPr>
                </a:lvl7pPr>
                <a:lvl8pPr marL="4267093" algn="l" defTabSz="609585" rtl="0" eaLnBrk="1" latinLnBrk="0" hangingPunct="1">
                  <a:defRPr sz="2400" kern="1200">
                    <a:solidFill>
                      <a:schemeClr val="tx1"/>
                    </a:solidFill>
                  </a:defRPr>
                </a:lvl8pPr>
                <a:lvl9pPr marL="4876678" algn="l" defTabSz="609585" rtl="0" eaLnBrk="1" latinLnBrk="0" hangingPunct="1">
                  <a:defRPr sz="2400" kern="1200">
                    <a:solidFill>
                      <a:schemeClr val="tx1"/>
                    </a:solidFill>
                  </a:defRPr>
                </a:lvl9pPr>
              </a:lstStyle>
              <a:p>
                <a:pPr algn="ctr" defTabSz="914400"/>
                <a:r>
                  <a:rPr lang="en-US" altLang="zh-CN" sz="1600" b="1" kern="0"/>
                  <a:t>Tex</a:t>
                </a:r>
                <a:r>
                  <a:rPr lang="en-US" altLang="zh-CN" sz="100" b="1" kern="0"/>
                  <a:t> </a:t>
                </a:r>
                <a:r>
                  <a:rPr lang="en-US" altLang="zh-CN" sz="1600" b="1" kern="0"/>
                  <a:t>t </a:t>
                </a:r>
                <a:r>
                  <a:rPr lang="en-US" altLang="zh-CN" sz="1600" b="1" kern="0" dirty="0"/>
                  <a:t>here</a:t>
                </a:r>
                <a:endParaRPr lang="zh-CN" altLang="en-US" sz="1600" b="1" kern="0" dirty="0"/>
              </a:p>
            </p:txBody>
          </p:sp>
          <p:sp>
            <p:nvSpPr>
              <p:cNvPr id="18" name="îṥḻîḍê">
                <a:extLst>
                  <a:ext uri="{FF2B5EF4-FFF2-40B4-BE49-F238E27FC236}">
                    <a16:creationId xmlns:a16="http://schemas.microsoft.com/office/drawing/2014/main" id="{0B4EA58B-19E5-4946-88F4-00772E468729}"/>
                  </a:ext>
                </a:extLst>
              </p:cNvPr>
              <p:cNvSpPr/>
              <p:nvPr/>
            </p:nvSpPr>
            <p:spPr>
              <a:xfrm>
                <a:off x="1072499" y="2176793"/>
                <a:ext cx="1849411" cy="61767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en-US"/>
                </a:defPPr>
                <a:lvl1pPr marL="0" algn="l" defTabSz="609585" rtl="0" eaLnBrk="1" latinLnBrk="0" hangingPunct="1">
                  <a:defRPr sz="2400" kern="1200">
                    <a:solidFill>
                      <a:schemeClr val="lt1"/>
                    </a:solidFill>
                  </a:defRPr>
                </a:lvl1pPr>
                <a:lvl2pPr marL="609585" algn="l" defTabSz="609585" rtl="0" eaLnBrk="1" latinLnBrk="0" hangingPunct="1">
                  <a:defRPr sz="2400" kern="1200">
                    <a:solidFill>
                      <a:schemeClr val="lt1"/>
                    </a:solidFill>
                  </a:defRPr>
                </a:lvl2pPr>
                <a:lvl3pPr marL="1219170" algn="l" defTabSz="609585" rtl="0" eaLnBrk="1" latinLnBrk="0" hangingPunct="1">
                  <a:defRPr sz="2400" kern="1200">
                    <a:solidFill>
                      <a:schemeClr val="lt1"/>
                    </a:solidFill>
                  </a:defRPr>
                </a:lvl3pPr>
                <a:lvl4pPr marL="1828754" algn="l" defTabSz="609585" rtl="0" eaLnBrk="1" latinLnBrk="0" hangingPunct="1">
                  <a:defRPr sz="2400" kern="1200">
                    <a:solidFill>
                      <a:schemeClr val="lt1"/>
                    </a:solidFill>
                  </a:defRPr>
                </a:lvl4pPr>
                <a:lvl5pPr marL="2438339" algn="l" defTabSz="609585" rtl="0" eaLnBrk="1" latinLnBrk="0" hangingPunct="1">
                  <a:defRPr sz="2400" kern="1200">
                    <a:solidFill>
                      <a:schemeClr val="lt1"/>
                    </a:solidFill>
                  </a:defRPr>
                </a:lvl5pPr>
                <a:lvl6pPr marL="3047924" algn="l" defTabSz="609585" rtl="0" eaLnBrk="1" latinLnBrk="0" hangingPunct="1">
                  <a:defRPr sz="2400" kern="1200">
                    <a:solidFill>
                      <a:schemeClr val="lt1"/>
                    </a:solidFill>
                  </a:defRPr>
                </a:lvl6pPr>
                <a:lvl7pPr marL="3657509" algn="l" defTabSz="609585" rtl="0" eaLnBrk="1" latinLnBrk="0" hangingPunct="1">
                  <a:defRPr sz="2400" kern="1200">
                    <a:solidFill>
                      <a:schemeClr val="lt1"/>
                    </a:solidFill>
                  </a:defRPr>
                </a:lvl7pPr>
                <a:lvl8pPr marL="4267093" algn="l" defTabSz="609585" rtl="0" eaLnBrk="1" latinLnBrk="0" hangingPunct="1">
                  <a:defRPr sz="2400" kern="1200">
                    <a:solidFill>
                      <a:schemeClr val="lt1"/>
                    </a:solidFill>
                  </a:defRPr>
                </a:lvl8pPr>
                <a:lvl9pPr marL="4876678" algn="l" defTabSz="609585" rtl="0" eaLnBrk="1" latinLnBrk="0" hangingPunct="1">
                  <a:defRPr sz="2400" kern="1200">
                    <a:solidFill>
                      <a:schemeClr val="lt1"/>
                    </a:solidFill>
                  </a:defRPr>
                </a:lvl9pPr>
              </a:lstStyle>
              <a:p>
                <a:pPr lvl="0" algn="ctr">
                  <a:lnSpc>
                    <a:spcPct val="150000"/>
                  </a:lnSpc>
                </a:pPr>
                <a:r>
                  <a:rPr lang="en-US" altLang="zh-CN" sz="1100">
                    <a:solidFill>
                      <a:schemeClr val="tx1"/>
                    </a:solidFill>
                  </a:rPr>
                  <a:t>Supporti</a:t>
                </a:r>
                <a:r>
                  <a:rPr lang="en-US" altLang="zh-CN" sz="100">
                    <a:solidFill>
                      <a:schemeClr val="tx1"/>
                    </a:solidFill>
                  </a:rPr>
                  <a:t> </a:t>
                </a:r>
                <a:r>
                  <a:rPr lang="en-US" altLang="zh-CN" sz="1100">
                    <a:solidFill>
                      <a:schemeClr val="tx1"/>
                    </a:solidFill>
                  </a:rPr>
                  <a:t>ng </a:t>
                </a:r>
                <a:r>
                  <a:rPr lang="en-US" altLang="zh-CN" sz="1100" dirty="0">
                    <a:solidFill>
                      <a:schemeClr val="tx1"/>
                    </a:solidFill>
                  </a:rPr>
                  <a:t>text here.</a:t>
                </a:r>
              </a:p>
              <a:p>
                <a:pPr lvl="0" algn="ctr">
                  <a:lnSpc>
                    <a:spcPct val="150000"/>
                  </a:lnSpc>
                </a:pPr>
                <a:r>
                  <a:rPr lang="en-US" altLang="zh-CN" sz="1100" dirty="0">
                    <a:solidFill>
                      <a:schemeClr val="tx1"/>
                    </a:solidFill>
                  </a:rPr>
                  <a:t>……</a:t>
                </a:r>
              </a:p>
            </p:txBody>
          </p:sp>
        </p:grpSp>
      </p:grpSp>
    </p:spTree>
    <p:extLst>
      <p:ext uri="{BB962C8B-B14F-4D97-AF65-F5344CB8AC3E}">
        <p14:creationId xmlns:p14="http://schemas.microsoft.com/office/powerpoint/2010/main" val="12300433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ïṧļiďé"/>
        <p:cNvGrpSpPr/>
        <p:nvPr/>
      </p:nvGrpSpPr>
      <p:grpSpPr>
        <a:xfrm>
          <a:off x="0" y="0"/>
          <a:ext cx="0" cy="0"/>
          <a:chOff x="0" y="0"/>
          <a:chExt cx="0" cy="0"/>
        </a:xfrm>
      </p:grpSpPr>
      <p:sp>
        <p:nvSpPr>
          <p:cNvPr id="5" name="îṣļídé"/>
          <p:cNvSpPr>
            <a:spLocks noGrp="1"/>
          </p:cNvSpPr>
          <p:nvPr>
            <p:ph type="title"/>
          </p:nvPr>
        </p:nvSpPr>
        <p:spPr/>
        <p:txBody>
          <a:bodyPr>
            <a:normAutofit/>
          </a:bodyPr>
          <a:lstStyle/>
          <a:p>
            <a:r>
              <a:rPr lang="en-GB" altLang="zh-CN" sz="2000" dirty="0"/>
              <a:t>Prevention in after virus epidemic areas</a:t>
            </a:r>
            <a:endParaRPr lang="zh-CN" altLang="en-US" sz="2000" dirty="0"/>
          </a:p>
        </p:txBody>
      </p:sp>
      <p:sp>
        <p:nvSpPr>
          <p:cNvPr id="6" name="îŝļïḓé"/>
          <p:cNvSpPr>
            <a:spLocks noGrp="1"/>
          </p:cNvSpPr>
          <p:nvPr>
            <p:ph type="body" idx="1"/>
          </p:nvPr>
        </p:nvSpPr>
        <p:spPr/>
        <p:txBody>
          <a:bodyPr/>
          <a:lstStyle/>
          <a:p>
            <a:pPr lvl="0"/>
            <a:r>
              <a:rPr lang="en-US" altLang="zh-CN" dirty="0"/>
              <a:t>Supporting text here.</a:t>
            </a:r>
          </a:p>
          <a:p>
            <a:pPr lvl="0"/>
            <a:r>
              <a:rPr lang="en-US" altLang="zh-CN" dirty="0"/>
              <a:t>When you copy &amp; paste, choose "keep text only" option.</a:t>
            </a:r>
            <a:endParaRPr lang="zh-CN" altLang="en-US" dirty="0"/>
          </a:p>
        </p:txBody>
      </p:sp>
      <p:cxnSp>
        <p:nvCxnSpPr>
          <p:cNvPr id="3" name="ís1îḑê">
            <a:extLst>
              <a:ext uri="{FF2B5EF4-FFF2-40B4-BE49-F238E27FC236}">
                <a16:creationId xmlns:a16="http://schemas.microsoft.com/office/drawing/2014/main" id="{5462E359-6463-4103-B628-E98E06C05E01}"/>
              </a:ext>
            </a:extLst>
          </p:cNvPr>
          <p:cNvCxnSpPr>
            <a:cxnSpLocks/>
          </p:cNvCxnSpPr>
          <p:nvPr/>
        </p:nvCxnSpPr>
        <p:spPr>
          <a:xfrm>
            <a:off x="5489847" y="3479800"/>
            <a:ext cx="6702153" cy="0"/>
          </a:xfrm>
          <a:prstGeom prst="line">
            <a:avLst/>
          </a:prstGeom>
        </p:spPr>
        <p:style>
          <a:lnRef idx="1">
            <a:schemeClr val="accent1"/>
          </a:lnRef>
          <a:fillRef idx="0">
            <a:schemeClr val="accent1"/>
          </a:fillRef>
          <a:effectRef idx="0">
            <a:schemeClr val="accent1"/>
          </a:effectRef>
          <a:fontRef idx="minor">
            <a:schemeClr val="tx1"/>
          </a:fontRef>
        </p:style>
      </p:cxnSp>
      <p:sp>
        <p:nvSpPr>
          <p:cNvPr id="7" name="iṩľiḓê">
            <a:extLst>
              <a:ext uri="{FF2B5EF4-FFF2-40B4-BE49-F238E27FC236}">
                <a16:creationId xmlns:a16="http://schemas.microsoft.com/office/drawing/2014/main" id="{3B2695F9-836E-4BAB-9C63-A30282033AEB}"/>
              </a:ext>
            </a:extLst>
          </p:cNvPr>
          <p:cNvSpPr txBox="1"/>
          <p:nvPr/>
        </p:nvSpPr>
        <p:spPr>
          <a:xfrm>
            <a:off x="5489847" y="2242733"/>
            <a:ext cx="1742303" cy="1323439"/>
          </a:xfrm>
          <a:prstGeom prst="rect">
            <a:avLst/>
          </a:prstGeom>
          <a:noFill/>
        </p:spPr>
        <p:txBody>
          <a:bodyPr wrap="square" rtlCol="0">
            <a:spAutoFit/>
          </a:bodyPr>
          <a:lstStyle/>
          <a:p>
            <a:r>
              <a:rPr lang="en-US" altLang="zh-CN" sz="8000" dirty="0">
                <a:solidFill>
                  <a:schemeClr val="accent1"/>
                </a:solidFill>
                <a:latin typeface="Impact" panose="020B0806030902050204" pitchFamily="34" charset="0"/>
              </a:rPr>
              <a:t>/02</a:t>
            </a:r>
            <a:endParaRPr lang="zh-CN" altLang="en-US" sz="8000" dirty="0">
              <a:solidFill>
                <a:schemeClr val="accent1"/>
              </a:solidFill>
              <a:latin typeface="Impact" panose="020B0806030902050204" pitchFamily="34" charset="0"/>
            </a:endParaRPr>
          </a:p>
        </p:txBody>
      </p:sp>
    </p:spTree>
    <p:extLst>
      <p:ext uri="{BB962C8B-B14F-4D97-AF65-F5344CB8AC3E}">
        <p14:creationId xmlns:p14="http://schemas.microsoft.com/office/powerpoint/2010/main" val="17207609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GB" altLang="zh-CN" dirty="0"/>
              <a:t>Prevention in after virus epidemic areas</a:t>
            </a:r>
            <a:endParaRPr lang="zh-CN" altLang="en-US" dirty="0"/>
          </a:p>
        </p:txBody>
      </p:sp>
      <p:sp>
        <p:nvSpPr>
          <p:cNvPr id="3" name="页脚占位符 2"/>
          <p:cNvSpPr>
            <a:spLocks noGrp="1"/>
          </p:cNvSpPr>
          <p:nvPr>
            <p:ph type="ftr" sz="quarter" idx="11"/>
          </p:nvPr>
        </p:nvSpPr>
        <p:spPr/>
        <p:txBody>
          <a:bodyPr/>
          <a:lstStyle/>
          <a:p>
            <a:r>
              <a:rPr lang="en-GB" altLang="zh-CN" dirty="0"/>
              <a:t>https://iSlide-PowerPoint.com </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8</a:t>
            </a:fld>
            <a:endParaRPr lang="zh-CN" altLang="en-US"/>
          </a:p>
        </p:txBody>
      </p:sp>
      <p:grpSp>
        <p:nvGrpSpPr>
          <p:cNvPr id="5" name="27762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1021132" y="1130300"/>
            <a:ext cx="10149736" cy="5016500"/>
            <a:chOff x="1021132" y="1130300"/>
            <a:chExt cx="10149736" cy="5016500"/>
          </a:xfrm>
        </p:grpSpPr>
        <p:grpSp>
          <p:nvGrpSpPr>
            <p:cNvPr id="6" name="ïsļiďé"/>
            <p:cNvGrpSpPr/>
            <p:nvPr/>
          </p:nvGrpSpPr>
          <p:grpSpPr>
            <a:xfrm>
              <a:off x="3488559" y="1412681"/>
              <a:ext cx="5214883" cy="4734119"/>
              <a:chOff x="3488558" y="1412681"/>
              <a:chExt cx="5214883" cy="4734119"/>
            </a:xfrm>
          </p:grpSpPr>
          <p:grpSp>
            <p:nvGrpSpPr>
              <p:cNvPr id="19" name="íŝḻíde"/>
              <p:cNvGrpSpPr/>
              <p:nvPr/>
            </p:nvGrpSpPr>
            <p:grpSpPr>
              <a:xfrm>
                <a:off x="3774922" y="4810429"/>
                <a:ext cx="4570569" cy="1336371"/>
                <a:chOff x="3774922" y="4810429"/>
                <a:chExt cx="4570569" cy="1336371"/>
              </a:xfrm>
            </p:grpSpPr>
            <p:sp>
              <p:nvSpPr>
                <p:cNvPr id="25" name="ïśliḑe">
                  <a:extLst>
                    <a:ext uri="{FF2B5EF4-FFF2-40B4-BE49-F238E27FC236}">
                      <a16:creationId xmlns:a16="http://schemas.microsoft.com/office/drawing/2014/main" id="{87CDE8E4-FACE-4227-8D92-921C1680CAD5}"/>
                    </a:ext>
                  </a:extLst>
                </p:cNvPr>
                <p:cNvSpPr/>
                <p:nvPr/>
              </p:nvSpPr>
              <p:spPr bwMode="auto">
                <a:xfrm>
                  <a:off x="3774922" y="5457554"/>
                  <a:ext cx="2286687" cy="673794"/>
                </a:xfrm>
                <a:custGeom>
                  <a:avLst/>
                  <a:gdLst>
                    <a:gd name="T0" fmla="*/ 0 w 1629"/>
                    <a:gd name="T1" fmla="*/ 480 h 480"/>
                    <a:gd name="T2" fmla="*/ 439 w 1629"/>
                    <a:gd name="T3" fmla="*/ 0 h 480"/>
                    <a:gd name="T4" fmla="*/ 1629 w 1629"/>
                    <a:gd name="T5" fmla="*/ 53 h 480"/>
                    <a:gd name="T6" fmla="*/ 1629 w 1629"/>
                    <a:gd name="T7" fmla="*/ 478 h 480"/>
                    <a:gd name="T8" fmla="*/ 0 w 1629"/>
                    <a:gd name="T9" fmla="*/ 480 h 480"/>
                  </a:gdLst>
                  <a:ahLst/>
                  <a:cxnLst>
                    <a:cxn ang="0">
                      <a:pos x="T0" y="T1"/>
                    </a:cxn>
                    <a:cxn ang="0">
                      <a:pos x="T2" y="T3"/>
                    </a:cxn>
                    <a:cxn ang="0">
                      <a:pos x="T4" y="T5"/>
                    </a:cxn>
                    <a:cxn ang="0">
                      <a:pos x="T6" y="T7"/>
                    </a:cxn>
                    <a:cxn ang="0">
                      <a:pos x="T8" y="T9"/>
                    </a:cxn>
                  </a:cxnLst>
                  <a:rect l="0" t="0" r="r" b="b"/>
                  <a:pathLst>
                    <a:path w="1629" h="480">
                      <a:moveTo>
                        <a:pt x="0" y="480"/>
                      </a:moveTo>
                      <a:lnTo>
                        <a:pt x="439" y="0"/>
                      </a:lnTo>
                      <a:lnTo>
                        <a:pt x="1629" y="53"/>
                      </a:lnTo>
                      <a:lnTo>
                        <a:pt x="1629" y="478"/>
                      </a:lnTo>
                      <a:lnTo>
                        <a:pt x="0" y="48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ndParaRPr>
                </a:p>
              </p:txBody>
            </p:sp>
            <p:sp>
              <p:nvSpPr>
                <p:cNvPr id="26" name="íš1idê">
                  <a:extLst>
                    <a:ext uri="{FF2B5EF4-FFF2-40B4-BE49-F238E27FC236}">
                      <a16:creationId xmlns:a16="http://schemas.microsoft.com/office/drawing/2014/main" id="{792A3595-5EC6-4156-BF8A-6A103BBD767C}"/>
                    </a:ext>
                  </a:extLst>
                </p:cNvPr>
                <p:cNvSpPr/>
                <p:nvPr/>
              </p:nvSpPr>
              <p:spPr bwMode="auto">
                <a:xfrm>
                  <a:off x="3774922" y="6055545"/>
                  <a:ext cx="2286687" cy="75802"/>
                </a:xfrm>
                <a:custGeom>
                  <a:avLst/>
                  <a:gdLst>
                    <a:gd name="T0" fmla="*/ 47 w 1629"/>
                    <a:gd name="T1" fmla="*/ 2 h 54"/>
                    <a:gd name="T2" fmla="*/ 0 w 1629"/>
                    <a:gd name="T3" fmla="*/ 54 h 54"/>
                    <a:gd name="T4" fmla="*/ 1629 w 1629"/>
                    <a:gd name="T5" fmla="*/ 52 h 54"/>
                    <a:gd name="T6" fmla="*/ 1629 w 1629"/>
                    <a:gd name="T7" fmla="*/ 0 h 54"/>
                    <a:gd name="T8" fmla="*/ 47 w 1629"/>
                    <a:gd name="T9" fmla="*/ 2 h 54"/>
                  </a:gdLst>
                  <a:ahLst/>
                  <a:cxnLst>
                    <a:cxn ang="0">
                      <a:pos x="T0" y="T1"/>
                    </a:cxn>
                    <a:cxn ang="0">
                      <a:pos x="T2" y="T3"/>
                    </a:cxn>
                    <a:cxn ang="0">
                      <a:pos x="T4" y="T5"/>
                    </a:cxn>
                    <a:cxn ang="0">
                      <a:pos x="T6" y="T7"/>
                    </a:cxn>
                    <a:cxn ang="0">
                      <a:pos x="T8" y="T9"/>
                    </a:cxn>
                  </a:cxnLst>
                  <a:rect l="0" t="0" r="r" b="b"/>
                  <a:pathLst>
                    <a:path w="1629" h="54">
                      <a:moveTo>
                        <a:pt x="47" y="2"/>
                      </a:moveTo>
                      <a:lnTo>
                        <a:pt x="0" y="54"/>
                      </a:lnTo>
                      <a:lnTo>
                        <a:pt x="1629" y="52"/>
                      </a:lnTo>
                      <a:lnTo>
                        <a:pt x="1629" y="0"/>
                      </a:lnTo>
                      <a:lnTo>
                        <a:pt x="47" y="2"/>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ndParaRPr>
                </a:p>
              </p:txBody>
            </p:sp>
            <p:sp>
              <p:nvSpPr>
                <p:cNvPr id="27" name="iŝḷïḑe">
                  <a:extLst>
                    <a:ext uri="{FF2B5EF4-FFF2-40B4-BE49-F238E27FC236}">
                      <a16:creationId xmlns:a16="http://schemas.microsoft.com/office/drawing/2014/main" id="{39128F4F-C378-402C-8429-FC8D3BA72CFD}"/>
                    </a:ext>
                  </a:extLst>
                </p:cNvPr>
                <p:cNvSpPr/>
                <p:nvPr/>
              </p:nvSpPr>
              <p:spPr bwMode="auto">
                <a:xfrm>
                  <a:off x="4131471" y="5211899"/>
                  <a:ext cx="1906276" cy="932082"/>
                </a:xfrm>
                <a:custGeom>
                  <a:avLst/>
                  <a:gdLst>
                    <a:gd name="T0" fmla="*/ 838 w 838"/>
                    <a:gd name="T1" fmla="*/ 410 h 410"/>
                    <a:gd name="T2" fmla="*/ 838 w 838"/>
                    <a:gd name="T3" fmla="*/ 131 h 410"/>
                    <a:gd name="T4" fmla="*/ 155 w 838"/>
                    <a:gd name="T5" fmla="*/ 20 h 410"/>
                    <a:gd name="T6" fmla="*/ 0 w 838"/>
                    <a:gd name="T7" fmla="*/ 183 h 410"/>
                    <a:gd name="T8" fmla="*/ 838 w 838"/>
                    <a:gd name="T9" fmla="*/ 410 h 410"/>
                  </a:gdLst>
                  <a:ahLst/>
                  <a:cxnLst>
                    <a:cxn ang="0">
                      <a:pos x="T0" y="T1"/>
                    </a:cxn>
                    <a:cxn ang="0">
                      <a:pos x="T2" y="T3"/>
                    </a:cxn>
                    <a:cxn ang="0">
                      <a:pos x="T4" y="T5"/>
                    </a:cxn>
                    <a:cxn ang="0">
                      <a:pos x="T6" y="T7"/>
                    </a:cxn>
                    <a:cxn ang="0">
                      <a:pos x="T8" y="T9"/>
                    </a:cxn>
                  </a:cxnLst>
                  <a:rect l="0" t="0" r="r" b="b"/>
                  <a:pathLst>
                    <a:path w="838" h="410">
                      <a:moveTo>
                        <a:pt x="838" y="410"/>
                      </a:moveTo>
                      <a:cubicBezTo>
                        <a:pt x="838" y="131"/>
                        <a:pt x="838" y="131"/>
                        <a:pt x="838" y="131"/>
                      </a:cubicBezTo>
                      <a:cubicBezTo>
                        <a:pt x="838" y="131"/>
                        <a:pt x="459" y="0"/>
                        <a:pt x="155" y="20"/>
                      </a:cubicBezTo>
                      <a:cubicBezTo>
                        <a:pt x="80" y="94"/>
                        <a:pt x="0" y="183"/>
                        <a:pt x="0" y="183"/>
                      </a:cubicBezTo>
                      <a:cubicBezTo>
                        <a:pt x="0" y="183"/>
                        <a:pt x="596" y="98"/>
                        <a:pt x="838" y="410"/>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ndParaRPr>
                </a:p>
              </p:txBody>
            </p:sp>
            <p:sp>
              <p:nvSpPr>
                <p:cNvPr id="28" name="ïṩlidè">
                  <a:extLst>
                    <a:ext uri="{FF2B5EF4-FFF2-40B4-BE49-F238E27FC236}">
                      <a16:creationId xmlns:a16="http://schemas.microsoft.com/office/drawing/2014/main" id="{43DF72E7-DFDA-4846-A796-ED4D773E53F9}"/>
                    </a:ext>
                  </a:extLst>
                </p:cNvPr>
                <p:cNvSpPr/>
                <p:nvPr/>
              </p:nvSpPr>
              <p:spPr bwMode="auto">
                <a:xfrm>
                  <a:off x="4259211" y="5124868"/>
                  <a:ext cx="1792571" cy="1006481"/>
                </a:xfrm>
                <a:custGeom>
                  <a:avLst/>
                  <a:gdLst>
                    <a:gd name="T0" fmla="*/ 788 w 788"/>
                    <a:gd name="T1" fmla="*/ 442 h 442"/>
                    <a:gd name="T2" fmla="*/ 788 w 788"/>
                    <a:gd name="T3" fmla="*/ 162 h 442"/>
                    <a:gd name="T4" fmla="*/ 155 w 788"/>
                    <a:gd name="T5" fmla="*/ 20 h 442"/>
                    <a:gd name="T6" fmla="*/ 0 w 788"/>
                    <a:gd name="T7" fmla="*/ 183 h 442"/>
                    <a:gd name="T8" fmla="*/ 788 w 788"/>
                    <a:gd name="T9" fmla="*/ 442 h 442"/>
                  </a:gdLst>
                  <a:ahLst/>
                  <a:cxnLst>
                    <a:cxn ang="0">
                      <a:pos x="T0" y="T1"/>
                    </a:cxn>
                    <a:cxn ang="0">
                      <a:pos x="T2" y="T3"/>
                    </a:cxn>
                    <a:cxn ang="0">
                      <a:pos x="T4" y="T5"/>
                    </a:cxn>
                    <a:cxn ang="0">
                      <a:pos x="T6" y="T7"/>
                    </a:cxn>
                    <a:cxn ang="0">
                      <a:pos x="T8" y="T9"/>
                    </a:cxn>
                  </a:cxnLst>
                  <a:rect l="0" t="0" r="r" b="b"/>
                  <a:pathLst>
                    <a:path w="788" h="442">
                      <a:moveTo>
                        <a:pt x="788" y="442"/>
                      </a:moveTo>
                      <a:cubicBezTo>
                        <a:pt x="788" y="162"/>
                        <a:pt x="788" y="162"/>
                        <a:pt x="788" y="162"/>
                      </a:cubicBezTo>
                      <a:cubicBezTo>
                        <a:pt x="788" y="162"/>
                        <a:pt x="459" y="0"/>
                        <a:pt x="155" y="20"/>
                      </a:cubicBezTo>
                      <a:cubicBezTo>
                        <a:pt x="80" y="94"/>
                        <a:pt x="0" y="183"/>
                        <a:pt x="0" y="183"/>
                      </a:cubicBezTo>
                      <a:cubicBezTo>
                        <a:pt x="0" y="183"/>
                        <a:pt x="553" y="101"/>
                        <a:pt x="788" y="442"/>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ndParaRPr>
                </a:p>
              </p:txBody>
            </p:sp>
            <p:sp>
              <p:nvSpPr>
                <p:cNvPr id="29" name="iṩļíďè">
                  <a:extLst>
                    <a:ext uri="{FF2B5EF4-FFF2-40B4-BE49-F238E27FC236}">
                      <a16:creationId xmlns:a16="http://schemas.microsoft.com/office/drawing/2014/main" id="{BEF79080-A39E-45F8-B0CC-27530EB8D897}"/>
                    </a:ext>
                  </a:extLst>
                </p:cNvPr>
                <p:cNvSpPr/>
                <p:nvPr/>
              </p:nvSpPr>
              <p:spPr bwMode="auto">
                <a:xfrm>
                  <a:off x="4236752" y="5079948"/>
                  <a:ext cx="1815032" cy="1005078"/>
                </a:xfrm>
                <a:custGeom>
                  <a:avLst/>
                  <a:gdLst>
                    <a:gd name="T0" fmla="*/ 798 w 798"/>
                    <a:gd name="T1" fmla="*/ 442 h 442"/>
                    <a:gd name="T2" fmla="*/ 798 w 798"/>
                    <a:gd name="T3" fmla="*/ 163 h 442"/>
                    <a:gd name="T4" fmla="*/ 165 w 798"/>
                    <a:gd name="T5" fmla="*/ 20 h 442"/>
                    <a:gd name="T6" fmla="*/ 0 w 798"/>
                    <a:gd name="T7" fmla="*/ 151 h 442"/>
                    <a:gd name="T8" fmla="*/ 798 w 798"/>
                    <a:gd name="T9" fmla="*/ 442 h 442"/>
                  </a:gdLst>
                  <a:ahLst/>
                  <a:cxnLst>
                    <a:cxn ang="0">
                      <a:pos x="T0" y="T1"/>
                    </a:cxn>
                    <a:cxn ang="0">
                      <a:pos x="T2" y="T3"/>
                    </a:cxn>
                    <a:cxn ang="0">
                      <a:pos x="T4" y="T5"/>
                    </a:cxn>
                    <a:cxn ang="0">
                      <a:pos x="T6" y="T7"/>
                    </a:cxn>
                    <a:cxn ang="0">
                      <a:pos x="T8" y="T9"/>
                    </a:cxn>
                  </a:cxnLst>
                  <a:rect l="0" t="0" r="r" b="b"/>
                  <a:pathLst>
                    <a:path w="798" h="442">
                      <a:moveTo>
                        <a:pt x="798" y="442"/>
                      </a:moveTo>
                      <a:cubicBezTo>
                        <a:pt x="798" y="163"/>
                        <a:pt x="798" y="163"/>
                        <a:pt x="798" y="163"/>
                      </a:cubicBezTo>
                      <a:cubicBezTo>
                        <a:pt x="798" y="163"/>
                        <a:pt x="469" y="0"/>
                        <a:pt x="165" y="20"/>
                      </a:cubicBezTo>
                      <a:cubicBezTo>
                        <a:pt x="0" y="151"/>
                        <a:pt x="0" y="151"/>
                        <a:pt x="0" y="151"/>
                      </a:cubicBezTo>
                      <a:cubicBezTo>
                        <a:pt x="0" y="151"/>
                        <a:pt x="623" y="100"/>
                        <a:pt x="798" y="442"/>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ndParaRPr>
                </a:p>
              </p:txBody>
            </p:sp>
            <p:sp>
              <p:nvSpPr>
                <p:cNvPr id="30" name="iś1îḍe">
                  <a:extLst>
                    <a:ext uri="{FF2B5EF4-FFF2-40B4-BE49-F238E27FC236}">
                      <a16:creationId xmlns:a16="http://schemas.microsoft.com/office/drawing/2014/main" id="{DB1E735E-CE72-4DB0-BC42-7930408829D3}"/>
                    </a:ext>
                  </a:extLst>
                </p:cNvPr>
                <p:cNvSpPr/>
                <p:nvPr/>
              </p:nvSpPr>
              <p:spPr bwMode="auto">
                <a:xfrm>
                  <a:off x="6055995" y="5457554"/>
                  <a:ext cx="2289496" cy="673794"/>
                </a:xfrm>
                <a:custGeom>
                  <a:avLst/>
                  <a:gdLst>
                    <a:gd name="T0" fmla="*/ 1631 w 1631"/>
                    <a:gd name="T1" fmla="*/ 480 h 480"/>
                    <a:gd name="T2" fmla="*/ 1192 w 1631"/>
                    <a:gd name="T3" fmla="*/ 0 h 480"/>
                    <a:gd name="T4" fmla="*/ 0 w 1631"/>
                    <a:gd name="T5" fmla="*/ 53 h 480"/>
                    <a:gd name="T6" fmla="*/ 0 w 1631"/>
                    <a:gd name="T7" fmla="*/ 478 h 480"/>
                    <a:gd name="T8" fmla="*/ 1631 w 1631"/>
                    <a:gd name="T9" fmla="*/ 480 h 480"/>
                  </a:gdLst>
                  <a:ahLst/>
                  <a:cxnLst>
                    <a:cxn ang="0">
                      <a:pos x="T0" y="T1"/>
                    </a:cxn>
                    <a:cxn ang="0">
                      <a:pos x="T2" y="T3"/>
                    </a:cxn>
                    <a:cxn ang="0">
                      <a:pos x="T4" y="T5"/>
                    </a:cxn>
                    <a:cxn ang="0">
                      <a:pos x="T6" y="T7"/>
                    </a:cxn>
                    <a:cxn ang="0">
                      <a:pos x="T8" y="T9"/>
                    </a:cxn>
                  </a:cxnLst>
                  <a:rect l="0" t="0" r="r" b="b"/>
                  <a:pathLst>
                    <a:path w="1631" h="480">
                      <a:moveTo>
                        <a:pt x="1631" y="480"/>
                      </a:moveTo>
                      <a:lnTo>
                        <a:pt x="1192" y="0"/>
                      </a:lnTo>
                      <a:lnTo>
                        <a:pt x="0" y="53"/>
                      </a:lnTo>
                      <a:lnTo>
                        <a:pt x="0" y="478"/>
                      </a:lnTo>
                      <a:lnTo>
                        <a:pt x="1631" y="48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ndParaRPr>
                </a:p>
              </p:txBody>
            </p:sp>
            <p:sp>
              <p:nvSpPr>
                <p:cNvPr id="31" name="ïśḷíďè">
                  <a:extLst>
                    <a:ext uri="{FF2B5EF4-FFF2-40B4-BE49-F238E27FC236}">
                      <a16:creationId xmlns:a16="http://schemas.microsoft.com/office/drawing/2014/main" id="{14804447-B7D3-4C48-A9EE-F8299ACCA3AC}"/>
                    </a:ext>
                  </a:extLst>
                </p:cNvPr>
                <p:cNvSpPr/>
                <p:nvPr/>
              </p:nvSpPr>
              <p:spPr bwMode="auto">
                <a:xfrm>
                  <a:off x="6051783" y="6055545"/>
                  <a:ext cx="2289496" cy="75802"/>
                </a:xfrm>
                <a:custGeom>
                  <a:avLst/>
                  <a:gdLst>
                    <a:gd name="T0" fmla="*/ 1582 w 1631"/>
                    <a:gd name="T1" fmla="*/ 2 h 54"/>
                    <a:gd name="T2" fmla="*/ 1631 w 1631"/>
                    <a:gd name="T3" fmla="*/ 54 h 54"/>
                    <a:gd name="T4" fmla="*/ 0 w 1631"/>
                    <a:gd name="T5" fmla="*/ 52 h 54"/>
                    <a:gd name="T6" fmla="*/ 0 w 1631"/>
                    <a:gd name="T7" fmla="*/ 0 h 54"/>
                    <a:gd name="T8" fmla="*/ 1582 w 1631"/>
                    <a:gd name="T9" fmla="*/ 2 h 54"/>
                  </a:gdLst>
                  <a:ahLst/>
                  <a:cxnLst>
                    <a:cxn ang="0">
                      <a:pos x="T0" y="T1"/>
                    </a:cxn>
                    <a:cxn ang="0">
                      <a:pos x="T2" y="T3"/>
                    </a:cxn>
                    <a:cxn ang="0">
                      <a:pos x="T4" y="T5"/>
                    </a:cxn>
                    <a:cxn ang="0">
                      <a:pos x="T6" y="T7"/>
                    </a:cxn>
                    <a:cxn ang="0">
                      <a:pos x="T8" y="T9"/>
                    </a:cxn>
                  </a:cxnLst>
                  <a:rect l="0" t="0" r="r" b="b"/>
                  <a:pathLst>
                    <a:path w="1631" h="54">
                      <a:moveTo>
                        <a:pt x="1582" y="2"/>
                      </a:moveTo>
                      <a:lnTo>
                        <a:pt x="1631" y="54"/>
                      </a:lnTo>
                      <a:lnTo>
                        <a:pt x="0" y="52"/>
                      </a:lnTo>
                      <a:lnTo>
                        <a:pt x="0" y="0"/>
                      </a:lnTo>
                      <a:lnTo>
                        <a:pt x="1582" y="2"/>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ndParaRPr>
                </a:p>
              </p:txBody>
            </p:sp>
            <p:sp>
              <p:nvSpPr>
                <p:cNvPr id="32" name="ïṣḻíḑê">
                  <a:extLst>
                    <a:ext uri="{FF2B5EF4-FFF2-40B4-BE49-F238E27FC236}">
                      <a16:creationId xmlns:a16="http://schemas.microsoft.com/office/drawing/2014/main" id="{C48EAC0A-7FDC-4A07-BD22-47F021513213}"/>
                    </a:ext>
                  </a:extLst>
                </p:cNvPr>
                <p:cNvSpPr/>
                <p:nvPr/>
              </p:nvSpPr>
              <p:spPr bwMode="auto">
                <a:xfrm>
                  <a:off x="3926525" y="5520722"/>
                  <a:ext cx="2135084" cy="537632"/>
                </a:xfrm>
                <a:custGeom>
                  <a:avLst/>
                  <a:gdLst>
                    <a:gd name="T0" fmla="*/ 96 w 938"/>
                    <a:gd name="T1" fmla="*/ 46 h 236"/>
                    <a:gd name="T2" fmla="*/ 0 w 938"/>
                    <a:gd name="T3" fmla="*/ 195 h 236"/>
                    <a:gd name="T4" fmla="*/ 416 w 938"/>
                    <a:gd name="T5" fmla="*/ 134 h 236"/>
                    <a:gd name="T6" fmla="*/ 836 w 938"/>
                    <a:gd name="T7" fmla="*/ 232 h 236"/>
                    <a:gd name="T8" fmla="*/ 938 w 938"/>
                    <a:gd name="T9" fmla="*/ 236 h 236"/>
                    <a:gd name="T10" fmla="*/ 96 w 938"/>
                    <a:gd name="T11" fmla="*/ 46 h 236"/>
                  </a:gdLst>
                  <a:ahLst/>
                  <a:cxnLst>
                    <a:cxn ang="0">
                      <a:pos x="T0" y="T1"/>
                    </a:cxn>
                    <a:cxn ang="0">
                      <a:pos x="T2" y="T3"/>
                    </a:cxn>
                    <a:cxn ang="0">
                      <a:pos x="T4" y="T5"/>
                    </a:cxn>
                    <a:cxn ang="0">
                      <a:pos x="T6" y="T7"/>
                    </a:cxn>
                    <a:cxn ang="0">
                      <a:pos x="T8" y="T9"/>
                    </a:cxn>
                    <a:cxn ang="0">
                      <a:pos x="T10" y="T11"/>
                    </a:cxn>
                  </a:cxnLst>
                  <a:rect l="0" t="0" r="r" b="b"/>
                  <a:pathLst>
                    <a:path w="938" h="236">
                      <a:moveTo>
                        <a:pt x="96" y="46"/>
                      </a:moveTo>
                      <a:cubicBezTo>
                        <a:pt x="0" y="195"/>
                        <a:pt x="0" y="195"/>
                        <a:pt x="0" y="195"/>
                      </a:cubicBezTo>
                      <a:cubicBezTo>
                        <a:pt x="0" y="195"/>
                        <a:pt x="199" y="124"/>
                        <a:pt x="416" y="134"/>
                      </a:cubicBezTo>
                      <a:cubicBezTo>
                        <a:pt x="633" y="144"/>
                        <a:pt x="801" y="199"/>
                        <a:pt x="836" y="232"/>
                      </a:cubicBezTo>
                      <a:cubicBezTo>
                        <a:pt x="853" y="216"/>
                        <a:pt x="899" y="216"/>
                        <a:pt x="938" y="236"/>
                      </a:cubicBezTo>
                      <a:cubicBezTo>
                        <a:pt x="758" y="76"/>
                        <a:pt x="397" y="0"/>
                        <a:pt x="96" y="46"/>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ndParaRPr>
                </a:p>
              </p:txBody>
            </p:sp>
            <p:sp>
              <p:nvSpPr>
                <p:cNvPr id="33" name="íSḷiḍé">
                  <a:extLst>
                    <a:ext uri="{FF2B5EF4-FFF2-40B4-BE49-F238E27FC236}">
                      <a16:creationId xmlns:a16="http://schemas.microsoft.com/office/drawing/2014/main" id="{121DDE0B-4C58-40EB-BDE3-9D2D6CA9C721}"/>
                    </a:ext>
                  </a:extLst>
                </p:cNvPr>
                <p:cNvSpPr/>
                <p:nvPr/>
              </p:nvSpPr>
              <p:spPr bwMode="auto">
                <a:xfrm>
                  <a:off x="6055995" y="5519318"/>
                  <a:ext cx="2136489" cy="539036"/>
                </a:xfrm>
                <a:custGeom>
                  <a:avLst/>
                  <a:gdLst>
                    <a:gd name="T0" fmla="*/ 843 w 939"/>
                    <a:gd name="T1" fmla="*/ 46 h 237"/>
                    <a:gd name="T2" fmla="*/ 939 w 939"/>
                    <a:gd name="T3" fmla="*/ 195 h 237"/>
                    <a:gd name="T4" fmla="*/ 528 w 939"/>
                    <a:gd name="T5" fmla="*/ 135 h 237"/>
                    <a:gd name="T6" fmla="*/ 104 w 939"/>
                    <a:gd name="T7" fmla="*/ 237 h 237"/>
                    <a:gd name="T8" fmla="*/ 0 w 939"/>
                    <a:gd name="T9" fmla="*/ 236 h 237"/>
                    <a:gd name="T10" fmla="*/ 843 w 939"/>
                    <a:gd name="T11" fmla="*/ 46 h 237"/>
                  </a:gdLst>
                  <a:ahLst/>
                  <a:cxnLst>
                    <a:cxn ang="0">
                      <a:pos x="T0" y="T1"/>
                    </a:cxn>
                    <a:cxn ang="0">
                      <a:pos x="T2" y="T3"/>
                    </a:cxn>
                    <a:cxn ang="0">
                      <a:pos x="T4" y="T5"/>
                    </a:cxn>
                    <a:cxn ang="0">
                      <a:pos x="T6" y="T7"/>
                    </a:cxn>
                    <a:cxn ang="0">
                      <a:pos x="T8" y="T9"/>
                    </a:cxn>
                    <a:cxn ang="0">
                      <a:pos x="T10" y="T11"/>
                    </a:cxn>
                  </a:cxnLst>
                  <a:rect l="0" t="0" r="r" b="b"/>
                  <a:pathLst>
                    <a:path w="939" h="237">
                      <a:moveTo>
                        <a:pt x="843" y="46"/>
                      </a:moveTo>
                      <a:cubicBezTo>
                        <a:pt x="939" y="195"/>
                        <a:pt x="939" y="195"/>
                        <a:pt x="939" y="195"/>
                      </a:cubicBezTo>
                      <a:cubicBezTo>
                        <a:pt x="939" y="195"/>
                        <a:pt x="745" y="125"/>
                        <a:pt x="528" y="135"/>
                      </a:cubicBezTo>
                      <a:cubicBezTo>
                        <a:pt x="311" y="145"/>
                        <a:pt x="168" y="184"/>
                        <a:pt x="104" y="237"/>
                      </a:cubicBezTo>
                      <a:cubicBezTo>
                        <a:pt x="87" y="221"/>
                        <a:pt x="39" y="216"/>
                        <a:pt x="0" y="236"/>
                      </a:cubicBezTo>
                      <a:cubicBezTo>
                        <a:pt x="181" y="76"/>
                        <a:pt x="541" y="0"/>
                        <a:pt x="843" y="46"/>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ndParaRPr>
                </a:p>
              </p:txBody>
            </p:sp>
            <p:sp>
              <p:nvSpPr>
                <p:cNvPr id="34" name="iŝlïďe">
                  <a:extLst>
                    <a:ext uri="{FF2B5EF4-FFF2-40B4-BE49-F238E27FC236}">
                      <a16:creationId xmlns:a16="http://schemas.microsoft.com/office/drawing/2014/main" id="{DAE07260-F777-40D2-88AA-EAD1CB1F2847}"/>
                    </a:ext>
                  </a:extLst>
                </p:cNvPr>
                <p:cNvSpPr/>
                <p:nvPr/>
              </p:nvSpPr>
              <p:spPr bwMode="auto">
                <a:xfrm>
                  <a:off x="4308342" y="4810429"/>
                  <a:ext cx="1747653" cy="1274594"/>
                </a:xfrm>
                <a:custGeom>
                  <a:avLst/>
                  <a:gdLst>
                    <a:gd name="T0" fmla="*/ 768 w 768"/>
                    <a:gd name="T1" fmla="*/ 560 h 560"/>
                    <a:gd name="T2" fmla="*/ 768 w 768"/>
                    <a:gd name="T3" fmla="*/ 258 h 560"/>
                    <a:gd name="T4" fmla="*/ 180 w 768"/>
                    <a:gd name="T5" fmla="*/ 20 h 560"/>
                    <a:gd name="T6" fmla="*/ 0 w 768"/>
                    <a:gd name="T7" fmla="*/ 211 h 560"/>
                    <a:gd name="T8" fmla="*/ 768 w 768"/>
                    <a:gd name="T9" fmla="*/ 560 h 560"/>
                  </a:gdLst>
                  <a:ahLst/>
                  <a:cxnLst>
                    <a:cxn ang="0">
                      <a:pos x="T0" y="T1"/>
                    </a:cxn>
                    <a:cxn ang="0">
                      <a:pos x="T2" y="T3"/>
                    </a:cxn>
                    <a:cxn ang="0">
                      <a:pos x="T4" y="T5"/>
                    </a:cxn>
                    <a:cxn ang="0">
                      <a:pos x="T6" y="T7"/>
                    </a:cxn>
                    <a:cxn ang="0">
                      <a:pos x="T8" y="T9"/>
                    </a:cxn>
                  </a:cxnLst>
                  <a:rect l="0" t="0" r="r" b="b"/>
                  <a:pathLst>
                    <a:path w="768" h="560">
                      <a:moveTo>
                        <a:pt x="768" y="560"/>
                      </a:moveTo>
                      <a:cubicBezTo>
                        <a:pt x="768" y="258"/>
                        <a:pt x="768" y="258"/>
                        <a:pt x="768" y="258"/>
                      </a:cubicBezTo>
                      <a:cubicBezTo>
                        <a:pt x="768" y="258"/>
                        <a:pt x="484" y="0"/>
                        <a:pt x="180" y="20"/>
                      </a:cubicBezTo>
                      <a:cubicBezTo>
                        <a:pt x="105" y="94"/>
                        <a:pt x="0" y="211"/>
                        <a:pt x="0" y="211"/>
                      </a:cubicBezTo>
                      <a:cubicBezTo>
                        <a:pt x="0" y="211"/>
                        <a:pt x="593" y="218"/>
                        <a:pt x="768" y="56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ndParaRPr>
                </a:p>
              </p:txBody>
            </p:sp>
            <p:sp>
              <p:nvSpPr>
                <p:cNvPr id="35" name="îş1îďê">
                  <a:extLst>
                    <a:ext uri="{FF2B5EF4-FFF2-40B4-BE49-F238E27FC236}">
                      <a16:creationId xmlns:a16="http://schemas.microsoft.com/office/drawing/2014/main" id="{F5BD4D7C-41CD-49E8-8A53-3EBBD7B86CEC}"/>
                    </a:ext>
                  </a:extLst>
                </p:cNvPr>
                <p:cNvSpPr/>
                <p:nvPr/>
              </p:nvSpPr>
              <p:spPr bwMode="auto">
                <a:xfrm>
                  <a:off x="6077052" y="5211898"/>
                  <a:ext cx="1904871" cy="932082"/>
                </a:xfrm>
                <a:custGeom>
                  <a:avLst/>
                  <a:gdLst>
                    <a:gd name="T0" fmla="*/ 0 w 837"/>
                    <a:gd name="T1" fmla="*/ 410 h 410"/>
                    <a:gd name="T2" fmla="*/ 0 w 837"/>
                    <a:gd name="T3" fmla="*/ 131 h 410"/>
                    <a:gd name="T4" fmla="*/ 682 w 837"/>
                    <a:gd name="T5" fmla="*/ 20 h 410"/>
                    <a:gd name="T6" fmla="*/ 837 w 837"/>
                    <a:gd name="T7" fmla="*/ 183 h 410"/>
                    <a:gd name="T8" fmla="*/ 0 w 837"/>
                    <a:gd name="T9" fmla="*/ 410 h 410"/>
                  </a:gdLst>
                  <a:ahLst/>
                  <a:cxnLst>
                    <a:cxn ang="0">
                      <a:pos x="T0" y="T1"/>
                    </a:cxn>
                    <a:cxn ang="0">
                      <a:pos x="T2" y="T3"/>
                    </a:cxn>
                    <a:cxn ang="0">
                      <a:pos x="T4" y="T5"/>
                    </a:cxn>
                    <a:cxn ang="0">
                      <a:pos x="T6" y="T7"/>
                    </a:cxn>
                    <a:cxn ang="0">
                      <a:pos x="T8" y="T9"/>
                    </a:cxn>
                  </a:cxnLst>
                  <a:rect l="0" t="0" r="r" b="b"/>
                  <a:pathLst>
                    <a:path w="837" h="410">
                      <a:moveTo>
                        <a:pt x="0" y="410"/>
                      </a:moveTo>
                      <a:cubicBezTo>
                        <a:pt x="0" y="131"/>
                        <a:pt x="0" y="131"/>
                        <a:pt x="0" y="131"/>
                      </a:cubicBezTo>
                      <a:cubicBezTo>
                        <a:pt x="0" y="131"/>
                        <a:pt x="378" y="0"/>
                        <a:pt x="682" y="20"/>
                      </a:cubicBezTo>
                      <a:cubicBezTo>
                        <a:pt x="757" y="94"/>
                        <a:pt x="837" y="183"/>
                        <a:pt x="837" y="183"/>
                      </a:cubicBezTo>
                      <a:cubicBezTo>
                        <a:pt x="837" y="183"/>
                        <a:pt x="241" y="98"/>
                        <a:pt x="0" y="410"/>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ndParaRPr>
                </a:p>
              </p:txBody>
            </p:sp>
            <p:sp>
              <p:nvSpPr>
                <p:cNvPr id="36" name="ïṡlîḓè">
                  <a:extLst>
                    <a:ext uri="{FF2B5EF4-FFF2-40B4-BE49-F238E27FC236}">
                      <a16:creationId xmlns:a16="http://schemas.microsoft.com/office/drawing/2014/main" id="{25D96510-5CB8-444D-89A5-5FA274A8F8C3}"/>
                    </a:ext>
                  </a:extLst>
                </p:cNvPr>
                <p:cNvSpPr/>
                <p:nvPr/>
              </p:nvSpPr>
              <p:spPr bwMode="auto">
                <a:xfrm>
                  <a:off x="6061610" y="5124867"/>
                  <a:ext cx="1795381" cy="1006481"/>
                </a:xfrm>
                <a:custGeom>
                  <a:avLst/>
                  <a:gdLst>
                    <a:gd name="T0" fmla="*/ 0 w 789"/>
                    <a:gd name="T1" fmla="*/ 442 h 442"/>
                    <a:gd name="T2" fmla="*/ 0 w 789"/>
                    <a:gd name="T3" fmla="*/ 162 h 442"/>
                    <a:gd name="T4" fmla="*/ 633 w 789"/>
                    <a:gd name="T5" fmla="*/ 20 h 442"/>
                    <a:gd name="T6" fmla="*/ 789 w 789"/>
                    <a:gd name="T7" fmla="*/ 183 h 442"/>
                    <a:gd name="T8" fmla="*/ 0 w 789"/>
                    <a:gd name="T9" fmla="*/ 442 h 442"/>
                  </a:gdLst>
                  <a:ahLst/>
                  <a:cxnLst>
                    <a:cxn ang="0">
                      <a:pos x="T0" y="T1"/>
                    </a:cxn>
                    <a:cxn ang="0">
                      <a:pos x="T2" y="T3"/>
                    </a:cxn>
                    <a:cxn ang="0">
                      <a:pos x="T4" y="T5"/>
                    </a:cxn>
                    <a:cxn ang="0">
                      <a:pos x="T6" y="T7"/>
                    </a:cxn>
                    <a:cxn ang="0">
                      <a:pos x="T8" y="T9"/>
                    </a:cxn>
                  </a:cxnLst>
                  <a:rect l="0" t="0" r="r" b="b"/>
                  <a:pathLst>
                    <a:path w="789" h="442">
                      <a:moveTo>
                        <a:pt x="0" y="442"/>
                      </a:moveTo>
                      <a:cubicBezTo>
                        <a:pt x="0" y="162"/>
                        <a:pt x="0" y="162"/>
                        <a:pt x="0" y="162"/>
                      </a:cubicBezTo>
                      <a:cubicBezTo>
                        <a:pt x="0" y="162"/>
                        <a:pt x="329" y="0"/>
                        <a:pt x="633" y="20"/>
                      </a:cubicBezTo>
                      <a:cubicBezTo>
                        <a:pt x="709" y="94"/>
                        <a:pt x="789" y="183"/>
                        <a:pt x="789" y="183"/>
                      </a:cubicBezTo>
                      <a:cubicBezTo>
                        <a:pt x="789" y="183"/>
                        <a:pt x="235" y="101"/>
                        <a:pt x="0" y="442"/>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ndParaRPr>
                </a:p>
              </p:txBody>
            </p:sp>
            <p:sp>
              <p:nvSpPr>
                <p:cNvPr id="37" name="îṩļïḋè">
                  <a:extLst>
                    <a:ext uri="{FF2B5EF4-FFF2-40B4-BE49-F238E27FC236}">
                      <a16:creationId xmlns:a16="http://schemas.microsoft.com/office/drawing/2014/main" id="{4DE00687-D585-40FD-9436-2E5516FA7BF0}"/>
                    </a:ext>
                  </a:extLst>
                </p:cNvPr>
                <p:cNvSpPr/>
                <p:nvPr/>
              </p:nvSpPr>
              <p:spPr bwMode="auto">
                <a:xfrm>
                  <a:off x="6061610" y="5079948"/>
                  <a:ext cx="1817840" cy="1005078"/>
                </a:xfrm>
                <a:custGeom>
                  <a:avLst/>
                  <a:gdLst>
                    <a:gd name="T0" fmla="*/ 0 w 799"/>
                    <a:gd name="T1" fmla="*/ 442 h 442"/>
                    <a:gd name="T2" fmla="*/ 0 w 799"/>
                    <a:gd name="T3" fmla="*/ 163 h 442"/>
                    <a:gd name="T4" fmla="*/ 633 w 799"/>
                    <a:gd name="T5" fmla="*/ 20 h 442"/>
                    <a:gd name="T6" fmla="*/ 799 w 799"/>
                    <a:gd name="T7" fmla="*/ 151 h 442"/>
                    <a:gd name="T8" fmla="*/ 0 w 799"/>
                    <a:gd name="T9" fmla="*/ 442 h 442"/>
                  </a:gdLst>
                  <a:ahLst/>
                  <a:cxnLst>
                    <a:cxn ang="0">
                      <a:pos x="T0" y="T1"/>
                    </a:cxn>
                    <a:cxn ang="0">
                      <a:pos x="T2" y="T3"/>
                    </a:cxn>
                    <a:cxn ang="0">
                      <a:pos x="T4" y="T5"/>
                    </a:cxn>
                    <a:cxn ang="0">
                      <a:pos x="T6" y="T7"/>
                    </a:cxn>
                    <a:cxn ang="0">
                      <a:pos x="T8" y="T9"/>
                    </a:cxn>
                  </a:cxnLst>
                  <a:rect l="0" t="0" r="r" b="b"/>
                  <a:pathLst>
                    <a:path w="799" h="442">
                      <a:moveTo>
                        <a:pt x="0" y="442"/>
                      </a:moveTo>
                      <a:cubicBezTo>
                        <a:pt x="0" y="163"/>
                        <a:pt x="0" y="163"/>
                        <a:pt x="0" y="163"/>
                      </a:cubicBezTo>
                      <a:cubicBezTo>
                        <a:pt x="0" y="163"/>
                        <a:pt x="329" y="0"/>
                        <a:pt x="633" y="20"/>
                      </a:cubicBezTo>
                      <a:cubicBezTo>
                        <a:pt x="799" y="151"/>
                        <a:pt x="799" y="151"/>
                        <a:pt x="799" y="151"/>
                      </a:cubicBezTo>
                      <a:cubicBezTo>
                        <a:pt x="799" y="151"/>
                        <a:pt x="175" y="100"/>
                        <a:pt x="0" y="442"/>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ndParaRPr>
                </a:p>
              </p:txBody>
            </p:sp>
            <p:sp>
              <p:nvSpPr>
                <p:cNvPr id="38" name="íŝḻîḓê">
                  <a:extLst>
                    <a:ext uri="{FF2B5EF4-FFF2-40B4-BE49-F238E27FC236}">
                      <a16:creationId xmlns:a16="http://schemas.microsoft.com/office/drawing/2014/main" id="{D9173235-4360-4317-ACEB-863B38C3740A}"/>
                    </a:ext>
                  </a:extLst>
                </p:cNvPr>
                <p:cNvSpPr/>
                <p:nvPr/>
              </p:nvSpPr>
              <p:spPr bwMode="auto">
                <a:xfrm>
                  <a:off x="6055995" y="4810430"/>
                  <a:ext cx="1750461" cy="1274594"/>
                </a:xfrm>
                <a:custGeom>
                  <a:avLst/>
                  <a:gdLst>
                    <a:gd name="T0" fmla="*/ 0 w 769"/>
                    <a:gd name="T1" fmla="*/ 560 h 560"/>
                    <a:gd name="T2" fmla="*/ 0 w 769"/>
                    <a:gd name="T3" fmla="*/ 258 h 560"/>
                    <a:gd name="T4" fmla="*/ 588 w 769"/>
                    <a:gd name="T5" fmla="*/ 20 h 560"/>
                    <a:gd name="T6" fmla="*/ 769 w 769"/>
                    <a:gd name="T7" fmla="*/ 211 h 560"/>
                    <a:gd name="T8" fmla="*/ 0 w 769"/>
                    <a:gd name="T9" fmla="*/ 560 h 560"/>
                  </a:gdLst>
                  <a:ahLst/>
                  <a:cxnLst>
                    <a:cxn ang="0">
                      <a:pos x="T0" y="T1"/>
                    </a:cxn>
                    <a:cxn ang="0">
                      <a:pos x="T2" y="T3"/>
                    </a:cxn>
                    <a:cxn ang="0">
                      <a:pos x="T4" y="T5"/>
                    </a:cxn>
                    <a:cxn ang="0">
                      <a:pos x="T6" y="T7"/>
                    </a:cxn>
                    <a:cxn ang="0">
                      <a:pos x="T8" y="T9"/>
                    </a:cxn>
                  </a:cxnLst>
                  <a:rect l="0" t="0" r="r" b="b"/>
                  <a:pathLst>
                    <a:path w="769" h="560">
                      <a:moveTo>
                        <a:pt x="0" y="560"/>
                      </a:moveTo>
                      <a:cubicBezTo>
                        <a:pt x="0" y="258"/>
                        <a:pt x="0" y="258"/>
                        <a:pt x="0" y="258"/>
                      </a:cubicBezTo>
                      <a:cubicBezTo>
                        <a:pt x="0" y="258"/>
                        <a:pt x="284" y="0"/>
                        <a:pt x="588" y="20"/>
                      </a:cubicBezTo>
                      <a:cubicBezTo>
                        <a:pt x="663" y="94"/>
                        <a:pt x="769" y="211"/>
                        <a:pt x="769" y="211"/>
                      </a:cubicBezTo>
                      <a:cubicBezTo>
                        <a:pt x="769" y="211"/>
                        <a:pt x="175" y="218"/>
                        <a:pt x="0" y="56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ndParaRPr>
                </a:p>
              </p:txBody>
            </p:sp>
            <p:sp>
              <p:nvSpPr>
                <p:cNvPr id="39" name="îSḻíḍé">
                  <a:extLst>
                    <a:ext uri="{FF2B5EF4-FFF2-40B4-BE49-F238E27FC236}">
                      <a16:creationId xmlns:a16="http://schemas.microsoft.com/office/drawing/2014/main" id="{AD2F4277-9018-4E49-B08F-D36DF94D22C4}"/>
                    </a:ext>
                  </a:extLst>
                </p:cNvPr>
                <p:cNvSpPr/>
                <p:nvPr/>
              </p:nvSpPr>
              <p:spPr bwMode="auto">
                <a:xfrm>
                  <a:off x="3774922" y="6073795"/>
                  <a:ext cx="2112625" cy="72994"/>
                </a:xfrm>
                <a:custGeom>
                  <a:avLst/>
                  <a:gdLst>
                    <a:gd name="T0" fmla="*/ 1505 w 1505"/>
                    <a:gd name="T1" fmla="*/ 52 h 52"/>
                    <a:gd name="T2" fmla="*/ 1455 w 1505"/>
                    <a:gd name="T3" fmla="*/ 0 h 52"/>
                    <a:gd name="T4" fmla="*/ 0 w 1505"/>
                    <a:gd name="T5" fmla="*/ 41 h 52"/>
                    <a:gd name="T6" fmla="*/ 0 w 1505"/>
                    <a:gd name="T7" fmla="*/ 52 h 52"/>
                    <a:gd name="T8" fmla="*/ 1505 w 1505"/>
                    <a:gd name="T9" fmla="*/ 52 h 52"/>
                  </a:gdLst>
                  <a:ahLst/>
                  <a:cxnLst>
                    <a:cxn ang="0">
                      <a:pos x="T0" y="T1"/>
                    </a:cxn>
                    <a:cxn ang="0">
                      <a:pos x="T2" y="T3"/>
                    </a:cxn>
                    <a:cxn ang="0">
                      <a:pos x="T4" y="T5"/>
                    </a:cxn>
                    <a:cxn ang="0">
                      <a:pos x="T6" y="T7"/>
                    </a:cxn>
                    <a:cxn ang="0">
                      <a:pos x="T8" y="T9"/>
                    </a:cxn>
                  </a:cxnLst>
                  <a:rect l="0" t="0" r="r" b="b"/>
                  <a:pathLst>
                    <a:path w="1505" h="52">
                      <a:moveTo>
                        <a:pt x="1505" y="52"/>
                      </a:moveTo>
                      <a:lnTo>
                        <a:pt x="1455" y="0"/>
                      </a:lnTo>
                      <a:lnTo>
                        <a:pt x="0" y="41"/>
                      </a:lnTo>
                      <a:lnTo>
                        <a:pt x="0" y="52"/>
                      </a:lnTo>
                      <a:lnTo>
                        <a:pt x="1505" y="5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ndParaRPr>
                </a:p>
              </p:txBody>
            </p:sp>
            <p:sp>
              <p:nvSpPr>
                <p:cNvPr id="40" name="ïSlîḓê">
                  <a:extLst>
                    <a:ext uri="{FF2B5EF4-FFF2-40B4-BE49-F238E27FC236}">
                      <a16:creationId xmlns:a16="http://schemas.microsoft.com/office/drawing/2014/main" id="{A4CB0061-ABA0-43FF-8CE2-49A3856118A1}"/>
                    </a:ext>
                  </a:extLst>
                </p:cNvPr>
                <p:cNvSpPr/>
                <p:nvPr/>
              </p:nvSpPr>
              <p:spPr bwMode="auto">
                <a:xfrm>
                  <a:off x="6227250" y="6073795"/>
                  <a:ext cx="2114028" cy="72994"/>
                </a:xfrm>
                <a:custGeom>
                  <a:avLst/>
                  <a:gdLst>
                    <a:gd name="T0" fmla="*/ 0 w 1506"/>
                    <a:gd name="T1" fmla="*/ 52 h 52"/>
                    <a:gd name="T2" fmla="*/ 49 w 1506"/>
                    <a:gd name="T3" fmla="*/ 0 h 52"/>
                    <a:gd name="T4" fmla="*/ 1506 w 1506"/>
                    <a:gd name="T5" fmla="*/ 41 h 52"/>
                    <a:gd name="T6" fmla="*/ 1506 w 1506"/>
                    <a:gd name="T7" fmla="*/ 52 h 52"/>
                    <a:gd name="T8" fmla="*/ 0 w 1506"/>
                    <a:gd name="T9" fmla="*/ 52 h 52"/>
                  </a:gdLst>
                  <a:ahLst/>
                  <a:cxnLst>
                    <a:cxn ang="0">
                      <a:pos x="T0" y="T1"/>
                    </a:cxn>
                    <a:cxn ang="0">
                      <a:pos x="T2" y="T3"/>
                    </a:cxn>
                    <a:cxn ang="0">
                      <a:pos x="T4" y="T5"/>
                    </a:cxn>
                    <a:cxn ang="0">
                      <a:pos x="T6" y="T7"/>
                    </a:cxn>
                    <a:cxn ang="0">
                      <a:pos x="T8" y="T9"/>
                    </a:cxn>
                  </a:cxnLst>
                  <a:rect l="0" t="0" r="r" b="b"/>
                  <a:pathLst>
                    <a:path w="1506" h="52">
                      <a:moveTo>
                        <a:pt x="0" y="52"/>
                      </a:moveTo>
                      <a:lnTo>
                        <a:pt x="49" y="0"/>
                      </a:lnTo>
                      <a:lnTo>
                        <a:pt x="1506" y="41"/>
                      </a:lnTo>
                      <a:lnTo>
                        <a:pt x="1506" y="52"/>
                      </a:lnTo>
                      <a:lnTo>
                        <a:pt x="0" y="5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ndParaRPr>
                </a:p>
              </p:txBody>
            </p:sp>
            <p:sp>
              <p:nvSpPr>
                <p:cNvPr id="41" name="í$ḷiḍe">
                  <a:extLst>
                    <a:ext uri="{FF2B5EF4-FFF2-40B4-BE49-F238E27FC236}">
                      <a16:creationId xmlns:a16="http://schemas.microsoft.com/office/drawing/2014/main" id="{504DBF3E-B50D-4B62-9EA6-287C50D9F5DF}"/>
                    </a:ext>
                  </a:extLst>
                </p:cNvPr>
                <p:cNvSpPr/>
                <p:nvPr/>
              </p:nvSpPr>
              <p:spPr bwMode="auto">
                <a:xfrm>
                  <a:off x="5813148" y="5951680"/>
                  <a:ext cx="480078" cy="195120"/>
                </a:xfrm>
                <a:custGeom>
                  <a:avLst/>
                  <a:gdLst>
                    <a:gd name="T0" fmla="*/ 0 w 211"/>
                    <a:gd name="T1" fmla="*/ 54 h 86"/>
                    <a:gd name="T2" fmla="*/ 30 w 211"/>
                    <a:gd name="T3" fmla="*/ 86 h 86"/>
                    <a:gd name="T4" fmla="*/ 188 w 211"/>
                    <a:gd name="T5" fmla="*/ 86 h 86"/>
                    <a:gd name="T6" fmla="*/ 211 w 211"/>
                    <a:gd name="T7" fmla="*/ 47 h 86"/>
                    <a:gd name="T8" fmla="*/ 108 w 211"/>
                    <a:gd name="T9" fmla="*/ 45 h 86"/>
                    <a:gd name="T10" fmla="*/ 107 w 211"/>
                    <a:gd name="T11" fmla="*/ 46 h 86"/>
                    <a:gd name="T12" fmla="*/ 0 w 211"/>
                    <a:gd name="T13" fmla="*/ 54 h 86"/>
                  </a:gdLst>
                  <a:ahLst/>
                  <a:cxnLst>
                    <a:cxn ang="0">
                      <a:pos x="T0" y="T1"/>
                    </a:cxn>
                    <a:cxn ang="0">
                      <a:pos x="T2" y="T3"/>
                    </a:cxn>
                    <a:cxn ang="0">
                      <a:pos x="T4" y="T5"/>
                    </a:cxn>
                    <a:cxn ang="0">
                      <a:pos x="T6" y="T7"/>
                    </a:cxn>
                    <a:cxn ang="0">
                      <a:pos x="T8" y="T9"/>
                    </a:cxn>
                    <a:cxn ang="0">
                      <a:pos x="T10" y="T11"/>
                    </a:cxn>
                    <a:cxn ang="0">
                      <a:pos x="T12" y="T13"/>
                    </a:cxn>
                  </a:cxnLst>
                  <a:rect l="0" t="0" r="r" b="b"/>
                  <a:pathLst>
                    <a:path w="211" h="86">
                      <a:moveTo>
                        <a:pt x="0" y="54"/>
                      </a:moveTo>
                      <a:cubicBezTo>
                        <a:pt x="0" y="54"/>
                        <a:pt x="20" y="86"/>
                        <a:pt x="30" y="86"/>
                      </a:cubicBezTo>
                      <a:cubicBezTo>
                        <a:pt x="41" y="86"/>
                        <a:pt x="177" y="86"/>
                        <a:pt x="188" y="86"/>
                      </a:cubicBezTo>
                      <a:cubicBezTo>
                        <a:pt x="199" y="86"/>
                        <a:pt x="211" y="47"/>
                        <a:pt x="211" y="47"/>
                      </a:cubicBezTo>
                      <a:cubicBezTo>
                        <a:pt x="211" y="47"/>
                        <a:pt x="160" y="0"/>
                        <a:pt x="108" y="45"/>
                      </a:cubicBezTo>
                      <a:cubicBezTo>
                        <a:pt x="89" y="45"/>
                        <a:pt x="107" y="46"/>
                        <a:pt x="107" y="46"/>
                      </a:cubicBezTo>
                      <a:cubicBezTo>
                        <a:pt x="107" y="46"/>
                        <a:pt x="18" y="4"/>
                        <a:pt x="0" y="54"/>
                      </a:cubicBez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ndParaRPr>
                </a:p>
              </p:txBody>
            </p:sp>
          </p:grpSp>
          <p:sp>
            <p:nvSpPr>
              <p:cNvPr id="20" name="îṧlíḍê">
                <a:extLst>
                  <a:ext uri="{FF2B5EF4-FFF2-40B4-BE49-F238E27FC236}">
                    <a16:creationId xmlns:a16="http://schemas.microsoft.com/office/drawing/2014/main" id="{D7AB3861-4D56-4AFA-89F1-C51C5B32BC9E}"/>
                  </a:ext>
                </a:extLst>
              </p:cNvPr>
              <p:cNvSpPr/>
              <p:nvPr/>
            </p:nvSpPr>
            <p:spPr bwMode="auto">
              <a:xfrm>
                <a:off x="6043359" y="1412681"/>
                <a:ext cx="2271247" cy="961560"/>
              </a:xfrm>
              <a:custGeom>
                <a:avLst/>
                <a:gdLst>
                  <a:gd name="T0" fmla="*/ 0 w 998"/>
                  <a:gd name="T1" fmla="*/ 90 h 423"/>
                  <a:gd name="T2" fmla="*/ 89 w 998"/>
                  <a:gd name="T3" fmla="*/ 0 h 423"/>
                  <a:gd name="T4" fmla="*/ 909 w 998"/>
                  <a:gd name="T5" fmla="*/ 0 h 423"/>
                  <a:gd name="T6" fmla="*/ 998 w 998"/>
                  <a:gd name="T7" fmla="*/ 90 h 423"/>
                  <a:gd name="T8" fmla="*/ 998 w 998"/>
                  <a:gd name="T9" fmla="*/ 226 h 423"/>
                  <a:gd name="T10" fmla="*/ 909 w 998"/>
                  <a:gd name="T11" fmla="*/ 315 h 423"/>
                  <a:gd name="T12" fmla="*/ 151 w 998"/>
                  <a:gd name="T13" fmla="*/ 315 h 423"/>
                  <a:gd name="T14" fmla="*/ 114 w 998"/>
                  <a:gd name="T15" fmla="*/ 315 h 423"/>
                  <a:gd name="T16" fmla="*/ 0 w 998"/>
                  <a:gd name="T17" fmla="*/ 423 h 423"/>
                  <a:gd name="T18" fmla="*/ 0 w 998"/>
                  <a:gd name="T19" fmla="*/ 234 h 423"/>
                  <a:gd name="T20" fmla="*/ 0 w 998"/>
                  <a:gd name="T21" fmla="*/ 234 h 423"/>
                  <a:gd name="T22" fmla="*/ 0 w 998"/>
                  <a:gd name="T23" fmla="*/ 226 h 423"/>
                  <a:gd name="T24" fmla="*/ 0 w 998"/>
                  <a:gd name="T25" fmla="*/ 90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8" h="423">
                    <a:moveTo>
                      <a:pt x="0" y="90"/>
                    </a:moveTo>
                    <a:cubicBezTo>
                      <a:pt x="0" y="40"/>
                      <a:pt x="40" y="0"/>
                      <a:pt x="89" y="0"/>
                    </a:cubicBezTo>
                    <a:cubicBezTo>
                      <a:pt x="909" y="0"/>
                      <a:pt x="909" y="0"/>
                      <a:pt x="909" y="0"/>
                    </a:cubicBezTo>
                    <a:cubicBezTo>
                      <a:pt x="958" y="0"/>
                      <a:pt x="998" y="40"/>
                      <a:pt x="998" y="90"/>
                    </a:cubicBezTo>
                    <a:cubicBezTo>
                      <a:pt x="998" y="226"/>
                      <a:pt x="998" y="226"/>
                      <a:pt x="998" y="226"/>
                    </a:cubicBezTo>
                    <a:cubicBezTo>
                      <a:pt x="998" y="275"/>
                      <a:pt x="958" y="315"/>
                      <a:pt x="909" y="315"/>
                    </a:cubicBezTo>
                    <a:cubicBezTo>
                      <a:pt x="151" y="315"/>
                      <a:pt x="151" y="315"/>
                      <a:pt x="151" y="315"/>
                    </a:cubicBezTo>
                    <a:cubicBezTo>
                      <a:pt x="114" y="315"/>
                      <a:pt x="114" y="315"/>
                      <a:pt x="114" y="315"/>
                    </a:cubicBezTo>
                    <a:cubicBezTo>
                      <a:pt x="53" y="315"/>
                      <a:pt x="4" y="363"/>
                      <a:pt x="0" y="423"/>
                    </a:cubicBezTo>
                    <a:cubicBezTo>
                      <a:pt x="0" y="234"/>
                      <a:pt x="0" y="234"/>
                      <a:pt x="0" y="234"/>
                    </a:cubicBezTo>
                    <a:cubicBezTo>
                      <a:pt x="0" y="234"/>
                      <a:pt x="0" y="234"/>
                      <a:pt x="0" y="234"/>
                    </a:cubicBezTo>
                    <a:cubicBezTo>
                      <a:pt x="0" y="232"/>
                      <a:pt x="0" y="229"/>
                      <a:pt x="0" y="226"/>
                    </a:cubicBezTo>
                    <a:lnTo>
                      <a:pt x="0" y="90"/>
                    </a:lnTo>
                    <a:close/>
                  </a:path>
                </a:pathLst>
              </a:custGeom>
              <a:solidFill>
                <a:schemeClr val="bg1">
                  <a:lumMod val="95000"/>
                </a:schemeClr>
              </a:solidFill>
              <a:ln>
                <a:noFill/>
              </a:ln>
              <a:effectLst>
                <a:outerShdw dist="50800" dir="5400000" algn="t" rotWithShape="0">
                  <a:prstClr val="black">
                    <a:alpha val="15000"/>
                  </a:prstClr>
                </a:outerShdw>
              </a:effectLst>
            </p:spPr>
            <p:txBody>
              <a:bodyPr vert="horz" wrap="square" lIns="91440" tIns="45720" rIns="91440" bIns="45720" numCol="1" anchor="t" anchorCtr="0" compatLnSpc="1">
                <a:prstTxWarp prst="textNoShape">
                  <a:avLst/>
                </a:prstTxWarp>
                <a:normAutofit/>
              </a:bodyPr>
              <a:lstStyle/>
              <a:p>
                <a:pPr algn="ctr">
                  <a:spcBef>
                    <a:spcPct val="0"/>
                  </a:spcBef>
                </a:pPr>
                <a:endParaRPr lang="en-US" altLang="zh-CN" sz="1600" b="1" dirty="0"/>
              </a:p>
              <a:p>
                <a:pPr algn="ctr">
                  <a:spcBef>
                    <a:spcPct val="0"/>
                  </a:spcBef>
                </a:pPr>
                <a:r>
                  <a:rPr lang="en-US" altLang="zh-CN" sz="100" b="1"/>
                  <a:t> </a:t>
                </a:r>
                <a:r>
                  <a:rPr lang="en-US" altLang="zh-CN" sz="1600" b="1"/>
                  <a:t>…</a:t>
                </a:r>
                <a:r>
                  <a:rPr lang="en-US" altLang="zh-CN" sz="1600" b="1" dirty="0"/>
                  <a:t>text</a:t>
                </a:r>
              </a:p>
            </p:txBody>
          </p:sp>
          <p:sp>
            <p:nvSpPr>
              <p:cNvPr id="21" name="iṡļïḑe">
                <a:extLst>
                  <a:ext uri="{FF2B5EF4-FFF2-40B4-BE49-F238E27FC236}">
                    <a16:creationId xmlns:a16="http://schemas.microsoft.com/office/drawing/2014/main" id="{DD0C695A-4470-4B6A-879A-531A77184F54}"/>
                  </a:ext>
                </a:extLst>
              </p:cNvPr>
              <p:cNvSpPr/>
              <p:nvPr/>
            </p:nvSpPr>
            <p:spPr bwMode="auto">
              <a:xfrm>
                <a:off x="6043359" y="2215619"/>
                <a:ext cx="2363894" cy="1151064"/>
              </a:xfrm>
              <a:custGeom>
                <a:avLst/>
                <a:gdLst>
                  <a:gd name="T0" fmla="*/ 0 w 1039"/>
                  <a:gd name="T1" fmla="*/ 107 h 506"/>
                  <a:gd name="T2" fmla="*/ 108 w 1039"/>
                  <a:gd name="T3" fmla="*/ 0 h 506"/>
                  <a:gd name="T4" fmla="*/ 932 w 1039"/>
                  <a:gd name="T5" fmla="*/ 0 h 506"/>
                  <a:gd name="T6" fmla="*/ 1039 w 1039"/>
                  <a:gd name="T7" fmla="*/ 107 h 506"/>
                  <a:gd name="T8" fmla="*/ 1039 w 1039"/>
                  <a:gd name="T9" fmla="*/ 270 h 506"/>
                  <a:gd name="T10" fmla="*/ 932 w 1039"/>
                  <a:gd name="T11" fmla="*/ 377 h 506"/>
                  <a:gd name="T12" fmla="*/ 182 w 1039"/>
                  <a:gd name="T13" fmla="*/ 377 h 506"/>
                  <a:gd name="T14" fmla="*/ 138 w 1039"/>
                  <a:gd name="T15" fmla="*/ 377 h 506"/>
                  <a:gd name="T16" fmla="*/ 0 w 1039"/>
                  <a:gd name="T17" fmla="*/ 506 h 506"/>
                  <a:gd name="T18" fmla="*/ 0 w 1039"/>
                  <a:gd name="T19" fmla="*/ 281 h 506"/>
                  <a:gd name="T20" fmla="*/ 1 w 1039"/>
                  <a:gd name="T21" fmla="*/ 281 h 506"/>
                  <a:gd name="T22" fmla="*/ 0 w 1039"/>
                  <a:gd name="T23" fmla="*/ 270 h 506"/>
                  <a:gd name="T24" fmla="*/ 0 w 1039"/>
                  <a:gd name="T25" fmla="*/ 107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9" h="506">
                    <a:moveTo>
                      <a:pt x="0" y="107"/>
                    </a:moveTo>
                    <a:cubicBezTo>
                      <a:pt x="0" y="48"/>
                      <a:pt x="48" y="0"/>
                      <a:pt x="108" y="0"/>
                    </a:cubicBezTo>
                    <a:cubicBezTo>
                      <a:pt x="932" y="0"/>
                      <a:pt x="932" y="0"/>
                      <a:pt x="932" y="0"/>
                    </a:cubicBezTo>
                    <a:cubicBezTo>
                      <a:pt x="992" y="0"/>
                      <a:pt x="1039" y="48"/>
                      <a:pt x="1039" y="107"/>
                    </a:cubicBezTo>
                    <a:cubicBezTo>
                      <a:pt x="1039" y="270"/>
                      <a:pt x="1039" y="270"/>
                      <a:pt x="1039" y="270"/>
                    </a:cubicBezTo>
                    <a:cubicBezTo>
                      <a:pt x="1039" y="329"/>
                      <a:pt x="992" y="377"/>
                      <a:pt x="932" y="377"/>
                    </a:cubicBezTo>
                    <a:cubicBezTo>
                      <a:pt x="182" y="377"/>
                      <a:pt x="182" y="377"/>
                      <a:pt x="182" y="377"/>
                    </a:cubicBezTo>
                    <a:cubicBezTo>
                      <a:pt x="138" y="377"/>
                      <a:pt x="138" y="377"/>
                      <a:pt x="138" y="377"/>
                    </a:cubicBezTo>
                    <a:cubicBezTo>
                      <a:pt x="65" y="377"/>
                      <a:pt x="5" y="434"/>
                      <a:pt x="0" y="506"/>
                    </a:cubicBezTo>
                    <a:cubicBezTo>
                      <a:pt x="0" y="281"/>
                      <a:pt x="0" y="281"/>
                      <a:pt x="0" y="281"/>
                    </a:cubicBezTo>
                    <a:cubicBezTo>
                      <a:pt x="1" y="281"/>
                      <a:pt x="1" y="281"/>
                      <a:pt x="1" y="281"/>
                    </a:cubicBezTo>
                    <a:cubicBezTo>
                      <a:pt x="1" y="277"/>
                      <a:pt x="0" y="274"/>
                      <a:pt x="0" y="270"/>
                    </a:cubicBezTo>
                    <a:lnTo>
                      <a:pt x="0" y="107"/>
                    </a:lnTo>
                    <a:close/>
                  </a:path>
                </a:pathLst>
              </a:custGeom>
              <a:solidFill>
                <a:schemeClr val="accent2"/>
              </a:solidFill>
              <a:ln>
                <a:noFill/>
              </a:ln>
              <a:effectLst>
                <a:outerShdw dist="50800" dir="5400000" algn="t" rotWithShape="0">
                  <a:prstClr val="black">
                    <a:alpha val="15000"/>
                  </a:prstClr>
                </a:outerShdw>
              </a:effectLst>
            </p:spPr>
            <p:txBody>
              <a:bodyPr vert="horz" wrap="square" lIns="91440" tIns="45720" rIns="91440" bIns="45720" numCol="1" anchor="t" anchorCtr="0" compatLnSpc="1">
                <a:prstTxWarp prst="textNoShape">
                  <a:avLst/>
                </a:prstTxWarp>
                <a:normAutofit/>
              </a:bodyPr>
              <a:lstStyle/>
              <a:p>
                <a:pPr algn="ctr">
                  <a:spcBef>
                    <a:spcPct val="0"/>
                  </a:spcBef>
                </a:pPr>
                <a:endParaRPr lang="en-US" altLang="zh-CN" sz="1600" b="1" dirty="0">
                  <a:solidFill>
                    <a:schemeClr val="bg1"/>
                  </a:solidFill>
                </a:endParaRPr>
              </a:p>
              <a:p>
                <a:pPr algn="ctr">
                  <a:spcBef>
                    <a:spcPct val="0"/>
                  </a:spcBef>
                </a:pPr>
                <a:r>
                  <a:rPr lang="en-US" altLang="zh-CN" sz="100" b="1">
                    <a:solidFill>
                      <a:schemeClr val="bg1"/>
                    </a:solidFill>
                  </a:rPr>
                  <a:t> </a:t>
                </a:r>
                <a:r>
                  <a:rPr lang="en-US" altLang="zh-CN" sz="1600" b="1">
                    <a:solidFill>
                      <a:schemeClr val="bg1"/>
                    </a:solidFill>
                  </a:rPr>
                  <a:t>…</a:t>
                </a:r>
                <a:r>
                  <a:rPr lang="en-US" altLang="zh-CN" sz="1600" b="1" dirty="0">
                    <a:solidFill>
                      <a:schemeClr val="bg1"/>
                    </a:solidFill>
                  </a:rPr>
                  <a:t>text</a:t>
                </a:r>
              </a:p>
            </p:txBody>
          </p:sp>
          <p:sp>
            <p:nvSpPr>
              <p:cNvPr id="22" name="iş1idê">
                <a:extLst>
                  <a:ext uri="{FF2B5EF4-FFF2-40B4-BE49-F238E27FC236}">
                    <a16:creationId xmlns:a16="http://schemas.microsoft.com/office/drawing/2014/main" id="{0A5C83D0-484E-461C-B97B-910DECACD93A}"/>
                  </a:ext>
                </a:extLst>
              </p:cNvPr>
              <p:cNvSpPr/>
              <p:nvPr/>
            </p:nvSpPr>
            <p:spPr bwMode="auto">
              <a:xfrm>
                <a:off x="6043359" y="3116818"/>
                <a:ext cx="2660082" cy="1228270"/>
              </a:xfrm>
              <a:custGeom>
                <a:avLst/>
                <a:gdLst>
                  <a:gd name="T0" fmla="*/ 0 w 1169"/>
                  <a:gd name="T1" fmla="*/ 114 h 540"/>
                  <a:gd name="T2" fmla="*/ 114 w 1169"/>
                  <a:gd name="T3" fmla="*/ 0 h 540"/>
                  <a:gd name="T4" fmla="*/ 1055 w 1169"/>
                  <a:gd name="T5" fmla="*/ 0 h 540"/>
                  <a:gd name="T6" fmla="*/ 1169 w 1169"/>
                  <a:gd name="T7" fmla="*/ 114 h 540"/>
                  <a:gd name="T8" fmla="*/ 1169 w 1169"/>
                  <a:gd name="T9" fmla="*/ 288 h 540"/>
                  <a:gd name="T10" fmla="*/ 1055 w 1169"/>
                  <a:gd name="T11" fmla="*/ 403 h 540"/>
                  <a:gd name="T12" fmla="*/ 1059 w 1169"/>
                  <a:gd name="T13" fmla="*/ 403 h 540"/>
                  <a:gd name="T14" fmla="*/ 147 w 1169"/>
                  <a:gd name="T15" fmla="*/ 403 h 540"/>
                  <a:gd name="T16" fmla="*/ 0 w 1169"/>
                  <a:gd name="T17" fmla="*/ 540 h 540"/>
                  <a:gd name="T18" fmla="*/ 0 w 1169"/>
                  <a:gd name="T19" fmla="*/ 299 h 540"/>
                  <a:gd name="T20" fmla="*/ 1 w 1169"/>
                  <a:gd name="T21" fmla="*/ 299 h 540"/>
                  <a:gd name="T22" fmla="*/ 0 w 1169"/>
                  <a:gd name="T23" fmla="*/ 288 h 540"/>
                  <a:gd name="T24" fmla="*/ 0 w 1169"/>
                  <a:gd name="T25" fmla="*/ 114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9" h="540">
                    <a:moveTo>
                      <a:pt x="0" y="114"/>
                    </a:moveTo>
                    <a:cubicBezTo>
                      <a:pt x="0" y="51"/>
                      <a:pt x="51" y="0"/>
                      <a:pt x="114" y="0"/>
                    </a:cubicBezTo>
                    <a:cubicBezTo>
                      <a:pt x="1055" y="0"/>
                      <a:pt x="1055" y="0"/>
                      <a:pt x="1055" y="0"/>
                    </a:cubicBezTo>
                    <a:cubicBezTo>
                      <a:pt x="1118" y="0"/>
                      <a:pt x="1169" y="51"/>
                      <a:pt x="1169" y="114"/>
                    </a:cubicBezTo>
                    <a:cubicBezTo>
                      <a:pt x="1169" y="288"/>
                      <a:pt x="1169" y="288"/>
                      <a:pt x="1169" y="288"/>
                    </a:cubicBezTo>
                    <a:cubicBezTo>
                      <a:pt x="1169" y="352"/>
                      <a:pt x="1118" y="403"/>
                      <a:pt x="1055" y="403"/>
                    </a:cubicBezTo>
                    <a:cubicBezTo>
                      <a:pt x="1059" y="403"/>
                      <a:pt x="1059" y="403"/>
                      <a:pt x="1059" y="403"/>
                    </a:cubicBezTo>
                    <a:cubicBezTo>
                      <a:pt x="147" y="403"/>
                      <a:pt x="147" y="403"/>
                      <a:pt x="147" y="403"/>
                    </a:cubicBezTo>
                    <a:cubicBezTo>
                      <a:pt x="69" y="403"/>
                      <a:pt x="5" y="463"/>
                      <a:pt x="0" y="540"/>
                    </a:cubicBezTo>
                    <a:cubicBezTo>
                      <a:pt x="0" y="299"/>
                      <a:pt x="0" y="299"/>
                      <a:pt x="0" y="299"/>
                    </a:cubicBezTo>
                    <a:cubicBezTo>
                      <a:pt x="1" y="299"/>
                      <a:pt x="1" y="299"/>
                      <a:pt x="1" y="299"/>
                    </a:cubicBezTo>
                    <a:cubicBezTo>
                      <a:pt x="0" y="296"/>
                      <a:pt x="0" y="292"/>
                      <a:pt x="0" y="288"/>
                    </a:cubicBezTo>
                    <a:lnTo>
                      <a:pt x="0" y="114"/>
                    </a:lnTo>
                    <a:close/>
                  </a:path>
                </a:pathLst>
              </a:custGeom>
              <a:solidFill>
                <a:schemeClr val="bg1">
                  <a:lumMod val="95000"/>
                </a:schemeClr>
              </a:solidFill>
              <a:ln>
                <a:noFill/>
              </a:ln>
              <a:effectLst>
                <a:outerShdw dist="50800" dir="5400000" algn="t" rotWithShape="0">
                  <a:prstClr val="black">
                    <a:alpha val="15000"/>
                  </a:prstClr>
                </a:outerShdw>
              </a:effectLst>
            </p:spPr>
            <p:txBody>
              <a:bodyPr vert="horz" wrap="square" lIns="91440" tIns="45720" rIns="91440" bIns="45720" numCol="1" anchor="t" anchorCtr="0" compatLnSpc="1">
                <a:prstTxWarp prst="textNoShape">
                  <a:avLst/>
                </a:prstTxWarp>
                <a:normAutofit/>
              </a:bodyPr>
              <a:lstStyle/>
              <a:p>
                <a:pPr algn="ctr">
                  <a:spcBef>
                    <a:spcPct val="0"/>
                  </a:spcBef>
                </a:pPr>
                <a:endParaRPr lang="en-US" altLang="zh-CN" sz="1600" b="1" dirty="0"/>
              </a:p>
              <a:p>
                <a:pPr algn="ctr">
                  <a:spcBef>
                    <a:spcPct val="0"/>
                  </a:spcBef>
                </a:pPr>
                <a:r>
                  <a:rPr lang="en-US" altLang="zh-CN" sz="100" b="1"/>
                  <a:t> </a:t>
                </a:r>
                <a:r>
                  <a:rPr lang="en-US" altLang="zh-CN" sz="1600" b="1"/>
                  <a:t>…</a:t>
                </a:r>
                <a:r>
                  <a:rPr lang="en-US" altLang="zh-CN" sz="1600" b="1" dirty="0"/>
                  <a:t>text</a:t>
                </a:r>
              </a:p>
            </p:txBody>
          </p:sp>
          <p:sp>
            <p:nvSpPr>
              <p:cNvPr id="23" name="ïṣḻîḓê">
                <a:extLst>
                  <a:ext uri="{FF2B5EF4-FFF2-40B4-BE49-F238E27FC236}">
                    <a16:creationId xmlns:a16="http://schemas.microsoft.com/office/drawing/2014/main" id="{B7A8A2C5-38A4-4755-8CD8-F39E621EDFAD}"/>
                  </a:ext>
                </a:extLst>
              </p:cNvPr>
              <p:cNvSpPr/>
              <p:nvPr/>
            </p:nvSpPr>
            <p:spPr bwMode="auto">
              <a:xfrm>
                <a:off x="3488558" y="1878722"/>
                <a:ext cx="2557608" cy="1035959"/>
              </a:xfrm>
              <a:custGeom>
                <a:avLst/>
                <a:gdLst>
                  <a:gd name="T0" fmla="*/ 1124 w 1124"/>
                  <a:gd name="T1" fmla="*/ 96 h 455"/>
                  <a:gd name="T2" fmla="*/ 1027 w 1124"/>
                  <a:gd name="T3" fmla="*/ 0 h 455"/>
                  <a:gd name="T4" fmla="*/ 97 w 1124"/>
                  <a:gd name="T5" fmla="*/ 0 h 455"/>
                  <a:gd name="T6" fmla="*/ 0 w 1124"/>
                  <a:gd name="T7" fmla="*/ 96 h 455"/>
                  <a:gd name="T8" fmla="*/ 0 w 1124"/>
                  <a:gd name="T9" fmla="*/ 243 h 455"/>
                  <a:gd name="T10" fmla="*/ 97 w 1124"/>
                  <a:gd name="T11" fmla="*/ 339 h 455"/>
                  <a:gd name="T12" fmla="*/ 961 w 1124"/>
                  <a:gd name="T13" fmla="*/ 339 h 455"/>
                  <a:gd name="T14" fmla="*/ 1000 w 1124"/>
                  <a:gd name="T15" fmla="*/ 339 h 455"/>
                  <a:gd name="T16" fmla="*/ 1124 w 1124"/>
                  <a:gd name="T17" fmla="*/ 455 h 455"/>
                  <a:gd name="T18" fmla="*/ 1124 w 1124"/>
                  <a:gd name="T19" fmla="*/ 252 h 455"/>
                  <a:gd name="T20" fmla="*/ 1123 w 1124"/>
                  <a:gd name="T21" fmla="*/ 252 h 455"/>
                  <a:gd name="T22" fmla="*/ 1124 w 1124"/>
                  <a:gd name="T23" fmla="*/ 243 h 455"/>
                  <a:gd name="T24" fmla="*/ 1124 w 1124"/>
                  <a:gd name="T25" fmla="*/ 96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4" h="455">
                    <a:moveTo>
                      <a:pt x="1124" y="96"/>
                    </a:moveTo>
                    <a:cubicBezTo>
                      <a:pt x="1124" y="43"/>
                      <a:pt x="1080" y="0"/>
                      <a:pt x="1027" y="0"/>
                    </a:cubicBezTo>
                    <a:cubicBezTo>
                      <a:pt x="97" y="0"/>
                      <a:pt x="97" y="0"/>
                      <a:pt x="97" y="0"/>
                    </a:cubicBezTo>
                    <a:cubicBezTo>
                      <a:pt x="43" y="0"/>
                      <a:pt x="0" y="43"/>
                      <a:pt x="0" y="96"/>
                    </a:cubicBezTo>
                    <a:cubicBezTo>
                      <a:pt x="0" y="243"/>
                      <a:pt x="0" y="243"/>
                      <a:pt x="0" y="243"/>
                    </a:cubicBezTo>
                    <a:cubicBezTo>
                      <a:pt x="0" y="296"/>
                      <a:pt x="43" y="339"/>
                      <a:pt x="97" y="339"/>
                    </a:cubicBezTo>
                    <a:cubicBezTo>
                      <a:pt x="961" y="339"/>
                      <a:pt x="961" y="339"/>
                      <a:pt x="961" y="339"/>
                    </a:cubicBezTo>
                    <a:cubicBezTo>
                      <a:pt x="1000" y="339"/>
                      <a:pt x="1000" y="339"/>
                      <a:pt x="1000" y="339"/>
                    </a:cubicBezTo>
                    <a:cubicBezTo>
                      <a:pt x="1066" y="339"/>
                      <a:pt x="1119" y="390"/>
                      <a:pt x="1124" y="455"/>
                    </a:cubicBezTo>
                    <a:cubicBezTo>
                      <a:pt x="1124" y="252"/>
                      <a:pt x="1124" y="252"/>
                      <a:pt x="1124" y="252"/>
                    </a:cubicBezTo>
                    <a:cubicBezTo>
                      <a:pt x="1123" y="252"/>
                      <a:pt x="1123" y="252"/>
                      <a:pt x="1123" y="252"/>
                    </a:cubicBezTo>
                    <a:cubicBezTo>
                      <a:pt x="1123" y="249"/>
                      <a:pt x="1124" y="246"/>
                      <a:pt x="1124" y="243"/>
                    </a:cubicBezTo>
                    <a:lnTo>
                      <a:pt x="1124" y="96"/>
                    </a:lnTo>
                    <a:close/>
                  </a:path>
                </a:pathLst>
              </a:custGeom>
              <a:solidFill>
                <a:schemeClr val="bg1">
                  <a:lumMod val="75000"/>
                </a:schemeClr>
              </a:solidFill>
              <a:ln>
                <a:noFill/>
              </a:ln>
              <a:effectLst>
                <a:outerShdw dist="50800" dir="5400000" algn="t" rotWithShape="0">
                  <a:prstClr val="black">
                    <a:alpha val="15000"/>
                  </a:prstClr>
                </a:outerShdw>
              </a:effectLst>
            </p:spPr>
            <p:txBody>
              <a:bodyPr vert="horz" wrap="square" lIns="91440" tIns="45720" rIns="91440" bIns="45720" numCol="1" anchor="t" anchorCtr="0" compatLnSpc="1">
                <a:prstTxWarp prst="textNoShape">
                  <a:avLst/>
                </a:prstTxWarp>
                <a:normAutofit/>
              </a:bodyPr>
              <a:lstStyle/>
              <a:p>
                <a:pPr algn="ctr">
                  <a:spcBef>
                    <a:spcPct val="0"/>
                  </a:spcBef>
                </a:pPr>
                <a:endParaRPr lang="en-US" altLang="zh-CN" sz="1600" b="1" dirty="0">
                  <a:solidFill>
                    <a:schemeClr val="bg1"/>
                  </a:solidFill>
                </a:endParaRPr>
              </a:p>
              <a:p>
                <a:pPr algn="ctr">
                  <a:spcBef>
                    <a:spcPct val="0"/>
                  </a:spcBef>
                </a:pPr>
                <a:r>
                  <a:rPr lang="en-US" altLang="zh-CN" sz="100" b="1">
                    <a:solidFill>
                      <a:schemeClr val="bg1"/>
                    </a:solidFill>
                  </a:rPr>
                  <a:t> </a:t>
                </a:r>
                <a:r>
                  <a:rPr lang="en-US" altLang="zh-CN" sz="1600" b="1">
                    <a:solidFill>
                      <a:schemeClr val="bg1"/>
                    </a:solidFill>
                  </a:rPr>
                  <a:t>…</a:t>
                </a:r>
                <a:r>
                  <a:rPr lang="en-US" altLang="zh-CN" sz="1600" b="1" dirty="0">
                    <a:solidFill>
                      <a:schemeClr val="bg1"/>
                    </a:solidFill>
                  </a:rPr>
                  <a:t>text</a:t>
                </a:r>
              </a:p>
            </p:txBody>
          </p:sp>
          <p:sp>
            <p:nvSpPr>
              <p:cNvPr id="24" name="ïşḷîḑe">
                <a:extLst>
                  <a:ext uri="{FF2B5EF4-FFF2-40B4-BE49-F238E27FC236}">
                    <a16:creationId xmlns:a16="http://schemas.microsoft.com/office/drawing/2014/main" id="{62104FB7-3C38-4513-94C0-02041368EB2C}"/>
                  </a:ext>
                </a:extLst>
              </p:cNvPr>
              <p:cNvSpPr/>
              <p:nvPr/>
            </p:nvSpPr>
            <p:spPr bwMode="auto">
              <a:xfrm>
                <a:off x="3551727" y="3567418"/>
                <a:ext cx="2494440" cy="1253538"/>
              </a:xfrm>
              <a:custGeom>
                <a:avLst/>
                <a:gdLst>
                  <a:gd name="T0" fmla="*/ 1096 w 1096"/>
                  <a:gd name="T1" fmla="*/ 117 h 551"/>
                  <a:gd name="T2" fmla="*/ 979 w 1096"/>
                  <a:gd name="T3" fmla="*/ 0 h 551"/>
                  <a:gd name="T4" fmla="*/ 117 w 1096"/>
                  <a:gd name="T5" fmla="*/ 0 h 551"/>
                  <a:gd name="T6" fmla="*/ 0 w 1096"/>
                  <a:gd name="T7" fmla="*/ 117 h 551"/>
                  <a:gd name="T8" fmla="*/ 0 w 1096"/>
                  <a:gd name="T9" fmla="*/ 295 h 551"/>
                  <a:gd name="T10" fmla="*/ 117 w 1096"/>
                  <a:gd name="T11" fmla="*/ 412 h 551"/>
                  <a:gd name="T12" fmla="*/ 898 w 1096"/>
                  <a:gd name="T13" fmla="*/ 412 h 551"/>
                  <a:gd name="T14" fmla="*/ 946 w 1096"/>
                  <a:gd name="T15" fmla="*/ 412 h 551"/>
                  <a:gd name="T16" fmla="*/ 1096 w 1096"/>
                  <a:gd name="T17" fmla="*/ 551 h 551"/>
                  <a:gd name="T18" fmla="*/ 1096 w 1096"/>
                  <a:gd name="T19" fmla="*/ 306 h 551"/>
                  <a:gd name="T20" fmla="*/ 1095 w 1096"/>
                  <a:gd name="T21" fmla="*/ 306 h 551"/>
                  <a:gd name="T22" fmla="*/ 1096 w 1096"/>
                  <a:gd name="T23" fmla="*/ 295 h 551"/>
                  <a:gd name="T24" fmla="*/ 1096 w 1096"/>
                  <a:gd name="T25" fmla="*/ 11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6" h="551">
                    <a:moveTo>
                      <a:pt x="1096" y="117"/>
                    </a:moveTo>
                    <a:cubicBezTo>
                      <a:pt x="1096" y="52"/>
                      <a:pt x="1043" y="0"/>
                      <a:pt x="979" y="0"/>
                    </a:cubicBezTo>
                    <a:cubicBezTo>
                      <a:pt x="117" y="0"/>
                      <a:pt x="117" y="0"/>
                      <a:pt x="117" y="0"/>
                    </a:cubicBezTo>
                    <a:cubicBezTo>
                      <a:pt x="52" y="0"/>
                      <a:pt x="0" y="52"/>
                      <a:pt x="0" y="117"/>
                    </a:cubicBezTo>
                    <a:cubicBezTo>
                      <a:pt x="0" y="295"/>
                      <a:pt x="0" y="295"/>
                      <a:pt x="0" y="295"/>
                    </a:cubicBezTo>
                    <a:cubicBezTo>
                      <a:pt x="0" y="359"/>
                      <a:pt x="52" y="412"/>
                      <a:pt x="117" y="412"/>
                    </a:cubicBezTo>
                    <a:cubicBezTo>
                      <a:pt x="898" y="412"/>
                      <a:pt x="898" y="412"/>
                      <a:pt x="898" y="412"/>
                    </a:cubicBezTo>
                    <a:cubicBezTo>
                      <a:pt x="946" y="412"/>
                      <a:pt x="946" y="412"/>
                      <a:pt x="946" y="412"/>
                    </a:cubicBezTo>
                    <a:cubicBezTo>
                      <a:pt x="1025" y="412"/>
                      <a:pt x="1090" y="473"/>
                      <a:pt x="1096" y="551"/>
                    </a:cubicBezTo>
                    <a:cubicBezTo>
                      <a:pt x="1096" y="306"/>
                      <a:pt x="1096" y="306"/>
                      <a:pt x="1096" y="306"/>
                    </a:cubicBezTo>
                    <a:cubicBezTo>
                      <a:pt x="1095" y="306"/>
                      <a:pt x="1095" y="306"/>
                      <a:pt x="1095" y="306"/>
                    </a:cubicBezTo>
                    <a:cubicBezTo>
                      <a:pt x="1095" y="302"/>
                      <a:pt x="1096" y="298"/>
                      <a:pt x="1096" y="295"/>
                    </a:cubicBezTo>
                    <a:lnTo>
                      <a:pt x="1096" y="117"/>
                    </a:lnTo>
                    <a:close/>
                  </a:path>
                </a:pathLst>
              </a:custGeom>
              <a:solidFill>
                <a:schemeClr val="accent1"/>
              </a:solidFill>
              <a:ln>
                <a:noFill/>
              </a:ln>
              <a:effectLst>
                <a:outerShdw dist="50800" dir="5400000" algn="t" rotWithShape="0">
                  <a:prstClr val="black">
                    <a:alpha val="15000"/>
                  </a:prstClr>
                </a:outerShdw>
              </a:effectLst>
            </p:spPr>
            <p:txBody>
              <a:bodyPr vert="horz" wrap="square" lIns="91440" tIns="45720" rIns="91440" bIns="45720" numCol="1" anchor="t" anchorCtr="0" compatLnSpc="1">
                <a:prstTxWarp prst="textNoShape">
                  <a:avLst/>
                </a:prstTxWarp>
                <a:normAutofit/>
              </a:bodyPr>
              <a:lstStyle/>
              <a:p>
                <a:pPr algn="ctr">
                  <a:spcBef>
                    <a:spcPct val="0"/>
                  </a:spcBef>
                </a:pPr>
                <a:endParaRPr lang="en-US" altLang="zh-CN" sz="1600" b="1" dirty="0">
                  <a:solidFill>
                    <a:schemeClr val="bg1"/>
                  </a:solidFill>
                </a:endParaRPr>
              </a:p>
              <a:p>
                <a:pPr algn="ctr">
                  <a:spcBef>
                    <a:spcPct val="0"/>
                  </a:spcBef>
                </a:pPr>
                <a:r>
                  <a:rPr lang="en-US" altLang="zh-CN" sz="100" b="1">
                    <a:solidFill>
                      <a:schemeClr val="bg1"/>
                    </a:solidFill>
                  </a:rPr>
                  <a:t> </a:t>
                </a:r>
                <a:r>
                  <a:rPr lang="en-US" altLang="zh-CN" sz="1600" b="1">
                    <a:solidFill>
                      <a:schemeClr val="bg1"/>
                    </a:solidFill>
                  </a:rPr>
                  <a:t>…</a:t>
                </a:r>
                <a:r>
                  <a:rPr lang="en-US" altLang="zh-CN" sz="1600" b="1" dirty="0">
                    <a:solidFill>
                      <a:schemeClr val="bg1"/>
                    </a:solidFill>
                  </a:rPr>
                  <a:t>text</a:t>
                </a:r>
              </a:p>
            </p:txBody>
          </p:sp>
        </p:grpSp>
        <p:grpSp>
          <p:nvGrpSpPr>
            <p:cNvPr id="7" name="ïṣļiḑè"/>
            <p:cNvGrpSpPr/>
            <p:nvPr/>
          </p:nvGrpSpPr>
          <p:grpSpPr>
            <a:xfrm>
              <a:off x="1021132" y="1130300"/>
              <a:ext cx="1684617" cy="4658536"/>
              <a:chOff x="1021132" y="1130300"/>
              <a:chExt cx="1684617" cy="4658536"/>
            </a:xfrm>
          </p:grpSpPr>
          <p:sp>
            <p:nvSpPr>
              <p:cNvPr id="14" name="îṡlïde">
                <a:extLst>
                  <a:ext uri="{FF2B5EF4-FFF2-40B4-BE49-F238E27FC236}">
                    <a16:creationId xmlns:a16="http://schemas.microsoft.com/office/drawing/2014/main" id="{200AAE8B-0FA5-4924-B3DF-D866E96C4D6B}"/>
                  </a:ext>
                </a:extLst>
              </p:cNvPr>
              <p:cNvSpPr txBox="1"/>
              <p:nvPr/>
            </p:nvSpPr>
            <p:spPr>
              <a:xfrm>
                <a:off x="1021132" y="1130300"/>
                <a:ext cx="1684617" cy="595725"/>
              </a:xfrm>
              <a:prstGeom prst="rect">
                <a:avLst/>
              </a:prstGeom>
              <a:noFill/>
              <a:ln>
                <a:noFill/>
              </a:ln>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gn="r">
                  <a:spcBef>
                    <a:spcPct val="0"/>
                  </a:spcBef>
                  <a:buFont typeface="Arial" panose="020B0604020202020204" pitchFamily="34" charset="0"/>
                  <a:buChar char="•"/>
                </a:pPr>
                <a:r>
                  <a:rPr lang="en-US" altLang="zh-CN" sz="1000"/>
                  <a:t>S</a:t>
                </a:r>
                <a:r>
                  <a:rPr lang="en-US" altLang="zh-CN" sz="100"/>
                  <a:t> </a:t>
                </a:r>
                <a:r>
                  <a:rPr lang="en-US" altLang="zh-CN" sz="1000"/>
                  <a:t>upporting </a:t>
                </a:r>
                <a:r>
                  <a:rPr lang="en-US" altLang="zh-CN" sz="1000" dirty="0"/>
                  <a:t>text here.</a:t>
                </a:r>
              </a:p>
              <a:p>
                <a:pPr marL="171450" indent="-171450" algn="r">
                  <a:spcBef>
                    <a:spcPct val="0"/>
                  </a:spcBef>
                  <a:buFont typeface="Arial" panose="020B0604020202020204" pitchFamily="34" charset="0"/>
                  <a:buChar char="•"/>
                </a:pPr>
                <a:r>
                  <a:rPr lang="en-US" altLang="zh-CN" sz="1000" dirty="0"/>
                  <a:t>Supporting text here.</a:t>
                </a:r>
              </a:p>
            </p:txBody>
          </p:sp>
          <p:sp>
            <p:nvSpPr>
              <p:cNvPr id="15" name="îsļide">
                <a:extLst>
                  <a:ext uri="{FF2B5EF4-FFF2-40B4-BE49-F238E27FC236}">
                    <a16:creationId xmlns:a16="http://schemas.microsoft.com/office/drawing/2014/main" id="{200AAE8B-0FA5-4924-B3DF-D866E96C4D6B}"/>
                  </a:ext>
                </a:extLst>
              </p:cNvPr>
              <p:cNvSpPr txBox="1"/>
              <p:nvPr/>
            </p:nvSpPr>
            <p:spPr>
              <a:xfrm>
                <a:off x="1021132" y="2146003"/>
                <a:ext cx="1684617" cy="595725"/>
              </a:xfrm>
              <a:prstGeom prst="rect">
                <a:avLst/>
              </a:prstGeom>
              <a:noFill/>
              <a:ln>
                <a:noFill/>
              </a:ln>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gn="r">
                  <a:spcBef>
                    <a:spcPct val="0"/>
                  </a:spcBef>
                  <a:buFont typeface="Arial" panose="020B0604020202020204" pitchFamily="34" charset="0"/>
                  <a:buChar char="•"/>
                </a:pPr>
                <a:r>
                  <a:rPr lang="en-US" altLang="zh-CN" sz="1000"/>
                  <a:t>S</a:t>
                </a:r>
                <a:r>
                  <a:rPr lang="en-US" altLang="zh-CN" sz="100"/>
                  <a:t> </a:t>
                </a:r>
                <a:r>
                  <a:rPr lang="en-US" altLang="zh-CN" sz="1000"/>
                  <a:t>upporting </a:t>
                </a:r>
                <a:r>
                  <a:rPr lang="en-US" altLang="zh-CN" sz="1000" dirty="0"/>
                  <a:t>text here.</a:t>
                </a:r>
              </a:p>
              <a:p>
                <a:pPr marL="171450" indent="-171450" algn="r">
                  <a:spcBef>
                    <a:spcPct val="0"/>
                  </a:spcBef>
                  <a:buFont typeface="Arial" panose="020B0604020202020204" pitchFamily="34" charset="0"/>
                  <a:buChar char="•"/>
                </a:pPr>
                <a:r>
                  <a:rPr lang="en-US" altLang="zh-CN" sz="1000" dirty="0"/>
                  <a:t>Supporting text here.</a:t>
                </a:r>
              </a:p>
            </p:txBody>
          </p:sp>
          <p:sp>
            <p:nvSpPr>
              <p:cNvPr id="16" name="işļiḑé">
                <a:extLst>
                  <a:ext uri="{FF2B5EF4-FFF2-40B4-BE49-F238E27FC236}">
                    <a16:creationId xmlns:a16="http://schemas.microsoft.com/office/drawing/2014/main" id="{200AAE8B-0FA5-4924-B3DF-D866E96C4D6B}"/>
                  </a:ext>
                </a:extLst>
              </p:cNvPr>
              <p:cNvSpPr txBox="1"/>
              <p:nvPr/>
            </p:nvSpPr>
            <p:spPr>
              <a:xfrm>
                <a:off x="1021132" y="3161706"/>
                <a:ext cx="1684617" cy="595725"/>
              </a:xfrm>
              <a:prstGeom prst="rect">
                <a:avLst/>
              </a:prstGeom>
              <a:noFill/>
              <a:ln>
                <a:noFill/>
              </a:ln>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gn="r">
                  <a:spcBef>
                    <a:spcPct val="0"/>
                  </a:spcBef>
                  <a:buFont typeface="Arial" panose="020B0604020202020204" pitchFamily="34" charset="0"/>
                  <a:buChar char="•"/>
                </a:pPr>
                <a:r>
                  <a:rPr lang="en-US" altLang="zh-CN" sz="1000"/>
                  <a:t>S</a:t>
                </a:r>
                <a:r>
                  <a:rPr lang="en-US" altLang="zh-CN" sz="100"/>
                  <a:t> </a:t>
                </a:r>
                <a:r>
                  <a:rPr lang="en-US" altLang="zh-CN" sz="1000"/>
                  <a:t>upporting </a:t>
                </a:r>
                <a:r>
                  <a:rPr lang="en-US" altLang="zh-CN" sz="1000" dirty="0"/>
                  <a:t>text here.</a:t>
                </a:r>
              </a:p>
              <a:p>
                <a:pPr marL="171450" indent="-171450" algn="r">
                  <a:spcBef>
                    <a:spcPct val="0"/>
                  </a:spcBef>
                  <a:buFont typeface="Arial" panose="020B0604020202020204" pitchFamily="34" charset="0"/>
                  <a:buChar char="•"/>
                </a:pPr>
                <a:r>
                  <a:rPr lang="en-US" altLang="zh-CN" sz="1000" dirty="0"/>
                  <a:t>Supporting text here.</a:t>
                </a:r>
              </a:p>
            </p:txBody>
          </p:sp>
          <p:sp>
            <p:nvSpPr>
              <p:cNvPr id="17" name="ïs1ïḋê">
                <a:extLst>
                  <a:ext uri="{FF2B5EF4-FFF2-40B4-BE49-F238E27FC236}">
                    <a16:creationId xmlns:a16="http://schemas.microsoft.com/office/drawing/2014/main" id="{200AAE8B-0FA5-4924-B3DF-D866E96C4D6B}"/>
                  </a:ext>
                </a:extLst>
              </p:cNvPr>
              <p:cNvSpPr txBox="1"/>
              <p:nvPr/>
            </p:nvSpPr>
            <p:spPr>
              <a:xfrm>
                <a:off x="1021132" y="4177409"/>
                <a:ext cx="1684617" cy="595725"/>
              </a:xfrm>
              <a:prstGeom prst="rect">
                <a:avLst/>
              </a:prstGeom>
              <a:noFill/>
              <a:ln>
                <a:noFill/>
              </a:ln>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gn="r">
                  <a:spcBef>
                    <a:spcPct val="0"/>
                  </a:spcBef>
                  <a:buFont typeface="Arial" panose="020B0604020202020204" pitchFamily="34" charset="0"/>
                  <a:buChar char="•"/>
                </a:pPr>
                <a:r>
                  <a:rPr lang="en-US" altLang="zh-CN" sz="1000"/>
                  <a:t>S</a:t>
                </a:r>
                <a:r>
                  <a:rPr lang="en-US" altLang="zh-CN" sz="100"/>
                  <a:t> </a:t>
                </a:r>
                <a:r>
                  <a:rPr lang="en-US" altLang="zh-CN" sz="1000"/>
                  <a:t>upporting </a:t>
                </a:r>
                <a:r>
                  <a:rPr lang="en-US" altLang="zh-CN" sz="1000" dirty="0"/>
                  <a:t>text here.</a:t>
                </a:r>
              </a:p>
              <a:p>
                <a:pPr marL="171450" indent="-171450" algn="r">
                  <a:spcBef>
                    <a:spcPct val="0"/>
                  </a:spcBef>
                  <a:buFont typeface="Arial" panose="020B0604020202020204" pitchFamily="34" charset="0"/>
                  <a:buChar char="•"/>
                </a:pPr>
                <a:r>
                  <a:rPr lang="en-US" altLang="zh-CN" sz="1000" dirty="0"/>
                  <a:t>Supporting text here.</a:t>
                </a:r>
              </a:p>
            </p:txBody>
          </p:sp>
          <p:sp>
            <p:nvSpPr>
              <p:cNvPr id="18" name="iş1íḑé">
                <a:extLst>
                  <a:ext uri="{FF2B5EF4-FFF2-40B4-BE49-F238E27FC236}">
                    <a16:creationId xmlns:a16="http://schemas.microsoft.com/office/drawing/2014/main" id="{200AAE8B-0FA5-4924-B3DF-D866E96C4D6B}"/>
                  </a:ext>
                </a:extLst>
              </p:cNvPr>
              <p:cNvSpPr txBox="1"/>
              <p:nvPr/>
            </p:nvSpPr>
            <p:spPr>
              <a:xfrm>
                <a:off x="1021132" y="5193111"/>
                <a:ext cx="1684617" cy="595725"/>
              </a:xfrm>
              <a:prstGeom prst="rect">
                <a:avLst/>
              </a:prstGeom>
              <a:noFill/>
              <a:ln>
                <a:noFill/>
              </a:ln>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gn="r">
                  <a:spcBef>
                    <a:spcPct val="0"/>
                  </a:spcBef>
                  <a:buFont typeface="Arial" panose="020B0604020202020204" pitchFamily="34" charset="0"/>
                  <a:buChar char="•"/>
                </a:pPr>
                <a:r>
                  <a:rPr lang="en-US" altLang="zh-CN" sz="1000"/>
                  <a:t>S</a:t>
                </a:r>
                <a:r>
                  <a:rPr lang="en-US" altLang="zh-CN" sz="100"/>
                  <a:t> </a:t>
                </a:r>
                <a:r>
                  <a:rPr lang="en-US" altLang="zh-CN" sz="1000"/>
                  <a:t>upporting </a:t>
                </a:r>
                <a:r>
                  <a:rPr lang="en-US" altLang="zh-CN" sz="1000" dirty="0"/>
                  <a:t>text here.</a:t>
                </a:r>
              </a:p>
              <a:p>
                <a:pPr marL="171450" indent="-171450" algn="r">
                  <a:spcBef>
                    <a:spcPct val="0"/>
                  </a:spcBef>
                  <a:buFont typeface="Arial" panose="020B0604020202020204" pitchFamily="34" charset="0"/>
                  <a:buChar char="•"/>
                </a:pPr>
                <a:r>
                  <a:rPr lang="en-US" altLang="zh-CN" sz="1000" dirty="0"/>
                  <a:t>Supporting text here.</a:t>
                </a:r>
              </a:p>
            </p:txBody>
          </p:sp>
        </p:grpSp>
        <p:grpSp>
          <p:nvGrpSpPr>
            <p:cNvPr id="8" name="íṡļíḋé"/>
            <p:cNvGrpSpPr/>
            <p:nvPr/>
          </p:nvGrpSpPr>
          <p:grpSpPr>
            <a:xfrm>
              <a:off x="9486251" y="1130300"/>
              <a:ext cx="1684617" cy="4658536"/>
              <a:chOff x="1021132" y="1130300"/>
              <a:chExt cx="1684617" cy="4658536"/>
            </a:xfrm>
          </p:grpSpPr>
          <p:sp>
            <p:nvSpPr>
              <p:cNvPr id="9" name="iṥḻîde">
                <a:extLst>
                  <a:ext uri="{FF2B5EF4-FFF2-40B4-BE49-F238E27FC236}">
                    <a16:creationId xmlns:a16="http://schemas.microsoft.com/office/drawing/2014/main" id="{200AAE8B-0FA5-4924-B3DF-D866E96C4D6B}"/>
                  </a:ext>
                </a:extLst>
              </p:cNvPr>
              <p:cNvSpPr txBox="1"/>
              <p:nvPr/>
            </p:nvSpPr>
            <p:spPr>
              <a:xfrm>
                <a:off x="1021132" y="1130300"/>
                <a:ext cx="1684617" cy="595725"/>
              </a:xfrm>
              <a:prstGeom prst="rect">
                <a:avLst/>
              </a:prstGeom>
              <a:noFill/>
              <a:ln>
                <a:noFill/>
              </a:ln>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gn="r">
                  <a:spcBef>
                    <a:spcPct val="0"/>
                  </a:spcBef>
                  <a:buFont typeface="Arial" panose="020B0604020202020204" pitchFamily="34" charset="0"/>
                  <a:buChar char="•"/>
                </a:pPr>
                <a:r>
                  <a:rPr lang="en-US" altLang="zh-CN" sz="1000"/>
                  <a:t>S</a:t>
                </a:r>
                <a:r>
                  <a:rPr lang="en-US" altLang="zh-CN" sz="100"/>
                  <a:t> </a:t>
                </a:r>
                <a:r>
                  <a:rPr lang="en-US" altLang="zh-CN" sz="1000"/>
                  <a:t>upporting </a:t>
                </a:r>
                <a:r>
                  <a:rPr lang="en-US" altLang="zh-CN" sz="1000" dirty="0"/>
                  <a:t>text here.</a:t>
                </a:r>
              </a:p>
              <a:p>
                <a:pPr marL="171450" indent="-171450" algn="r">
                  <a:spcBef>
                    <a:spcPct val="0"/>
                  </a:spcBef>
                  <a:buFont typeface="Arial" panose="020B0604020202020204" pitchFamily="34" charset="0"/>
                  <a:buChar char="•"/>
                </a:pPr>
                <a:r>
                  <a:rPr lang="en-US" altLang="zh-CN" sz="1000" dirty="0"/>
                  <a:t>Supporting text here.</a:t>
                </a:r>
              </a:p>
            </p:txBody>
          </p:sp>
          <p:sp>
            <p:nvSpPr>
              <p:cNvPr id="10" name="ïśḻiḑê">
                <a:extLst>
                  <a:ext uri="{FF2B5EF4-FFF2-40B4-BE49-F238E27FC236}">
                    <a16:creationId xmlns:a16="http://schemas.microsoft.com/office/drawing/2014/main" id="{200AAE8B-0FA5-4924-B3DF-D866E96C4D6B}"/>
                  </a:ext>
                </a:extLst>
              </p:cNvPr>
              <p:cNvSpPr txBox="1"/>
              <p:nvPr/>
            </p:nvSpPr>
            <p:spPr>
              <a:xfrm>
                <a:off x="1021132" y="2146003"/>
                <a:ext cx="1684617" cy="595725"/>
              </a:xfrm>
              <a:prstGeom prst="rect">
                <a:avLst/>
              </a:prstGeom>
              <a:noFill/>
              <a:ln>
                <a:noFill/>
              </a:ln>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gn="r">
                  <a:spcBef>
                    <a:spcPct val="0"/>
                  </a:spcBef>
                  <a:buFont typeface="Arial" panose="020B0604020202020204" pitchFamily="34" charset="0"/>
                  <a:buChar char="•"/>
                </a:pPr>
                <a:r>
                  <a:rPr lang="en-US" altLang="zh-CN" sz="1000"/>
                  <a:t>S</a:t>
                </a:r>
                <a:r>
                  <a:rPr lang="en-US" altLang="zh-CN" sz="100"/>
                  <a:t> </a:t>
                </a:r>
                <a:r>
                  <a:rPr lang="en-US" altLang="zh-CN" sz="1000"/>
                  <a:t>upporting </a:t>
                </a:r>
                <a:r>
                  <a:rPr lang="en-US" altLang="zh-CN" sz="1000" dirty="0"/>
                  <a:t>text here.</a:t>
                </a:r>
              </a:p>
              <a:p>
                <a:pPr marL="171450" indent="-171450" algn="r">
                  <a:spcBef>
                    <a:spcPct val="0"/>
                  </a:spcBef>
                  <a:buFont typeface="Arial" panose="020B0604020202020204" pitchFamily="34" charset="0"/>
                  <a:buChar char="•"/>
                </a:pPr>
                <a:r>
                  <a:rPr lang="en-US" altLang="zh-CN" sz="1000" dirty="0"/>
                  <a:t>Supporting text here.</a:t>
                </a:r>
              </a:p>
            </p:txBody>
          </p:sp>
          <p:sp>
            <p:nvSpPr>
              <p:cNvPr id="11" name="íṧļïḍê">
                <a:extLst>
                  <a:ext uri="{FF2B5EF4-FFF2-40B4-BE49-F238E27FC236}">
                    <a16:creationId xmlns:a16="http://schemas.microsoft.com/office/drawing/2014/main" id="{200AAE8B-0FA5-4924-B3DF-D866E96C4D6B}"/>
                  </a:ext>
                </a:extLst>
              </p:cNvPr>
              <p:cNvSpPr txBox="1"/>
              <p:nvPr/>
            </p:nvSpPr>
            <p:spPr>
              <a:xfrm>
                <a:off x="1021132" y="3161706"/>
                <a:ext cx="1684617" cy="595725"/>
              </a:xfrm>
              <a:prstGeom prst="rect">
                <a:avLst/>
              </a:prstGeom>
              <a:noFill/>
              <a:ln>
                <a:noFill/>
              </a:ln>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gn="r">
                  <a:spcBef>
                    <a:spcPct val="0"/>
                  </a:spcBef>
                  <a:buFont typeface="Arial" panose="020B0604020202020204" pitchFamily="34" charset="0"/>
                  <a:buChar char="•"/>
                </a:pPr>
                <a:r>
                  <a:rPr lang="en-US" altLang="zh-CN" sz="1000"/>
                  <a:t>S</a:t>
                </a:r>
                <a:r>
                  <a:rPr lang="en-US" altLang="zh-CN" sz="100"/>
                  <a:t> </a:t>
                </a:r>
                <a:r>
                  <a:rPr lang="en-US" altLang="zh-CN" sz="1000"/>
                  <a:t>upporting </a:t>
                </a:r>
                <a:r>
                  <a:rPr lang="en-US" altLang="zh-CN" sz="1000" dirty="0"/>
                  <a:t>text here.</a:t>
                </a:r>
              </a:p>
              <a:p>
                <a:pPr marL="171450" indent="-171450" algn="r">
                  <a:spcBef>
                    <a:spcPct val="0"/>
                  </a:spcBef>
                  <a:buFont typeface="Arial" panose="020B0604020202020204" pitchFamily="34" charset="0"/>
                  <a:buChar char="•"/>
                </a:pPr>
                <a:r>
                  <a:rPr lang="en-US" altLang="zh-CN" sz="1000" dirty="0"/>
                  <a:t>Supporting text here.</a:t>
                </a:r>
              </a:p>
            </p:txBody>
          </p:sp>
          <p:sp>
            <p:nvSpPr>
              <p:cNvPr id="12" name="íšľiďè">
                <a:extLst>
                  <a:ext uri="{FF2B5EF4-FFF2-40B4-BE49-F238E27FC236}">
                    <a16:creationId xmlns:a16="http://schemas.microsoft.com/office/drawing/2014/main" id="{200AAE8B-0FA5-4924-B3DF-D866E96C4D6B}"/>
                  </a:ext>
                </a:extLst>
              </p:cNvPr>
              <p:cNvSpPr txBox="1"/>
              <p:nvPr/>
            </p:nvSpPr>
            <p:spPr>
              <a:xfrm>
                <a:off x="1021132" y="4177409"/>
                <a:ext cx="1684617" cy="595725"/>
              </a:xfrm>
              <a:prstGeom prst="rect">
                <a:avLst/>
              </a:prstGeom>
              <a:noFill/>
              <a:ln>
                <a:noFill/>
              </a:ln>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gn="r">
                  <a:spcBef>
                    <a:spcPct val="0"/>
                  </a:spcBef>
                  <a:buFont typeface="Arial" panose="020B0604020202020204" pitchFamily="34" charset="0"/>
                  <a:buChar char="•"/>
                </a:pPr>
                <a:r>
                  <a:rPr lang="en-US" altLang="zh-CN" sz="1000"/>
                  <a:t>S</a:t>
                </a:r>
                <a:r>
                  <a:rPr lang="en-US" altLang="zh-CN" sz="100"/>
                  <a:t> </a:t>
                </a:r>
                <a:r>
                  <a:rPr lang="en-US" altLang="zh-CN" sz="1000"/>
                  <a:t>upporting </a:t>
                </a:r>
                <a:r>
                  <a:rPr lang="en-US" altLang="zh-CN" sz="1000" dirty="0"/>
                  <a:t>text here.</a:t>
                </a:r>
              </a:p>
              <a:p>
                <a:pPr marL="171450" indent="-171450" algn="r">
                  <a:spcBef>
                    <a:spcPct val="0"/>
                  </a:spcBef>
                  <a:buFont typeface="Arial" panose="020B0604020202020204" pitchFamily="34" charset="0"/>
                  <a:buChar char="•"/>
                </a:pPr>
                <a:r>
                  <a:rPr lang="en-US" altLang="zh-CN" sz="1000" dirty="0"/>
                  <a:t>Supporting text here.</a:t>
                </a:r>
              </a:p>
            </p:txBody>
          </p:sp>
          <p:sp>
            <p:nvSpPr>
              <p:cNvPr id="13" name="ïš1îḑe">
                <a:extLst>
                  <a:ext uri="{FF2B5EF4-FFF2-40B4-BE49-F238E27FC236}">
                    <a16:creationId xmlns:a16="http://schemas.microsoft.com/office/drawing/2014/main" id="{200AAE8B-0FA5-4924-B3DF-D866E96C4D6B}"/>
                  </a:ext>
                </a:extLst>
              </p:cNvPr>
              <p:cNvSpPr txBox="1"/>
              <p:nvPr/>
            </p:nvSpPr>
            <p:spPr>
              <a:xfrm>
                <a:off x="1021132" y="5193111"/>
                <a:ext cx="1684617" cy="595725"/>
              </a:xfrm>
              <a:prstGeom prst="rect">
                <a:avLst/>
              </a:prstGeom>
              <a:noFill/>
              <a:ln>
                <a:noFill/>
              </a:ln>
            </p:spPr>
            <p:txBody>
              <a:bodyPr wrap="square" lIns="91440" tIns="45720" rIns="91440" bIns="45720" anchor="ctr"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gn="r">
                  <a:spcBef>
                    <a:spcPct val="0"/>
                  </a:spcBef>
                  <a:buFont typeface="Arial" panose="020B0604020202020204" pitchFamily="34" charset="0"/>
                  <a:buChar char="•"/>
                </a:pPr>
                <a:r>
                  <a:rPr lang="en-US" altLang="zh-CN" sz="1000"/>
                  <a:t>S</a:t>
                </a:r>
                <a:r>
                  <a:rPr lang="en-US" altLang="zh-CN" sz="100"/>
                  <a:t> </a:t>
                </a:r>
                <a:r>
                  <a:rPr lang="en-US" altLang="zh-CN" sz="1000"/>
                  <a:t>upporting </a:t>
                </a:r>
                <a:r>
                  <a:rPr lang="en-US" altLang="zh-CN" sz="1000" dirty="0"/>
                  <a:t>text here.</a:t>
                </a:r>
              </a:p>
              <a:p>
                <a:pPr marL="171450" indent="-171450" algn="r">
                  <a:spcBef>
                    <a:spcPct val="0"/>
                  </a:spcBef>
                  <a:buFont typeface="Arial" panose="020B0604020202020204" pitchFamily="34" charset="0"/>
                  <a:buChar char="•"/>
                </a:pPr>
                <a:r>
                  <a:rPr lang="en-US" altLang="zh-CN" sz="1000" dirty="0"/>
                  <a:t>Supporting text here.</a:t>
                </a:r>
              </a:p>
            </p:txBody>
          </p:sp>
        </p:grpSp>
      </p:grpSp>
    </p:spTree>
    <p:extLst>
      <p:ext uri="{BB962C8B-B14F-4D97-AF65-F5344CB8AC3E}">
        <p14:creationId xmlns:p14="http://schemas.microsoft.com/office/powerpoint/2010/main" val="15036933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GB" altLang="zh-CN" dirty="0"/>
              <a:t>Prevention in after virus epidemic areas</a:t>
            </a:r>
            <a:endParaRPr lang="zh-CN" altLang="en-US" dirty="0"/>
          </a:p>
        </p:txBody>
      </p:sp>
      <p:sp>
        <p:nvSpPr>
          <p:cNvPr id="3" name="页脚占位符 2"/>
          <p:cNvSpPr>
            <a:spLocks noGrp="1"/>
          </p:cNvSpPr>
          <p:nvPr>
            <p:ph type="ftr" sz="quarter" idx="11"/>
          </p:nvPr>
        </p:nvSpPr>
        <p:spPr/>
        <p:txBody>
          <a:bodyPr/>
          <a:lstStyle/>
          <a:p>
            <a:r>
              <a:rPr lang="en-GB" altLang="zh-CN" dirty="0"/>
              <a:t>https://iSlide-PowerPoint.com </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pPr/>
              <a:t>9</a:t>
            </a:fld>
            <a:endParaRPr lang="zh-CN" altLang="en-US"/>
          </a:p>
        </p:txBody>
      </p:sp>
      <p:grpSp>
        <p:nvGrpSpPr>
          <p:cNvPr id="5" name="277876"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1129466" y="1418164"/>
            <a:ext cx="10391022" cy="4533256"/>
            <a:chOff x="1129466" y="1418164"/>
            <a:chExt cx="10391022" cy="4533256"/>
          </a:xfrm>
        </p:grpSpPr>
        <p:grpSp>
          <p:nvGrpSpPr>
            <p:cNvPr id="6" name="îşḻídé">
              <a:extLst>
                <a:ext uri="{FF2B5EF4-FFF2-40B4-BE49-F238E27FC236}">
                  <a16:creationId xmlns:a16="http://schemas.microsoft.com/office/drawing/2014/main" id="{2D6A5EEC-14D5-43B9-8CCB-BB1AFA367584}"/>
                </a:ext>
              </a:extLst>
            </p:cNvPr>
            <p:cNvGrpSpPr/>
            <p:nvPr/>
          </p:nvGrpSpPr>
          <p:grpSpPr>
            <a:xfrm>
              <a:off x="1129466" y="2604340"/>
              <a:ext cx="2507299" cy="1107160"/>
              <a:chOff x="487363" y="2937695"/>
              <a:chExt cx="2507299" cy="1107160"/>
            </a:xfrm>
          </p:grpSpPr>
          <p:sp>
            <p:nvSpPr>
              <p:cNvPr id="26" name="isļíḑè">
                <a:extLst>
                  <a:ext uri="{FF2B5EF4-FFF2-40B4-BE49-F238E27FC236}">
                    <a16:creationId xmlns:a16="http://schemas.microsoft.com/office/drawing/2014/main" id="{2F5D4478-85D1-42F6-9F84-6CF396778DFC}"/>
                  </a:ext>
                </a:extLst>
              </p:cNvPr>
              <p:cNvSpPr txBox="1"/>
              <p:nvPr/>
            </p:nvSpPr>
            <p:spPr>
              <a:xfrm>
                <a:off x="487363" y="3304444"/>
                <a:ext cx="2507299" cy="740411"/>
              </a:xfrm>
              <a:prstGeom prst="rect">
                <a:avLst/>
              </a:prstGeom>
              <a:noFill/>
            </p:spPr>
            <p:txBody>
              <a:bodyPr wrap="square" lIns="91440" tIns="45720" rIns="91440" bIns="45720" anchor="t">
                <a:noAutofit/>
              </a:bodyPr>
              <a:lstStyle/>
              <a:p>
                <a:pPr algn="r" defTabSz="914378">
                  <a:lnSpc>
                    <a:spcPct val="120000"/>
                  </a:lnSpc>
                  <a:spcBef>
                    <a:spcPct val="0"/>
                  </a:spcBef>
                  <a:defRPr/>
                </a:pPr>
                <a:r>
                  <a:rPr lang="en-US" altLang="zh-CN" sz="1100"/>
                  <a:t>Support</a:t>
                </a:r>
                <a:r>
                  <a:rPr lang="en-US" altLang="zh-CN" sz="100"/>
                  <a:t> </a:t>
                </a:r>
                <a:r>
                  <a:rPr lang="en-US" altLang="zh-CN" sz="1100"/>
                  <a:t>ing </a:t>
                </a:r>
                <a:r>
                  <a:rPr lang="en-US" altLang="zh-CN" sz="1100" dirty="0"/>
                  <a:t>text here</a:t>
                </a:r>
                <a:br>
                  <a:rPr lang="zh-CN" altLang="en-US" sz="1100" dirty="0"/>
                </a:br>
                <a:r>
                  <a:rPr lang="en-US" altLang="zh-CN" sz="1100" dirty="0"/>
                  <a:t>Supporting text here</a:t>
                </a:r>
                <a:br>
                  <a:rPr lang="zh-CN" altLang="en-US" sz="1100" dirty="0"/>
                </a:br>
                <a:endParaRPr lang="zh-CN" altLang="en-US" sz="1100" dirty="0"/>
              </a:p>
            </p:txBody>
          </p:sp>
          <p:sp>
            <p:nvSpPr>
              <p:cNvPr id="27" name="iṩḷïdé">
                <a:extLst>
                  <a:ext uri="{FF2B5EF4-FFF2-40B4-BE49-F238E27FC236}">
                    <a16:creationId xmlns:a16="http://schemas.microsoft.com/office/drawing/2014/main" id="{46B7D336-D30F-4792-B2A1-7BB1C928A543}"/>
                  </a:ext>
                </a:extLst>
              </p:cNvPr>
              <p:cNvSpPr/>
              <p:nvPr/>
            </p:nvSpPr>
            <p:spPr>
              <a:xfrm>
                <a:off x="487363" y="2937695"/>
                <a:ext cx="2507299" cy="366749"/>
              </a:xfrm>
              <a:prstGeom prst="rect">
                <a:avLst/>
              </a:prstGeom>
            </p:spPr>
            <p:txBody>
              <a:bodyPr wrap="square" lIns="91440" tIns="45720" rIns="91440" bIns="45720" anchor="b">
                <a:noAutofit/>
              </a:bodyPr>
              <a:lstStyle/>
              <a:p>
                <a:pPr lvl="0" algn="r" defTabSz="914378">
                  <a:spcBef>
                    <a:spcPct val="0"/>
                  </a:spcBef>
                  <a:defRPr/>
                </a:pPr>
                <a:r>
                  <a:rPr lang="en-US" altLang="zh-CN" sz="1600" b="1"/>
                  <a:t>Te</a:t>
                </a:r>
                <a:r>
                  <a:rPr lang="en-US" altLang="zh-CN" sz="100" b="1"/>
                  <a:t> </a:t>
                </a:r>
                <a:r>
                  <a:rPr lang="en-US" altLang="zh-CN" sz="1600" b="1"/>
                  <a:t>xt </a:t>
                </a:r>
                <a:r>
                  <a:rPr lang="en-US" altLang="zh-CN" sz="1600" b="1" dirty="0"/>
                  <a:t>Here</a:t>
                </a:r>
                <a:endParaRPr lang="zh-CN" altLang="en-US" sz="1600" b="1" dirty="0"/>
              </a:p>
            </p:txBody>
          </p:sp>
        </p:grpSp>
        <p:sp>
          <p:nvSpPr>
            <p:cNvPr id="7" name="íśḻïḑé">
              <a:extLst>
                <a:ext uri="{FF2B5EF4-FFF2-40B4-BE49-F238E27FC236}">
                  <a16:creationId xmlns:a16="http://schemas.microsoft.com/office/drawing/2014/main" id="{4DAE5FEE-9D93-4793-B1FC-F7A85FA95DE8}"/>
                </a:ext>
              </a:extLst>
            </p:cNvPr>
            <p:cNvSpPr/>
            <p:nvPr/>
          </p:nvSpPr>
          <p:spPr>
            <a:xfrm>
              <a:off x="4799187" y="2629420"/>
              <a:ext cx="3026792" cy="3026792"/>
            </a:xfrm>
            <a:prstGeom prst="ellipse">
              <a:avLst/>
            </a:prstGeom>
            <a:solidFill>
              <a:schemeClr val="accent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anchor="ctr">
              <a:noAutofit/>
            </a:bodyPr>
            <a:lstStyle/>
            <a:p>
              <a:pPr algn="ctr"/>
              <a:r>
                <a:rPr lang="en-US" altLang="zh-CN" sz="4000"/>
                <a:t> </a:t>
              </a:r>
              <a:r>
                <a:rPr lang="en-US" altLang="zh-CN" sz="100"/>
                <a:t> </a:t>
              </a:r>
              <a:r>
                <a:rPr lang="en-US" altLang="zh-CN" sz="4000"/>
                <a:t>  </a:t>
              </a:r>
              <a:r>
                <a:rPr lang="en-US" altLang="zh-CN" sz="4000" dirty="0"/>
                <a:t>50%</a:t>
              </a:r>
            </a:p>
          </p:txBody>
        </p:sp>
        <p:sp>
          <p:nvSpPr>
            <p:cNvPr id="8" name="ïšḷide">
              <a:extLst>
                <a:ext uri="{FF2B5EF4-FFF2-40B4-BE49-F238E27FC236}">
                  <a16:creationId xmlns:a16="http://schemas.microsoft.com/office/drawing/2014/main" id="{97CBD5C3-4A08-43CC-9577-FE6481FDB57A}"/>
                </a:ext>
              </a:extLst>
            </p:cNvPr>
            <p:cNvSpPr/>
            <p:nvPr/>
          </p:nvSpPr>
          <p:spPr>
            <a:xfrm>
              <a:off x="4144800" y="3747786"/>
              <a:ext cx="1816074" cy="1816075"/>
            </a:xfrm>
            <a:prstGeom prst="ellipse">
              <a:avLst/>
            </a:prstGeom>
            <a:solidFill>
              <a:schemeClr val="accent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anchor="ctr">
              <a:noAutofit/>
            </a:bodyPr>
            <a:lstStyle/>
            <a:p>
              <a:pPr algn="ctr"/>
              <a:r>
                <a:rPr lang="en-US" altLang="zh-CN" sz="2800"/>
                <a:t>3</a:t>
              </a:r>
              <a:r>
                <a:rPr lang="en-US" altLang="zh-CN" sz="100"/>
                <a:t> </a:t>
              </a:r>
              <a:r>
                <a:rPr lang="en-US" altLang="zh-CN" sz="2800"/>
                <a:t>0%</a:t>
              </a:r>
              <a:endParaRPr lang="en-US" altLang="zh-CN" sz="2800" dirty="0"/>
            </a:p>
          </p:txBody>
        </p:sp>
        <p:sp>
          <p:nvSpPr>
            <p:cNvPr id="9" name="ïṧlïḋe">
              <a:extLst>
                <a:ext uri="{FF2B5EF4-FFF2-40B4-BE49-F238E27FC236}">
                  <a16:creationId xmlns:a16="http://schemas.microsoft.com/office/drawing/2014/main" id="{8CE8E484-2FD2-4A08-809B-51F4267BE01F}"/>
                </a:ext>
              </a:extLst>
            </p:cNvPr>
            <p:cNvSpPr/>
            <p:nvPr/>
          </p:nvSpPr>
          <p:spPr>
            <a:xfrm>
              <a:off x="4074952" y="2744626"/>
              <a:ext cx="1210717" cy="1210718"/>
            </a:xfrm>
            <a:prstGeom prst="ellipse">
              <a:avLst/>
            </a:prstGeom>
            <a:solidFill>
              <a:schemeClr val="accent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anchor="ctr">
              <a:noAutofit/>
            </a:bodyPr>
            <a:lstStyle/>
            <a:p>
              <a:pPr algn="ctr"/>
              <a:r>
                <a:rPr lang="en-US" altLang="zh-CN" sz="2400"/>
                <a:t>2</a:t>
              </a:r>
              <a:r>
                <a:rPr lang="en-US" altLang="zh-CN" sz="100"/>
                <a:t> </a:t>
              </a:r>
              <a:r>
                <a:rPr lang="en-US" altLang="zh-CN" sz="2400"/>
                <a:t>0</a:t>
              </a:r>
              <a:r>
                <a:rPr lang="en-US" altLang="zh-CN" sz="2400" dirty="0"/>
                <a:t>%</a:t>
              </a:r>
            </a:p>
          </p:txBody>
        </p:sp>
        <p:sp>
          <p:nvSpPr>
            <p:cNvPr id="10" name="îŝḻïďê">
              <a:extLst>
                <a:ext uri="{FF2B5EF4-FFF2-40B4-BE49-F238E27FC236}">
                  <a16:creationId xmlns:a16="http://schemas.microsoft.com/office/drawing/2014/main" id="{3D2CBEB4-B6CC-48A5-894B-95424BAA1C0A}"/>
                </a:ext>
              </a:extLst>
            </p:cNvPr>
            <p:cNvSpPr/>
            <p:nvPr/>
          </p:nvSpPr>
          <p:spPr>
            <a:xfrm>
              <a:off x="3894108" y="1982115"/>
              <a:ext cx="3931872" cy="3931873"/>
            </a:xfrm>
            <a:prstGeom prst="ellipse">
              <a:avLst/>
            </a:prstGeom>
            <a:no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Autofit/>
            </a:bodyPr>
            <a:lstStyle/>
            <a:p>
              <a:pPr algn="ctr"/>
              <a:endParaRPr/>
            </a:p>
          </p:txBody>
        </p:sp>
        <p:sp>
          <p:nvSpPr>
            <p:cNvPr id="11" name="ïṧ1îḍé">
              <a:extLst>
                <a:ext uri="{FF2B5EF4-FFF2-40B4-BE49-F238E27FC236}">
                  <a16:creationId xmlns:a16="http://schemas.microsoft.com/office/drawing/2014/main" id="{760E036E-495A-44F1-A9E7-A24AB7377FA7}"/>
                </a:ext>
              </a:extLst>
            </p:cNvPr>
            <p:cNvSpPr/>
            <p:nvPr/>
          </p:nvSpPr>
          <p:spPr>
            <a:xfrm>
              <a:off x="7430815" y="4563351"/>
              <a:ext cx="498143" cy="498143"/>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Autofit/>
            </a:bodyPr>
            <a:lstStyle/>
            <a:p>
              <a:pPr algn="ctr"/>
              <a:endParaRPr/>
            </a:p>
          </p:txBody>
        </p:sp>
        <p:sp>
          <p:nvSpPr>
            <p:cNvPr id="12" name="îsľiḓè">
              <a:extLst>
                <a:ext uri="{FF2B5EF4-FFF2-40B4-BE49-F238E27FC236}">
                  <a16:creationId xmlns:a16="http://schemas.microsoft.com/office/drawing/2014/main" id="{A67DB6C3-891E-42BE-8BA4-D1AA1A433849}"/>
                </a:ext>
              </a:extLst>
            </p:cNvPr>
            <p:cNvSpPr/>
            <p:nvPr/>
          </p:nvSpPr>
          <p:spPr bwMode="auto">
            <a:xfrm>
              <a:off x="7533730" y="4675243"/>
              <a:ext cx="292314" cy="274359"/>
            </a:xfrm>
            <a:custGeom>
              <a:avLst/>
              <a:gdLst>
                <a:gd name="connsiteX0" fmla="*/ 171677 w 606580"/>
                <a:gd name="connsiteY0" fmla="*/ 318744 h 569322"/>
                <a:gd name="connsiteX1" fmla="*/ 228500 w 606580"/>
                <a:gd name="connsiteY1" fmla="*/ 375386 h 569322"/>
                <a:gd name="connsiteX2" fmla="*/ 227108 w 606580"/>
                <a:gd name="connsiteY2" fmla="*/ 387623 h 569322"/>
                <a:gd name="connsiteX3" fmla="*/ 356167 w 606580"/>
                <a:gd name="connsiteY3" fmla="*/ 468739 h 569322"/>
                <a:gd name="connsiteX4" fmla="*/ 391728 w 606580"/>
                <a:gd name="connsiteY4" fmla="*/ 455945 h 569322"/>
                <a:gd name="connsiteX5" fmla="*/ 419490 w 606580"/>
                <a:gd name="connsiteY5" fmla="*/ 463454 h 569322"/>
                <a:gd name="connsiteX6" fmla="*/ 497019 w 606580"/>
                <a:gd name="connsiteY6" fmla="*/ 395874 h 569322"/>
                <a:gd name="connsiteX7" fmla="*/ 493026 w 606580"/>
                <a:gd name="connsiteY7" fmla="*/ 375386 h 569322"/>
                <a:gd name="connsiteX8" fmla="*/ 549849 w 606580"/>
                <a:gd name="connsiteY8" fmla="*/ 318744 h 569322"/>
                <a:gd name="connsiteX9" fmla="*/ 606580 w 606580"/>
                <a:gd name="connsiteY9" fmla="*/ 375386 h 569322"/>
                <a:gd name="connsiteX10" fmla="*/ 549849 w 606580"/>
                <a:gd name="connsiteY10" fmla="*/ 432121 h 569322"/>
                <a:gd name="connsiteX11" fmla="*/ 521809 w 606580"/>
                <a:gd name="connsiteY11" fmla="*/ 424519 h 569322"/>
                <a:gd name="connsiteX12" fmla="*/ 444466 w 606580"/>
                <a:gd name="connsiteY12" fmla="*/ 491915 h 569322"/>
                <a:gd name="connsiteX13" fmla="*/ 448459 w 606580"/>
                <a:gd name="connsiteY13" fmla="*/ 512587 h 569322"/>
                <a:gd name="connsiteX14" fmla="*/ 391728 w 606580"/>
                <a:gd name="connsiteY14" fmla="*/ 569322 h 569322"/>
                <a:gd name="connsiteX15" fmla="*/ 334905 w 606580"/>
                <a:gd name="connsiteY15" fmla="*/ 512587 h 569322"/>
                <a:gd name="connsiteX16" fmla="*/ 336112 w 606580"/>
                <a:gd name="connsiteY16" fmla="*/ 500907 h 569322"/>
                <a:gd name="connsiteX17" fmla="*/ 206867 w 606580"/>
                <a:gd name="connsiteY17" fmla="*/ 419606 h 569322"/>
                <a:gd name="connsiteX18" fmla="*/ 171677 w 606580"/>
                <a:gd name="connsiteY18" fmla="*/ 432121 h 569322"/>
                <a:gd name="connsiteX19" fmla="*/ 152736 w 606580"/>
                <a:gd name="connsiteY19" fmla="*/ 428598 h 569322"/>
                <a:gd name="connsiteX20" fmla="*/ 105847 w 606580"/>
                <a:gd name="connsiteY20" fmla="*/ 484498 h 569322"/>
                <a:gd name="connsiteX21" fmla="*/ 113554 w 606580"/>
                <a:gd name="connsiteY21" fmla="*/ 512587 h 569322"/>
                <a:gd name="connsiteX22" fmla="*/ 56823 w 606580"/>
                <a:gd name="connsiteY22" fmla="*/ 569322 h 569322"/>
                <a:gd name="connsiteX23" fmla="*/ 0 w 606580"/>
                <a:gd name="connsiteY23" fmla="*/ 512587 h 569322"/>
                <a:gd name="connsiteX24" fmla="*/ 56823 w 606580"/>
                <a:gd name="connsiteY24" fmla="*/ 455945 h 569322"/>
                <a:gd name="connsiteX25" fmla="*/ 77157 w 606580"/>
                <a:gd name="connsiteY25" fmla="*/ 459839 h 569322"/>
                <a:gd name="connsiteX26" fmla="*/ 123303 w 606580"/>
                <a:gd name="connsiteY26" fmla="*/ 404773 h 569322"/>
                <a:gd name="connsiteX27" fmla="*/ 114854 w 606580"/>
                <a:gd name="connsiteY27" fmla="*/ 375386 h 569322"/>
                <a:gd name="connsiteX28" fmla="*/ 171677 w 606580"/>
                <a:gd name="connsiteY28" fmla="*/ 318744 h 569322"/>
                <a:gd name="connsiteX29" fmla="*/ 316484 w 606580"/>
                <a:gd name="connsiteY29" fmla="*/ 174937 h 569322"/>
                <a:gd name="connsiteX30" fmla="*/ 316577 w 606580"/>
                <a:gd name="connsiteY30" fmla="*/ 174991 h 569322"/>
                <a:gd name="connsiteX31" fmla="*/ 316577 w 606580"/>
                <a:gd name="connsiteY31" fmla="*/ 243818 h 569322"/>
                <a:gd name="connsiteX32" fmla="*/ 338115 w 606580"/>
                <a:gd name="connsiteY32" fmla="*/ 231488 h 569322"/>
                <a:gd name="connsiteX33" fmla="*/ 346378 w 606580"/>
                <a:gd name="connsiteY33" fmla="*/ 208497 h 569322"/>
                <a:gd name="connsiteX34" fmla="*/ 339415 w 606580"/>
                <a:gd name="connsiteY34" fmla="*/ 188102 h 569322"/>
                <a:gd name="connsiteX35" fmla="*/ 316577 w 606580"/>
                <a:gd name="connsiteY35" fmla="*/ 174991 h 569322"/>
                <a:gd name="connsiteX36" fmla="*/ 316577 w 606580"/>
                <a:gd name="connsiteY36" fmla="*/ 174937 h 569322"/>
                <a:gd name="connsiteX37" fmla="*/ 290954 w 606580"/>
                <a:gd name="connsiteY37" fmla="*/ 55995 h 569322"/>
                <a:gd name="connsiteX38" fmla="*/ 274243 w 606580"/>
                <a:gd name="connsiteY38" fmla="*/ 67954 h 569322"/>
                <a:gd name="connsiteX39" fmla="*/ 268116 w 606580"/>
                <a:gd name="connsiteY39" fmla="*/ 86681 h 569322"/>
                <a:gd name="connsiteX40" fmla="*/ 273779 w 606580"/>
                <a:gd name="connsiteY40" fmla="*/ 104109 h 569322"/>
                <a:gd name="connsiteX41" fmla="*/ 290954 w 606580"/>
                <a:gd name="connsiteY41" fmla="*/ 117088 h 569322"/>
                <a:gd name="connsiteX42" fmla="*/ 290861 w 606580"/>
                <a:gd name="connsiteY42" fmla="*/ 0 h 569322"/>
                <a:gd name="connsiteX43" fmla="*/ 316484 w 606580"/>
                <a:gd name="connsiteY43" fmla="*/ 0 h 569322"/>
                <a:gd name="connsiteX44" fmla="*/ 316484 w 606580"/>
                <a:gd name="connsiteY44" fmla="*/ 17522 h 569322"/>
                <a:gd name="connsiteX45" fmla="*/ 361232 w 606580"/>
                <a:gd name="connsiteY45" fmla="*/ 36619 h 569322"/>
                <a:gd name="connsiteX46" fmla="*/ 382492 w 606580"/>
                <a:gd name="connsiteY46" fmla="*/ 78893 h 569322"/>
                <a:gd name="connsiteX47" fmla="*/ 337744 w 606580"/>
                <a:gd name="connsiteY47" fmla="*/ 84734 h 569322"/>
                <a:gd name="connsiteX48" fmla="*/ 316484 w 606580"/>
                <a:gd name="connsiteY48" fmla="*/ 56458 h 569322"/>
                <a:gd name="connsiteX49" fmla="*/ 316484 w 606580"/>
                <a:gd name="connsiteY49" fmla="*/ 125525 h 569322"/>
                <a:gd name="connsiteX50" fmla="*/ 374322 w 606580"/>
                <a:gd name="connsiteY50" fmla="*/ 155283 h 569322"/>
                <a:gd name="connsiteX51" fmla="*/ 389733 w 606580"/>
                <a:gd name="connsiteY51" fmla="*/ 202193 h 569322"/>
                <a:gd name="connsiteX52" fmla="*/ 370330 w 606580"/>
                <a:gd name="connsiteY52" fmla="*/ 255963 h 569322"/>
                <a:gd name="connsiteX53" fmla="*/ 316484 w 606580"/>
                <a:gd name="connsiteY53" fmla="*/ 282755 h 569322"/>
                <a:gd name="connsiteX54" fmla="*/ 316484 w 606580"/>
                <a:gd name="connsiteY54" fmla="*/ 315851 h 569322"/>
                <a:gd name="connsiteX55" fmla="*/ 290861 w 606580"/>
                <a:gd name="connsiteY55" fmla="*/ 315851 h 569322"/>
                <a:gd name="connsiteX56" fmla="*/ 290861 w 606580"/>
                <a:gd name="connsiteY56" fmla="*/ 283682 h 569322"/>
                <a:gd name="connsiteX57" fmla="*/ 241193 w 606580"/>
                <a:gd name="connsiteY57" fmla="*/ 260876 h 569322"/>
                <a:gd name="connsiteX58" fmla="*/ 216777 w 606580"/>
                <a:gd name="connsiteY58" fmla="*/ 207106 h 569322"/>
                <a:gd name="connsiteX59" fmla="*/ 262917 w 606580"/>
                <a:gd name="connsiteY59" fmla="*/ 202100 h 569322"/>
                <a:gd name="connsiteX60" fmla="*/ 273593 w 606580"/>
                <a:gd name="connsiteY60" fmla="*/ 226482 h 569322"/>
                <a:gd name="connsiteX61" fmla="*/ 290861 w 606580"/>
                <a:gd name="connsiteY61" fmla="*/ 241315 h 569322"/>
                <a:gd name="connsiteX62" fmla="*/ 290861 w 606580"/>
                <a:gd name="connsiteY62" fmla="*/ 167335 h 569322"/>
                <a:gd name="connsiteX63" fmla="*/ 240079 w 606580"/>
                <a:gd name="connsiteY63" fmla="*/ 137484 h 569322"/>
                <a:gd name="connsiteX64" fmla="*/ 223833 w 606580"/>
                <a:gd name="connsiteY64" fmla="*/ 88813 h 569322"/>
                <a:gd name="connsiteX65" fmla="*/ 242214 w 606580"/>
                <a:gd name="connsiteY65" fmla="*/ 40142 h 569322"/>
                <a:gd name="connsiteX66" fmla="*/ 290861 w 606580"/>
                <a:gd name="connsiteY66" fmla="*/ 17522 h 569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606580" h="569322">
                  <a:moveTo>
                    <a:pt x="171677" y="318744"/>
                  </a:moveTo>
                  <a:cubicBezTo>
                    <a:pt x="203060" y="318744"/>
                    <a:pt x="228500" y="344145"/>
                    <a:pt x="228500" y="375386"/>
                  </a:cubicBezTo>
                  <a:cubicBezTo>
                    <a:pt x="228500" y="379650"/>
                    <a:pt x="227943" y="383729"/>
                    <a:pt x="227108" y="387623"/>
                  </a:cubicBezTo>
                  <a:lnTo>
                    <a:pt x="356167" y="468739"/>
                  </a:lnTo>
                  <a:cubicBezTo>
                    <a:pt x="365916" y="460859"/>
                    <a:pt x="378172" y="455945"/>
                    <a:pt x="391728" y="455945"/>
                  </a:cubicBezTo>
                  <a:cubicBezTo>
                    <a:pt x="401849" y="455945"/>
                    <a:pt x="411227" y="458819"/>
                    <a:pt x="419490" y="463454"/>
                  </a:cubicBezTo>
                  <a:lnTo>
                    <a:pt x="497019" y="395874"/>
                  </a:lnTo>
                  <a:cubicBezTo>
                    <a:pt x="494512" y="389570"/>
                    <a:pt x="493026" y="382617"/>
                    <a:pt x="493026" y="375386"/>
                  </a:cubicBezTo>
                  <a:cubicBezTo>
                    <a:pt x="493026" y="344052"/>
                    <a:pt x="518467" y="318744"/>
                    <a:pt x="549849" y="318744"/>
                  </a:cubicBezTo>
                  <a:cubicBezTo>
                    <a:pt x="581232" y="318744"/>
                    <a:pt x="606580" y="344052"/>
                    <a:pt x="606580" y="375386"/>
                  </a:cubicBezTo>
                  <a:cubicBezTo>
                    <a:pt x="606580" y="406720"/>
                    <a:pt x="581232" y="432121"/>
                    <a:pt x="549849" y="432121"/>
                  </a:cubicBezTo>
                  <a:cubicBezTo>
                    <a:pt x="539636" y="432121"/>
                    <a:pt x="530166" y="429154"/>
                    <a:pt x="521809" y="424519"/>
                  </a:cubicBezTo>
                  <a:lnTo>
                    <a:pt x="444466" y="491915"/>
                  </a:lnTo>
                  <a:cubicBezTo>
                    <a:pt x="446973" y="498311"/>
                    <a:pt x="448459" y="505264"/>
                    <a:pt x="448459" y="512587"/>
                  </a:cubicBezTo>
                  <a:cubicBezTo>
                    <a:pt x="448459" y="543921"/>
                    <a:pt x="423111" y="569322"/>
                    <a:pt x="391728" y="569322"/>
                  </a:cubicBezTo>
                  <a:cubicBezTo>
                    <a:pt x="360345" y="569322"/>
                    <a:pt x="334905" y="543921"/>
                    <a:pt x="334905" y="512587"/>
                  </a:cubicBezTo>
                  <a:cubicBezTo>
                    <a:pt x="334905" y="508601"/>
                    <a:pt x="335369" y="504708"/>
                    <a:pt x="336112" y="500907"/>
                  </a:cubicBezTo>
                  <a:lnTo>
                    <a:pt x="206867" y="419606"/>
                  </a:lnTo>
                  <a:cubicBezTo>
                    <a:pt x="197118" y="427300"/>
                    <a:pt x="185047" y="432121"/>
                    <a:pt x="171677" y="432121"/>
                  </a:cubicBezTo>
                  <a:cubicBezTo>
                    <a:pt x="164992" y="432121"/>
                    <a:pt x="158678" y="430730"/>
                    <a:pt x="152736" y="428598"/>
                  </a:cubicBezTo>
                  <a:lnTo>
                    <a:pt x="105847" y="484498"/>
                  </a:lnTo>
                  <a:cubicBezTo>
                    <a:pt x="110676" y="492842"/>
                    <a:pt x="113554" y="502390"/>
                    <a:pt x="113554" y="512587"/>
                  </a:cubicBezTo>
                  <a:cubicBezTo>
                    <a:pt x="113554" y="543921"/>
                    <a:pt x="88206" y="569322"/>
                    <a:pt x="56823" y="569322"/>
                  </a:cubicBezTo>
                  <a:cubicBezTo>
                    <a:pt x="25441" y="569322"/>
                    <a:pt x="0" y="543921"/>
                    <a:pt x="0" y="512587"/>
                  </a:cubicBezTo>
                  <a:cubicBezTo>
                    <a:pt x="0" y="481346"/>
                    <a:pt x="25441" y="455945"/>
                    <a:pt x="56823" y="455945"/>
                  </a:cubicBezTo>
                  <a:cubicBezTo>
                    <a:pt x="63973" y="455945"/>
                    <a:pt x="70843" y="457429"/>
                    <a:pt x="77157" y="459839"/>
                  </a:cubicBezTo>
                  <a:lnTo>
                    <a:pt x="123303" y="404773"/>
                  </a:lnTo>
                  <a:cubicBezTo>
                    <a:pt x="118103" y="396152"/>
                    <a:pt x="114854" y="386232"/>
                    <a:pt x="114854" y="375386"/>
                  </a:cubicBezTo>
                  <a:cubicBezTo>
                    <a:pt x="114854" y="344145"/>
                    <a:pt x="140294" y="318744"/>
                    <a:pt x="171677" y="318744"/>
                  </a:cubicBezTo>
                  <a:close/>
                  <a:moveTo>
                    <a:pt x="316484" y="174937"/>
                  </a:moveTo>
                  <a:lnTo>
                    <a:pt x="316577" y="174991"/>
                  </a:lnTo>
                  <a:lnTo>
                    <a:pt x="316577" y="243818"/>
                  </a:lnTo>
                  <a:cubicBezTo>
                    <a:pt x="325397" y="242149"/>
                    <a:pt x="332545" y="238070"/>
                    <a:pt x="338115" y="231488"/>
                  </a:cubicBezTo>
                  <a:cubicBezTo>
                    <a:pt x="343593" y="224999"/>
                    <a:pt x="346378" y="217304"/>
                    <a:pt x="346378" y="208497"/>
                  </a:cubicBezTo>
                  <a:cubicBezTo>
                    <a:pt x="346378" y="200617"/>
                    <a:pt x="344057" y="193757"/>
                    <a:pt x="339415" y="188102"/>
                  </a:cubicBezTo>
                  <a:lnTo>
                    <a:pt x="316577" y="174991"/>
                  </a:lnTo>
                  <a:lnTo>
                    <a:pt x="316577" y="174937"/>
                  </a:lnTo>
                  <a:close/>
                  <a:moveTo>
                    <a:pt x="290954" y="55995"/>
                  </a:moveTo>
                  <a:cubicBezTo>
                    <a:pt x="283991" y="58312"/>
                    <a:pt x="278421" y="62299"/>
                    <a:pt x="274243" y="67954"/>
                  </a:cubicBezTo>
                  <a:cubicBezTo>
                    <a:pt x="270158" y="73609"/>
                    <a:pt x="268116" y="79913"/>
                    <a:pt x="268116" y="86681"/>
                  </a:cubicBezTo>
                  <a:cubicBezTo>
                    <a:pt x="268116" y="92892"/>
                    <a:pt x="269973" y="98732"/>
                    <a:pt x="273779" y="104109"/>
                  </a:cubicBezTo>
                  <a:cubicBezTo>
                    <a:pt x="277493" y="109394"/>
                    <a:pt x="283249" y="113751"/>
                    <a:pt x="290954" y="117088"/>
                  </a:cubicBezTo>
                  <a:close/>
                  <a:moveTo>
                    <a:pt x="290861" y="0"/>
                  </a:moveTo>
                  <a:lnTo>
                    <a:pt x="316484" y="0"/>
                  </a:lnTo>
                  <a:lnTo>
                    <a:pt x="316484" y="17522"/>
                  </a:lnTo>
                  <a:cubicBezTo>
                    <a:pt x="335237" y="19747"/>
                    <a:pt x="350184" y="26143"/>
                    <a:pt x="361232" y="36619"/>
                  </a:cubicBezTo>
                  <a:cubicBezTo>
                    <a:pt x="372280" y="47188"/>
                    <a:pt x="379428" y="61279"/>
                    <a:pt x="382492" y="78893"/>
                  </a:cubicBezTo>
                  <a:lnTo>
                    <a:pt x="337744" y="84734"/>
                  </a:lnTo>
                  <a:cubicBezTo>
                    <a:pt x="335052" y="70828"/>
                    <a:pt x="327903" y="61464"/>
                    <a:pt x="316484" y="56458"/>
                  </a:cubicBezTo>
                  <a:lnTo>
                    <a:pt x="316484" y="125525"/>
                  </a:lnTo>
                  <a:cubicBezTo>
                    <a:pt x="344800" y="133219"/>
                    <a:pt x="364110" y="143139"/>
                    <a:pt x="374322" y="155283"/>
                  </a:cubicBezTo>
                  <a:cubicBezTo>
                    <a:pt x="384534" y="167428"/>
                    <a:pt x="389733" y="183095"/>
                    <a:pt x="389733" y="202193"/>
                  </a:cubicBezTo>
                  <a:cubicBezTo>
                    <a:pt x="389733" y="223423"/>
                    <a:pt x="383234" y="241408"/>
                    <a:pt x="370330" y="255963"/>
                  </a:cubicBezTo>
                  <a:cubicBezTo>
                    <a:pt x="357426" y="270610"/>
                    <a:pt x="339508" y="279510"/>
                    <a:pt x="316484" y="282755"/>
                  </a:cubicBezTo>
                  <a:lnTo>
                    <a:pt x="316484" y="315851"/>
                  </a:lnTo>
                  <a:lnTo>
                    <a:pt x="290861" y="315851"/>
                  </a:lnTo>
                  <a:lnTo>
                    <a:pt x="290861" y="283682"/>
                  </a:lnTo>
                  <a:cubicBezTo>
                    <a:pt x="270530" y="281179"/>
                    <a:pt x="253912" y="273577"/>
                    <a:pt x="241193" y="260876"/>
                  </a:cubicBezTo>
                  <a:cubicBezTo>
                    <a:pt x="228475" y="248175"/>
                    <a:pt x="220398" y="230283"/>
                    <a:pt x="216777" y="207106"/>
                  </a:cubicBezTo>
                  <a:lnTo>
                    <a:pt x="262917" y="202100"/>
                  </a:lnTo>
                  <a:cubicBezTo>
                    <a:pt x="264867" y="211556"/>
                    <a:pt x="268395" y="219714"/>
                    <a:pt x="273593" y="226482"/>
                  </a:cubicBezTo>
                  <a:cubicBezTo>
                    <a:pt x="278792" y="233342"/>
                    <a:pt x="284548" y="238256"/>
                    <a:pt x="290861" y="241315"/>
                  </a:cubicBezTo>
                  <a:lnTo>
                    <a:pt x="290861" y="167335"/>
                  </a:lnTo>
                  <a:cubicBezTo>
                    <a:pt x="267745" y="160753"/>
                    <a:pt x="250848" y="150834"/>
                    <a:pt x="240079" y="137484"/>
                  </a:cubicBezTo>
                  <a:cubicBezTo>
                    <a:pt x="229310" y="124041"/>
                    <a:pt x="223833" y="107910"/>
                    <a:pt x="223833" y="88813"/>
                  </a:cubicBezTo>
                  <a:cubicBezTo>
                    <a:pt x="223833" y="69530"/>
                    <a:pt x="229960" y="53306"/>
                    <a:pt x="242214" y="40142"/>
                  </a:cubicBezTo>
                  <a:cubicBezTo>
                    <a:pt x="254376" y="27070"/>
                    <a:pt x="270623" y="19468"/>
                    <a:pt x="290861" y="17522"/>
                  </a:cubicBezTo>
                  <a:close/>
                </a:path>
              </a:pathLst>
            </a:custGeom>
            <a:solidFill>
              <a:schemeClr val="bg1"/>
            </a:solidFill>
            <a:ln>
              <a:noFill/>
            </a:ln>
          </p:spPr>
          <p:txBody>
            <a:bodyPr wrap="square" lIns="91440" tIns="45720" rIns="91440" bIns="45720" anchor="ctr">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13" name="íṡḻïḍè">
              <a:extLst>
                <a:ext uri="{FF2B5EF4-FFF2-40B4-BE49-F238E27FC236}">
                  <a16:creationId xmlns:a16="http://schemas.microsoft.com/office/drawing/2014/main" id="{364268DF-69C2-45F2-8DE0-E4FA12AC2265}"/>
                </a:ext>
              </a:extLst>
            </p:cNvPr>
            <p:cNvSpPr/>
            <p:nvPr/>
          </p:nvSpPr>
          <p:spPr>
            <a:xfrm>
              <a:off x="4120306" y="5011589"/>
              <a:ext cx="498143" cy="498143"/>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Autofit/>
            </a:bodyPr>
            <a:lstStyle/>
            <a:p>
              <a:pPr algn="ctr"/>
              <a:endParaRPr/>
            </a:p>
          </p:txBody>
        </p:sp>
        <p:sp>
          <p:nvSpPr>
            <p:cNvPr id="14" name="ïşḻíḑê">
              <a:extLst>
                <a:ext uri="{FF2B5EF4-FFF2-40B4-BE49-F238E27FC236}">
                  <a16:creationId xmlns:a16="http://schemas.microsoft.com/office/drawing/2014/main" id="{297A9562-5E78-44D6-B095-57434BEA9BF1}"/>
                </a:ext>
              </a:extLst>
            </p:cNvPr>
            <p:cNvSpPr/>
            <p:nvPr/>
          </p:nvSpPr>
          <p:spPr>
            <a:xfrm>
              <a:off x="3821529" y="2993131"/>
              <a:ext cx="498143" cy="498143"/>
            </a:xfrm>
            <a:prstGeom prst="ellipse">
              <a:avLst/>
            </a:prstGeom>
            <a:solidFill>
              <a:schemeClr val="accent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Autofit/>
            </a:bodyPr>
            <a:lstStyle/>
            <a:p>
              <a:pPr algn="ctr"/>
              <a:endParaRPr/>
            </a:p>
          </p:txBody>
        </p:sp>
        <p:sp>
          <p:nvSpPr>
            <p:cNvPr id="15" name="ï$líḋè">
              <a:extLst>
                <a:ext uri="{FF2B5EF4-FFF2-40B4-BE49-F238E27FC236}">
                  <a16:creationId xmlns:a16="http://schemas.microsoft.com/office/drawing/2014/main" id="{2A2A6A43-4689-4374-874A-2E43908A79A5}"/>
                </a:ext>
              </a:extLst>
            </p:cNvPr>
            <p:cNvSpPr/>
            <p:nvPr/>
          </p:nvSpPr>
          <p:spPr bwMode="auto">
            <a:xfrm>
              <a:off x="4223221" y="5123481"/>
              <a:ext cx="292314" cy="274359"/>
            </a:xfrm>
            <a:custGeom>
              <a:avLst/>
              <a:gdLst>
                <a:gd name="connsiteX0" fmla="*/ 171677 w 606580"/>
                <a:gd name="connsiteY0" fmla="*/ 318744 h 569322"/>
                <a:gd name="connsiteX1" fmla="*/ 228500 w 606580"/>
                <a:gd name="connsiteY1" fmla="*/ 375386 h 569322"/>
                <a:gd name="connsiteX2" fmla="*/ 227108 w 606580"/>
                <a:gd name="connsiteY2" fmla="*/ 387623 h 569322"/>
                <a:gd name="connsiteX3" fmla="*/ 356167 w 606580"/>
                <a:gd name="connsiteY3" fmla="*/ 468739 h 569322"/>
                <a:gd name="connsiteX4" fmla="*/ 391728 w 606580"/>
                <a:gd name="connsiteY4" fmla="*/ 455945 h 569322"/>
                <a:gd name="connsiteX5" fmla="*/ 419490 w 606580"/>
                <a:gd name="connsiteY5" fmla="*/ 463454 h 569322"/>
                <a:gd name="connsiteX6" fmla="*/ 497019 w 606580"/>
                <a:gd name="connsiteY6" fmla="*/ 395874 h 569322"/>
                <a:gd name="connsiteX7" fmla="*/ 493026 w 606580"/>
                <a:gd name="connsiteY7" fmla="*/ 375386 h 569322"/>
                <a:gd name="connsiteX8" fmla="*/ 549849 w 606580"/>
                <a:gd name="connsiteY8" fmla="*/ 318744 h 569322"/>
                <a:gd name="connsiteX9" fmla="*/ 606580 w 606580"/>
                <a:gd name="connsiteY9" fmla="*/ 375386 h 569322"/>
                <a:gd name="connsiteX10" fmla="*/ 549849 w 606580"/>
                <a:gd name="connsiteY10" fmla="*/ 432121 h 569322"/>
                <a:gd name="connsiteX11" fmla="*/ 521809 w 606580"/>
                <a:gd name="connsiteY11" fmla="*/ 424519 h 569322"/>
                <a:gd name="connsiteX12" fmla="*/ 444466 w 606580"/>
                <a:gd name="connsiteY12" fmla="*/ 491915 h 569322"/>
                <a:gd name="connsiteX13" fmla="*/ 448459 w 606580"/>
                <a:gd name="connsiteY13" fmla="*/ 512587 h 569322"/>
                <a:gd name="connsiteX14" fmla="*/ 391728 w 606580"/>
                <a:gd name="connsiteY14" fmla="*/ 569322 h 569322"/>
                <a:gd name="connsiteX15" fmla="*/ 334905 w 606580"/>
                <a:gd name="connsiteY15" fmla="*/ 512587 h 569322"/>
                <a:gd name="connsiteX16" fmla="*/ 336112 w 606580"/>
                <a:gd name="connsiteY16" fmla="*/ 500907 h 569322"/>
                <a:gd name="connsiteX17" fmla="*/ 206867 w 606580"/>
                <a:gd name="connsiteY17" fmla="*/ 419606 h 569322"/>
                <a:gd name="connsiteX18" fmla="*/ 171677 w 606580"/>
                <a:gd name="connsiteY18" fmla="*/ 432121 h 569322"/>
                <a:gd name="connsiteX19" fmla="*/ 152736 w 606580"/>
                <a:gd name="connsiteY19" fmla="*/ 428598 h 569322"/>
                <a:gd name="connsiteX20" fmla="*/ 105847 w 606580"/>
                <a:gd name="connsiteY20" fmla="*/ 484498 h 569322"/>
                <a:gd name="connsiteX21" fmla="*/ 113554 w 606580"/>
                <a:gd name="connsiteY21" fmla="*/ 512587 h 569322"/>
                <a:gd name="connsiteX22" fmla="*/ 56823 w 606580"/>
                <a:gd name="connsiteY22" fmla="*/ 569322 h 569322"/>
                <a:gd name="connsiteX23" fmla="*/ 0 w 606580"/>
                <a:gd name="connsiteY23" fmla="*/ 512587 h 569322"/>
                <a:gd name="connsiteX24" fmla="*/ 56823 w 606580"/>
                <a:gd name="connsiteY24" fmla="*/ 455945 h 569322"/>
                <a:gd name="connsiteX25" fmla="*/ 77157 w 606580"/>
                <a:gd name="connsiteY25" fmla="*/ 459839 h 569322"/>
                <a:gd name="connsiteX26" fmla="*/ 123303 w 606580"/>
                <a:gd name="connsiteY26" fmla="*/ 404773 h 569322"/>
                <a:gd name="connsiteX27" fmla="*/ 114854 w 606580"/>
                <a:gd name="connsiteY27" fmla="*/ 375386 h 569322"/>
                <a:gd name="connsiteX28" fmla="*/ 171677 w 606580"/>
                <a:gd name="connsiteY28" fmla="*/ 318744 h 569322"/>
                <a:gd name="connsiteX29" fmla="*/ 316484 w 606580"/>
                <a:gd name="connsiteY29" fmla="*/ 174937 h 569322"/>
                <a:gd name="connsiteX30" fmla="*/ 316577 w 606580"/>
                <a:gd name="connsiteY30" fmla="*/ 174991 h 569322"/>
                <a:gd name="connsiteX31" fmla="*/ 316577 w 606580"/>
                <a:gd name="connsiteY31" fmla="*/ 243818 h 569322"/>
                <a:gd name="connsiteX32" fmla="*/ 338115 w 606580"/>
                <a:gd name="connsiteY32" fmla="*/ 231488 h 569322"/>
                <a:gd name="connsiteX33" fmla="*/ 346378 w 606580"/>
                <a:gd name="connsiteY33" fmla="*/ 208497 h 569322"/>
                <a:gd name="connsiteX34" fmla="*/ 339415 w 606580"/>
                <a:gd name="connsiteY34" fmla="*/ 188102 h 569322"/>
                <a:gd name="connsiteX35" fmla="*/ 316577 w 606580"/>
                <a:gd name="connsiteY35" fmla="*/ 174991 h 569322"/>
                <a:gd name="connsiteX36" fmla="*/ 316577 w 606580"/>
                <a:gd name="connsiteY36" fmla="*/ 174937 h 569322"/>
                <a:gd name="connsiteX37" fmla="*/ 290954 w 606580"/>
                <a:gd name="connsiteY37" fmla="*/ 55995 h 569322"/>
                <a:gd name="connsiteX38" fmla="*/ 274243 w 606580"/>
                <a:gd name="connsiteY38" fmla="*/ 67954 h 569322"/>
                <a:gd name="connsiteX39" fmla="*/ 268116 w 606580"/>
                <a:gd name="connsiteY39" fmla="*/ 86681 h 569322"/>
                <a:gd name="connsiteX40" fmla="*/ 273779 w 606580"/>
                <a:gd name="connsiteY40" fmla="*/ 104109 h 569322"/>
                <a:gd name="connsiteX41" fmla="*/ 290954 w 606580"/>
                <a:gd name="connsiteY41" fmla="*/ 117088 h 569322"/>
                <a:gd name="connsiteX42" fmla="*/ 290861 w 606580"/>
                <a:gd name="connsiteY42" fmla="*/ 0 h 569322"/>
                <a:gd name="connsiteX43" fmla="*/ 316484 w 606580"/>
                <a:gd name="connsiteY43" fmla="*/ 0 h 569322"/>
                <a:gd name="connsiteX44" fmla="*/ 316484 w 606580"/>
                <a:gd name="connsiteY44" fmla="*/ 17522 h 569322"/>
                <a:gd name="connsiteX45" fmla="*/ 361232 w 606580"/>
                <a:gd name="connsiteY45" fmla="*/ 36619 h 569322"/>
                <a:gd name="connsiteX46" fmla="*/ 382492 w 606580"/>
                <a:gd name="connsiteY46" fmla="*/ 78893 h 569322"/>
                <a:gd name="connsiteX47" fmla="*/ 337744 w 606580"/>
                <a:gd name="connsiteY47" fmla="*/ 84734 h 569322"/>
                <a:gd name="connsiteX48" fmla="*/ 316484 w 606580"/>
                <a:gd name="connsiteY48" fmla="*/ 56458 h 569322"/>
                <a:gd name="connsiteX49" fmla="*/ 316484 w 606580"/>
                <a:gd name="connsiteY49" fmla="*/ 125525 h 569322"/>
                <a:gd name="connsiteX50" fmla="*/ 374322 w 606580"/>
                <a:gd name="connsiteY50" fmla="*/ 155283 h 569322"/>
                <a:gd name="connsiteX51" fmla="*/ 389733 w 606580"/>
                <a:gd name="connsiteY51" fmla="*/ 202193 h 569322"/>
                <a:gd name="connsiteX52" fmla="*/ 370330 w 606580"/>
                <a:gd name="connsiteY52" fmla="*/ 255963 h 569322"/>
                <a:gd name="connsiteX53" fmla="*/ 316484 w 606580"/>
                <a:gd name="connsiteY53" fmla="*/ 282755 h 569322"/>
                <a:gd name="connsiteX54" fmla="*/ 316484 w 606580"/>
                <a:gd name="connsiteY54" fmla="*/ 315851 h 569322"/>
                <a:gd name="connsiteX55" fmla="*/ 290861 w 606580"/>
                <a:gd name="connsiteY55" fmla="*/ 315851 h 569322"/>
                <a:gd name="connsiteX56" fmla="*/ 290861 w 606580"/>
                <a:gd name="connsiteY56" fmla="*/ 283682 h 569322"/>
                <a:gd name="connsiteX57" fmla="*/ 241193 w 606580"/>
                <a:gd name="connsiteY57" fmla="*/ 260876 h 569322"/>
                <a:gd name="connsiteX58" fmla="*/ 216777 w 606580"/>
                <a:gd name="connsiteY58" fmla="*/ 207106 h 569322"/>
                <a:gd name="connsiteX59" fmla="*/ 262917 w 606580"/>
                <a:gd name="connsiteY59" fmla="*/ 202100 h 569322"/>
                <a:gd name="connsiteX60" fmla="*/ 273593 w 606580"/>
                <a:gd name="connsiteY60" fmla="*/ 226482 h 569322"/>
                <a:gd name="connsiteX61" fmla="*/ 290861 w 606580"/>
                <a:gd name="connsiteY61" fmla="*/ 241315 h 569322"/>
                <a:gd name="connsiteX62" fmla="*/ 290861 w 606580"/>
                <a:gd name="connsiteY62" fmla="*/ 167335 h 569322"/>
                <a:gd name="connsiteX63" fmla="*/ 240079 w 606580"/>
                <a:gd name="connsiteY63" fmla="*/ 137484 h 569322"/>
                <a:gd name="connsiteX64" fmla="*/ 223833 w 606580"/>
                <a:gd name="connsiteY64" fmla="*/ 88813 h 569322"/>
                <a:gd name="connsiteX65" fmla="*/ 242214 w 606580"/>
                <a:gd name="connsiteY65" fmla="*/ 40142 h 569322"/>
                <a:gd name="connsiteX66" fmla="*/ 290861 w 606580"/>
                <a:gd name="connsiteY66" fmla="*/ 17522 h 569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606580" h="569322">
                  <a:moveTo>
                    <a:pt x="171677" y="318744"/>
                  </a:moveTo>
                  <a:cubicBezTo>
                    <a:pt x="203060" y="318744"/>
                    <a:pt x="228500" y="344145"/>
                    <a:pt x="228500" y="375386"/>
                  </a:cubicBezTo>
                  <a:cubicBezTo>
                    <a:pt x="228500" y="379650"/>
                    <a:pt x="227943" y="383729"/>
                    <a:pt x="227108" y="387623"/>
                  </a:cubicBezTo>
                  <a:lnTo>
                    <a:pt x="356167" y="468739"/>
                  </a:lnTo>
                  <a:cubicBezTo>
                    <a:pt x="365916" y="460859"/>
                    <a:pt x="378172" y="455945"/>
                    <a:pt x="391728" y="455945"/>
                  </a:cubicBezTo>
                  <a:cubicBezTo>
                    <a:pt x="401849" y="455945"/>
                    <a:pt x="411227" y="458819"/>
                    <a:pt x="419490" y="463454"/>
                  </a:cubicBezTo>
                  <a:lnTo>
                    <a:pt x="497019" y="395874"/>
                  </a:lnTo>
                  <a:cubicBezTo>
                    <a:pt x="494512" y="389570"/>
                    <a:pt x="493026" y="382617"/>
                    <a:pt x="493026" y="375386"/>
                  </a:cubicBezTo>
                  <a:cubicBezTo>
                    <a:pt x="493026" y="344052"/>
                    <a:pt x="518467" y="318744"/>
                    <a:pt x="549849" y="318744"/>
                  </a:cubicBezTo>
                  <a:cubicBezTo>
                    <a:pt x="581232" y="318744"/>
                    <a:pt x="606580" y="344052"/>
                    <a:pt x="606580" y="375386"/>
                  </a:cubicBezTo>
                  <a:cubicBezTo>
                    <a:pt x="606580" y="406720"/>
                    <a:pt x="581232" y="432121"/>
                    <a:pt x="549849" y="432121"/>
                  </a:cubicBezTo>
                  <a:cubicBezTo>
                    <a:pt x="539636" y="432121"/>
                    <a:pt x="530166" y="429154"/>
                    <a:pt x="521809" y="424519"/>
                  </a:cubicBezTo>
                  <a:lnTo>
                    <a:pt x="444466" y="491915"/>
                  </a:lnTo>
                  <a:cubicBezTo>
                    <a:pt x="446973" y="498311"/>
                    <a:pt x="448459" y="505264"/>
                    <a:pt x="448459" y="512587"/>
                  </a:cubicBezTo>
                  <a:cubicBezTo>
                    <a:pt x="448459" y="543921"/>
                    <a:pt x="423111" y="569322"/>
                    <a:pt x="391728" y="569322"/>
                  </a:cubicBezTo>
                  <a:cubicBezTo>
                    <a:pt x="360345" y="569322"/>
                    <a:pt x="334905" y="543921"/>
                    <a:pt x="334905" y="512587"/>
                  </a:cubicBezTo>
                  <a:cubicBezTo>
                    <a:pt x="334905" y="508601"/>
                    <a:pt x="335369" y="504708"/>
                    <a:pt x="336112" y="500907"/>
                  </a:cubicBezTo>
                  <a:lnTo>
                    <a:pt x="206867" y="419606"/>
                  </a:lnTo>
                  <a:cubicBezTo>
                    <a:pt x="197118" y="427300"/>
                    <a:pt x="185047" y="432121"/>
                    <a:pt x="171677" y="432121"/>
                  </a:cubicBezTo>
                  <a:cubicBezTo>
                    <a:pt x="164992" y="432121"/>
                    <a:pt x="158678" y="430730"/>
                    <a:pt x="152736" y="428598"/>
                  </a:cubicBezTo>
                  <a:lnTo>
                    <a:pt x="105847" y="484498"/>
                  </a:lnTo>
                  <a:cubicBezTo>
                    <a:pt x="110676" y="492842"/>
                    <a:pt x="113554" y="502390"/>
                    <a:pt x="113554" y="512587"/>
                  </a:cubicBezTo>
                  <a:cubicBezTo>
                    <a:pt x="113554" y="543921"/>
                    <a:pt x="88206" y="569322"/>
                    <a:pt x="56823" y="569322"/>
                  </a:cubicBezTo>
                  <a:cubicBezTo>
                    <a:pt x="25441" y="569322"/>
                    <a:pt x="0" y="543921"/>
                    <a:pt x="0" y="512587"/>
                  </a:cubicBezTo>
                  <a:cubicBezTo>
                    <a:pt x="0" y="481346"/>
                    <a:pt x="25441" y="455945"/>
                    <a:pt x="56823" y="455945"/>
                  </a:cubicBezTo>
                  <a:cubicBezTo>
                    <a:pt x="63973" y="455945"/>
                    <a:pt x="70843" y="457429"/>
                    <a:pt x="77157" y="459839"/>
                  </a:cubicBezTo>
                  <a:lnTo>
                    <a:pt x="123303" y="404773"/>
                  </a:lnTo>
                  <a:cubicBezTo>
                    <a:pt x="118103" y="396152"/>
                    <a:pt x="114854" y="386232"/>
                    <a:pt x="114854" y="375386"/>
                  </a:cubicBezTo>
                  <a:cubicBezTo>
                    <a:pt x="114854" y="344145"/>
                    <a:pt x="140294" y="318744"/>
                    <a:pt x="171677" y="318744"/>
                  </a:cubicBezTo>
                  <a:close/>
                  <a:moveTo>
                    <a:pt x="316484" y="174937"/>
                  </a:moveTo>
                  <a:lnTo>
                    <a:pt x="316577" y="174991"/>
                  </a:lnTo>
                  <a:lnTo>
                    <a:pt x="316577" y="243818"/>
                  </a:lnTo>
                  <a:cubicBezTo>
                    <a:pt x="325397" y="242149"/>
                    <a:pt x="332545" y="238070"/>
                    <a:pt x="338115" y="231488"/>
                  </a:cubicBezTo>
                  <a:cubicBezTo>
                    <a:pt x="343593" y="224999"/>
                    <a:pt x="346378" y="217304"/>
                    <a:pt x="346378" y="208497"/>
                  </a:cubicBezTo>
                  <a:cubicBezTo>
                    <a:pt x="346378" y="200617"/>
                    <a:pt x="344057" y="193757"/>
                    <a:pt x="339415" y="188102"/>
                  </a:cubicBezTo>
                  <a:lnTo>
                    <a:pt x="316577" y="174991"/>
                  </a:lnTo>
                  <a:lnTo>
                    <a:pt x="316577" y="174937"/>
                  </a:lnTo>
                  <a:close/>
                  <a:moveTo>
                    <a:pt x="290954" y="55995"/>
                  </a:moveTo>
                  <a:cubicBezTo>
                    <a:pt x="283991" y="58312"/>
                    <a:pt x="278421" y="62299"/>
                    <a:pt x="274243" y="67954"/>
                  </a:cubicBezTo>
                  <a:cubicBezTo>
                    <a:pt x="270158" y="73609"/>
                    <a:pt x="268116" y="79913"/>
                    <a:pt x="268116" y="86681"/>
                  </a:cubicBezTo>
                  <a:cubicBezTo>
                    <a:pt x="268116" y="92892"/>
                    <a:pt x="269973" y="98732"/>
                    <a:pt x="273779" y="104109"/>
                  </a:cubicBezTo>
                  <a:cubicBezTo>
                    <a:pt x="277493" y="109394"/>
                    <a:pt x="283249" y="113751"/>
                    <a:pt x="290954" y="117088"/>
                  </a:cubicBezTo>
                  <a:close/>
                  <a:moveTo>
                    <a:pt x="290861" y="0"/>
                  </a:moveTo>
                  <a:lnTo>
                    <a:pt x="316484" y="0"/>
                  </a:lnTo>
                  <a:lnTo>
                    <a:pt x="316484" y="17522"/>
                  </a:lnTo>
                  <a:cubicBezTo>
                    <a:pt x="335237" y="19747"/>
                    <a:pt x="350184" y="26143"/>
                    <a:pt x="361232" y="36619"/>
                  </a:cubicBezTo>
                  <a:cubicBezTo>
                    <a:pt x="372280" y="47188"/>
                    <a:pt x="379428" y="61279"/>
                    <a:pt x="382492" y="78893"/>
                  </a:cubicBezTo>
                  <a:lnTo>
                    <a:pt x="337744" y="84734"/>
                  </a:lnTo>
                  <a:cubicBezTo>
                    <a:pt x="335052" y="70828"/>
                    <a:pt x="327903" y="61464"/>
                    <a:pt x="316484" y="56458"/>
                  </a:cubicBezTo>
                  <a:lnTo>
                    <a:pt x="316484" y="125525"/>
                  </a:lnTo>
                  <a:cubicBezTo>
                    <a:pt x="344800" y="133219"/>
                    <a:pt x="364110" y="143139"/>
                    <a:pt x="374322" y="155283"/>
                  </a:cubicBezTo>
                  <a:cubicBezTo>
                    <a:pt x="384534" y="167428"/>
                    <a:pt x="389733" y="183095"/>
                    <a:pt x="389733" y="202193"/>
                  </a:cubicBezTo>
                  <a:cubicBezTo>
                    <a:pt x="389733" y="223423"/>
                    <a:pt x="383234" y="241408"/>
                    <a:pt x="370330" y="255963"/>
                  </a:cubicBezTo>
                  <a:cubicBezTo>
                    <a:pt x="357426" y="270610"/>
                    <a:pt x="339508" y="279510"/>
                    <a:pt x="316484" y="282755"/>
                  </a:cubicBezTo>
                  <a:lnTo>
                    <a:pt x="316484" y="315851"/>
                  </a:lnTo>
                  <a:lnTo>
                    <a:pt x="290861" y="315851"/>
                  </a:lnTo>
                  <a:lnTo>
                    <a:pt x="290861" y="283682"/>
                  </a:lnTo>
                  <a:cubicBezTo>
                    <a:pt x="270530" y="281179"/>
                    <a:pt x="253912" y="273577"/>
                    <a:pt x="241193" y="260876"/>
                  </a:cubicBezTo>
                  <a:cubicBezTo>
                    <a:pt x="228475" y="248175"/>
                    <a:pt x="220398" y="230283"/>
                    <a:pt x="216777" y="207106"/>
                  </a:cubicBezTo>
                  <a:lnTo>
                    <a:pt x="262917" y="202100"/>
                  </a:lnTo>
                  <a:cubicBezTo>
                    <a:pt x="264867" y="211556"/>
                    <a:pt x="268395" y="219714"/>
                    <a:pt x="273593" y="226482"/>
                  </a:cubicBezTo>
                  <a:cubicBezTo>
                    <a:pt x="278792" y="233342"/>
                    <a:pt x="284548" y="238256"/>
                    <a:pt x="290861" y="241315"/>
                  </a:cubicBezTo>
                  <a:lnTo>
                    <a:pt x="290861" y="167335"/>
                  </a:lnTo>
                  <a:cubicBezTo>
                    <a:pt x="267745" y="160753"/>
                    <a:pt x="250848" y="150834"/>
                    <a:pt x="240079" y="137484"/>
                  </a:cubicBezTo>
                  <a:cubicBezTo>
                    <a:pt x="229310" y="124041"/>
                    <a:pt x="223833" y="107910"/>
                    <a:pt x="223833" y="88813"/>
                  </a:cubicBezTo>
                  <a:cubicBezTo>
                    <a:pt x="223833" y="69530"/>
                    <a:pt x="229960" y="53306"/>
                    <a:pt x="242214" y="40142"/>
                  </a:cubicBezTo>
                  <a:cubicBezTo>
                    <a:pt x="254376" y="27070"/>
                    <a:pt x="270623" y="19468"/>
                    <a:pt x="290861" y="17522"/>
                  </a:cubicBezTo>
                  <a:close/>
                </a:path>
              </a:pathLst>
            </a:custGeom>
            <a:solidFill>
              <a:schemeClr val="bg1"/>
            </a:solidFill>
            <a:ln>
              <a:noFill/>
            </a:ln>
          </p:spPr>
          <p:txBody>
            <a:bodyPr wrap="square" lIns="91440" tIns="45720" rIns="91440" bIns="45720" anchor="ctr">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16" name="îṩľiďê">
              <a:extLst>
                <a:ext uri="{FF2B5EF4-FFF2-40B4-BE49-F238E27FC236}">
                  <a16:creationId xmlns:a16="http://schemas.microsoft.com/office/drawing/2014/main" id="{526AEA5D-FB7D-4A97-B04B-2B55E0EF34F1}"/>
                </a:ext>
              </a:extLst>
            </p:cNvPr>
            <p:cNvSpPr txBox="1"/>
            <p:nvPr/>
          </p:nvSpPr>
          <p:spPr>
            <a:xfrm>
              <a:off x="7692520" y="1418164"/>
              <a:ext cx="472878" cy="452191"/>
            </a:xfrm>
            <a:prstGeom prst="rect">
              <a:avLst/>
            </a:prstGeom>
            <a:noFill/>
          </p:spPr>
          <p:txBody>
            <a:bodyPr wrap="square" lIns="91440" tIns="45720" rIns="91440" bIns="45720" anchor="ctr">
              <a:prstTxWarp prst="textPlain">
                <a:avLst/>
              </a:prstTxWarp>
              <a:noAutofit/>
            </a:bodyPr>
            <a:lstStyle/>
            <a:p>
              <a:r>
                <a:rPr lang="en-US" sz="4800" dirty="0"/>
                <a:t>“</a:t>
              </a:r>
            </a:p>
          </p:txBody>
        </p:sp>
        <p:sp>
          <p:nvSpPr>
            <p:cNvPr id="17" name="îṡļiḑe">
              <a:extLst>
                <a:ext uri="{FF2B5EF4-FFF2-40B4-BE49-F238E27FC236}">
                  <a16:creationId xmlns:a16="http://schemas.microsoft.com/office/drawing/2014/main" id="{05E00AB2-F898-4752-84C9-C840C15AB784}"/>
                </a:ext>
              </a:extLst>
            </p:cNvPr>
            <p:cNvSpPr/>
            <p:nvPr/>
          </p:nvSpPr>
          <p:spPr>
            <a:xfrm>
              <a:off x="7692522" y="1870355"/>
              <a:ext cx="3827966" cy="407934"/>
            </a:xfrm>
            <a:prstGeom prst="rect">
              <a:avLst/>
            </a:prstGeom>
          </p:spPr>
          <p:txBody>
            <a:bodyPr wrap="square" lIns="91440" tIns="45720" rIns="91440" bIns="45720" anchor="ctr">
              <a:noAutofit/>
            </a:bodyPr>
            <a:lstStyle/>
            <a:p>
              <a:pPr>
                <a:lnSpc>
                  <a:spcPct val="120000"/>
                </a:lnSpc>
              </a:pPr>
              <a:r>
                <a:rPr lang="en-US" altLang="zh-CN" sz="2000" b="1"/>
                <a:t>Supp</a:t>
              </a:r>
              <a:r>
                <a:rPr lang="en-US" altLang="zh-CN" sz="100" b="1"/>
                <a:t> </a:t>
              </a:r>
              <a:r>
                <a:rPr lang="en-US" altLang="zh-CN" sz="2000" b="1"/>
                <a:t>orting </a:t>
              </a:r>
              <a:r>
                <a:rPr lang="en-US" altLang="zh-CN" sz="2000" b="1" dirty="0"/>
                <a:t>text here</a:t>
              </a:r>
              <a:endParaRPr lang="zh-CN" altLang="en-US" sz="2000" b="1" dirty="0"/>
            </a:p>
          </p:txBody>
        </p:sp>
        <p:sp>
          <p:nvSpPr>
            <p:cNvPr id="18" name="îš1iḋê">
              <a:extLst>
                <a:ext uri="{FF2B5EF4-FFF2-40B4-BE49-F238E27FC236}">
                  <a16:creationId xmlns:a16="http://schemas.microsoft.com/office/drawing/2014/main" id="{51F7C261-1E82-4BCB-A1DD-593EE6B74C22}"/>
                </a:ext>
              </a:extLst>
            </p:cNvPr>
            <p:cNvSpPr/>
            <p:nvPr/>
          </p:nvSpPr>
          <p:spPr bwMode="auto">
            <a:xfrm>
              <a:off x="3924442" y="3105023"/>
              <a:ext cx="292313" cy="274358"/>
            </a:xfrm>
            <a:custGeom>
              <a:avLst/>
              <a:gdLst>
                <a:gd name="connsiteX0" fmla="*/ 171677 w 606580"/>
                <a:gd name="connsiteY0" fmla="*/ 318744 h 569322"/>
                <a:gd name="connsiteX1" fmla="*/ 228500 w 606580"/>
                <a:gd name="connsiteY1" fmla="*/ 375386 h 569322"/>
                <a:gd name="connsiteX2" fmla="*/ 227108 w 606580"/>
                <a:gd name="connsiteY2" fmla="*/ 387623 h 569322"/>
                <a:gd name="connsiteX3" fmla="*/ 356167 w 606580"/>
                <a:gd name="connsiteY3" fmla="*/ 468739 h 569322"/>
                <a:gd name="connsiteX4" fmla="*/ 391728 w 606580"/>
                <a:gd name="connsiteY4" fmla="*/ 455945 h 569322"/>
                <a:gd name="connsiteX5" fmla="*/ 419490 w 606580"/>
                <a:gd name="connsiteY5" fmla="*/ 463454 h 569322"/>
                <a:gd name="connsiteX6" fmla="*/ 497019 w 606580"/>
                <a:gd name="connsiteY6" fmla="*/ 395874 h 569322"/>
                <a:gd name="connsiteX7" fmla="*/ 493026 w 606580"/>
                <a:gd name="connsiteY7" fmla="*/ 375386 h 569322"/>
                <a:gd name="connsiteX8" fmla="*/ 549849 w 606580"/>
                <a:gd name="connsiteY8" fmla="*/ 318744 h 569322"/>
                <a:gd name="connsiteX9" fmla="*/ 606580 w 606580"/>
                <a:gd name="connsiteY9" fmla="*/ 375386 h 569322"/>
                <a:gd name="connsiteX10" fmla="*/ 549849 w 606580"/>
                <a:gd name="connsiteY10" fmla="*/ 432121 h 569322"/>
                <a:gd name="connsiteX11" fmla="*/ 521809 w 606580"/>
                <a:gd name="connsiteY11" fmla="*/ 424519 h 569322"/>
                <a:gd name="connsiteX12" fmla="*/ 444466 w 606580"/>
                <a:gd name="connsiteY12" fmla="*/ 491915 h 569322"/>
                <a:gd name="connsiteX13" fmla="*/ 448459 w 606580"/>
                <a:gd name="connsiteY13" fmla="*/ 512587 h 569322"/>
                <a:gd name="connsiteX14" fmla="*/ 391728 w 606580"/>
                <a:gd name="connsiteY14" fmla="*/ 569322 h 569322"/>
                <a:gd name="connsiteX15" fmla="*/ 334905 w 606580"/>
                <a:gd name="connsiteY15" fmla="*/ 512587 h 569322"/>
                <a:gd name="connsiteX16" fmla="*/ 336112 w 606580"/>
                <a:gd name="connsiteY16" fmla="*/ 500907 h 569322"/>
                <a:gd name="connsiteX17" fmla="*/ 206867 w 606580"/>
                <a:gd name="connsiteY17" fmla="*/ 419606 h 569322"/>
                <a:gd name="connsiteX18" fmla="*/ 171677 w 606580"/>
                <a:gd name="connsiteY18" fmla="*/ 432121 h 569322"/>
                <a:gd name="connsiteX19" fmla="*/ 152736 w 606580"/>
                <a:gd name="connsiteY19" fmla="*/ 428598 h 569322"/>
                <a:gd name="connsiteX20" fmla="*/ 105847 w 606580"/>
                <a:gd name="connsiteY20" fmla="*/ 484498 h 569322"/>
                <a:gd name="connsiteX21" fmla="*/ 113554 w 606580"/>
                <a:gd name="connsiteY21" fmla="*/ 512587 h 569322"/>
                <a:gd name="connsiteX22" fmla="*/ 56823 w 606580"/>
                <a:gd name="connsiteY22" fmla="*/ 569322 h 569322"/>
                <a:gd name="connsiteX23" fmla="*/ 0 w 606580"/>
                <a:gd name="connsiteY23" fmla="*/ 512587 h 569322"/>
                <a:gd name="connsiteX24" fmla="*/ 56823 w 606580"/>
                <a:gd name="connsiteY24" fmla="*/ 455945 h 569322"/>
                <a:gd name="connsiteX25" fmla="*/ 77157 w 606580"/>
                <a:gd name="connsiteY25" fmla="*/ 459839 h 569322"/>
                <a:gd name="connsiteX26" fmla="*/ 123303 w 606580"/>
                <a:gd name="connsiteY26" fmla="*/ 404773 h 569322"/>
                <a:gd name="connsiteX27" fmla="*/ 114854 w 606580"/>
                <a:gd name="connsiteY27" fmla="*/ 375386 h 569322"/>
                <a:gd name="connsiteX28" fmla="*/ 171677 w 606580"/>
                <a:gd name="connsiteY28" fmla="*/ 318744 h 569322"/>
                <a:gd name="connsiteX29" fmla="*/ 316484 w 606580"/>
                <a:gd name="connsiteY29" fmla="*/ 174937 h 569322"/>
                <a:gd name="connsiteX30" fmla="*/ 316577 w 606580"/>
                <a:gd name="connsiteY30" fmla="*/ 174991 h 569322"/>
                <a:gd name="connsiteX31" fmla="*/ 316577 w 606580"/>
                <a:gd name="connsiteY31" fmla="*/ 243818 h 569322"/>
                <a:gd name="connsiteX32" fmla="*/ 338115 w 606580"/>
                <a:gd name="connsiteY32" fmla="*/ 231488 h 569322"/>
                <a:gd name="connsiteX33" fmla="*/ 346378 w 606580"/>
                <a:gd name="connsiteY33" fmla="*/ 208497 h 569322"/>
                <a:gd name="connsiteX34" fmla="*/ 339415 w 606580"/>
                <a:gd name="connsiteY34" fmla="*/ 188102 h 569322"/>
                <a:gd name="connsiteX35" fmla="*/ 316577 w 606580"/>
                <a:gd name="connsiteY35" fmla="*/ 174991 h 569322"/>
                <a:gd name="connsiteX36" fmla="*/ 316577 w 606580"/>
                <a:gd name="connsiteY36" fmla="*/ 174937 h 569322"/>
                <a:gd name="connsiteX37" fmla="*/ 290954 w 606580"/>
                <a:gd name="connsiteY37" fmla="*/ 55995 h 569322"/>
                <a:gd name="connsiteX38" fmla="*/ 274243 w 606580"/>
                <a:gd name="connsiteY38" fmla="*/ 67954 h 569322"/>
                <a:gd name="connsiteX39" fmla="*/ 268116 w 606580"/>
                <a:gd name="connsiteY39" fmla="*/ 86681 h 569322"/>
                <a:gd name="connsiteX40" fmla="*/ 273779 w 606580"/>
                <a:gd name="connsiteY40" fmla="*/ 104109 h 569322"/>
                <a:gd name="connsiteX41" fmla="*/ 290954 w 606580"/>
                <a:gd name="connsiteY41" fmla="*/ 117088 h 569322"/>
                <a:gd name="connsiteX42" fmla="*/ 290861 w 606580"/>
                <a:gd name="connsiteY42" fmla="*/ 0 h 569322"/>
                <a:gd name="connsiteX43" fmla="*/ 316484 w 606580"/>
                <a:gd name="connsiteY43" fmla="*/ 0 h 569322"/>
                <a:gd name="connsiteX44" fmla="*/ 316484 w 606580"/>
                <a:gd name="connsiteY44" fmla="*/ 17522 h 569322"/>
                <a:gd name="connsiteX45" fmla="*/ 361232 w 606580"/>
                <a:gd name="connsiteY45" fmla="*/ 36619 h 569322"/>
                <a:gd name="connsiteX46" fmla="*/ 382492 w 606580"/>
                <a:gd name="connsiteY46" fmla="*/ 78893 h 569322"/>
                <a:gd name="connsiteX47" fmla="*/ 337744 w 606580"/>
                <a:gd name="connsiteY47" fmla="*/ 84734 h 569322"/>
                <a:gd name="connsiteX48" fmla="*/ 316484 w 606580"/>
                <a:gd name="connsiteY48" fmla="*/ 56458 h 569322"/>
                <a:gd name="connsiteX49" fmla="*/ 316484 w 606580"/>
                <a:gd name="connsiteY49" fmla="*/ 125525 h 569322"/>
                <a:gd name="connsiteX50" fmla="*/ 374322 w 606580"/>
                <a:gd name="connsiteY50" fmla="*/ 155283 h 569322"/>
                <a:gd name="connsiteX51" fmla="*/ 389733 w 606580"/>
                <a:gd name="connsiteY51" fmla="*/ 202193 h 569322"/>
                <a:gd name="connsiteX52" fmla="*/ 370330 w 606580"/>
                <a:gd name="connsiteY52" fmla="*/ 255963 h 569322"/>
                <a:gd name="connsiteX53" fmla="*/ 316484 w 606580"/>
                <a:gd name="connsiteY53" fmla="*/ 282755 h 569322"/>
                <a:gd name="connsiteX54" fmla="*/ 316484 w 606580"/>
                <a:gd name="connsiteY54" fmla="*/ 315851 h 569322"/>
                <a:gd name="connsiteX55" fmla="*/ 290861 w 606580"/>
                <a:gd name="connsiteY55" fmla="*/ 315851 h 569322"/>
                <a:gd name="connsiteX56" fmla="*/ 290861 w 606580"/>
                <a:gd name="connsiteY56" fmla="*/ 283682 h 569322"/>
                <a:gd name="connsiteX57" fmla="*/ 241193 w 606580"/>
                <a:gd name="connsiteY57" fmla="*/ 260876 h 569322"/>
                <a:gd name="connsiteX58" fmla="*/ 216777 w 606580"/>
                <a:gd name="connsiteY58" fmla="*/ 207106 h 569322"/>
                <a:gd name="connsiteX59" fmla="*/ 262917 w 606580"/>
                <a:gd name="connsiteY59" fmla="*/ 202100 h 569322"/>
                <a:gd name="connsiteX60" fmla="*/ 273593 w 606580"/>
                <a:gd name="connsiteY60" fmla="*/ 226482 h 569322"/>
                <a:gd name="connsiteX61" fmla="*/ 290861 w 606580"/>
                <a:gd name="connsiteY61" fmla="*/ 241315 h 569322"/>
                <a:gd name="connsiteX62" fmla="*/ 290861 w 606580"/>
                <a:gd name="connsiteY62" fmla="*/ 167335 h 569322"/>
                <a:gd name="connsiteX63" fmla="*/ 240079 w 606580"/>
                <a:gd name="connsiteY63" fmla="*/ 137484 h 569322"/>
                <a:gd name="connsiteX64" fmla="*/ 223833 w 606580"/>
                <a:gd name="connsiteY64" fmla="*/ 88813 h 569322"/>
                <a:gd name="connsiteX65" fmla="*/ 242214 w 606580"/>
                <a:gd name="connsiteY65" fmla="*/ 40142 h 569322"/>
                <a:gd name="connsiteX66" fmla="*/ 290861 w 606580"/>
                <a:gd name="connsiteY66" fmla="*/ 17522 h 569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606580" h="569322">
                  <a:moveTo>
                    <a:pt x="171677" y="318744"/>
                  </a:moveTo>
                  <a:cubicBezTo>
                    <a:pt x="203060" y="318744"/>
                    <a:pt x="228500" y="344145"/>
                    <a:pt x="228500" y="375386"/>
                  </a:cubicBezTo>
                  <a:cubicBezTo>
                    <a:pt x="228500" y="379650"/>
                    <a:pt x="227943" y="383729"/>
                    <a:pt x="227108" y="387623"/>
                  </a:cubicBezTo>
                  <a:lnTo>
                    <a:pt x="356167" y="468739"/>
                  </a:lnTo>
                  <a:cubicBezTo>
                    <a:pt x="365916" y="460859"/>
                    <a:pt x="378172" y="455945"/>
                    <a:pt x="391728" y="455945"/>
                  </a:cubicBezTo>
                  <a:cubicBezTo>
                    <a:pt x="401849" y="455945"/>
                    <a:pt x="411227" y="458819"/>
                    <a:pt x="419490" y="463454"/>
                  </a:cubicBezTo>
                  <a:lnTo>
                    <a:pt x="497019" y="395874"/>
                  </a:lnTo>
                  <a:cubicBezTo>
                    <a:pt x="494512" y="389570"/>
                    <a:pt x="493026" y="382617"/>
                    <a:pt x="493026" y="375386"/>
                  </a:cubicBezTo>
                  <a:cubicBezTo>
                    <a:pt x="493026" y="344052"/>
                    <a:pt x="518467" y="318744"/>
                    <a:pt x="549849" y="318744"/>
                  </a:cubicBezTo>
                  <a:cubicBezTo>
                    <a:pt x="581232" y="318744"/>
                    <a:pt x="606580" y="344052"/>
                    <a:pt x="606580" y="375386"/>
                  </a:cubicBezTo>
                  <a:cubicBezTo>
                    <a:pt x="606580" y="406720"/>
                    <a:pt x="581232" y="432121"/>
                    <a:pt x="549849" y="432121"/>
                  </a:cubicBezTo>
                  <a:cubicBezTo>
                    <a:pt x="539636" y="432121"/>
                    <a:pt x="530166" y="429154"/>
                    <a:pt x="521809" y="424519"/>
                  </a:cubicBezTo>
                  <a:lnTo>
                    <a:pt x="444466" y="491915"/>
                  </a:lnTo>
                  <a:cubicBezTo>
                    <a:pt x="446973" y="498311"/>
                    <a:pt x="448459" y="505264"/>
                    <a:pt x="448459" y="512587"/>
                  </a:cubicBezTo>
                  <a:cubicBezTo>
                    <a:pt x="448459" y="543921"/>
                    <a:pt x="423111" y="569322"/>
                    <a:pt x="391728" y="569322"/>
                  </a:cubicBezTo>
                  <a:cubicBezTo>
                    <a:pt x="360345" y="569322"/>
                    <a:pt x="334905" y="543921"/>
                    <a:pt x="334905" y="512587"/>
                  </a:cubicBezTo>
                  <a:cubicBezTo>
                    <a:pt x="334905" y="508601"/>
                    <a:pt x="335369" y="504708"/>
                    <a:pt x="336112" y="500907"/>
                  </a:cubicBezTo>
                  <a:lnTo>
                    <a:pt x="206867" y="419606"/>
                  </a:lnTo>
                  <a:cubicBezTo>
                    <a:pt x="197118" y="427300"/>
                    <a:pt x="185047" y="432121"/>
                    <a:pt x="171677" y="432121"/>
                  </a:cubicBezTo>
                  <a:cubicBezTo>
                    <a:pt x="164992" y="432121"/>
                    <a:pt x="158678" y="430730"/>
                    <a:pt x="152736" y="428598"/>
                  </a:cubicBezTo>
                  <a:lnTo>
                    <a:pt x="105847" y="484498"/>
                  </a:lnTo>
                  <a:cubicBezTo>
                    <a:pt x="110676" y="492842"/>
                    <a:pt x="113554" y="502390"/>
                    <a:pt x="113554" y="512587"/>
                  </a:cubicBezTo>
                  <a:cubicBezTo>
                    <a:pt x="113554" y="543921"/>
                    <a:pt x="88206" y="569322"/>
                    <a:pt x="56823" y="569322"/>
                  </a:cubicBezTo>
                  <a:cubicBezTo>
                    <a:pt x="25441" y="569322"/>
                    <a:pt x="0" y="543921"/>
                    <a:pt x="0" y="512587"/>
                  </a:cubicBezTo>
                  <a:cubicBezTo>
                    <a:pt x="0" y="481346"/>
                    <a:pt x="25441" y="455945"/>
                    <a:pt x="56823" y="455945"/>
                  </a:cubicBezTo>
                  <a:cubicBezTo>
                    <a:pt x="63973" y="455945"/>
                    <a:pt x="70843" y="457429"/>
                    <a:pt x="77157" y="459839"/>
                  </a:cubicBezTo>
                  <a:lnTo>
                    <a:pt x="123303" y="404773"/>
                  </a:lnTo>
                  <a:cubicBezTo>
                    <a:pt x="118103" y="396152"/>
                    <a:pt x="114854" y="386232"/>
                    <a:pt x="114854" y="375386"/>
                  </a:cubicBezTo>
                  <a:cubicBezTo>
                    <a:pt x="114854" y="344145"/>
                    <a:pt x="140294" y="318744"/>
                    <a:pt x="171677" y="318744"/>
                  </a:cubicBezTo>
                  <a:close/>
                  <a:moveTo>
                    <a:pt x="316484" y="174937"/>
                  </a:moveTo>
                  <a:lnTo>
                    <a:pt x="316577" y="174991"/>
                  </a:lnTo>
                  <a:lnTo>
                    <a:pt x="316577" y="243818"/>
                  </a:lnTo>
                  <a:cubicBezTo>
                    <a:pt x="325397" y="242149"/>
                    <a:pt x="332545" y="238070"/>
                    <a:pt x="338115" y="231488"/>
                  </a:cubicBezTo>
                  <a:cubicBezTo>
                    <a:pt x="343593" y="224999"/>
                    <a:pt x="346378" y="217304"/>
                    <a:pt x="346378" y="208497"/>
                  </a:cubicBezTo>
                  <a:cubicBezTo>
                    <a:pt x="346378" y="200617"/>
                    <a:pt x="344057" y="193757"/>
                    <a:pt x="339415" y="188102"/>
                  </a:cubicBezTo>
                  <a:lnTo>
                    <a:pt x="316577" y="174991"/>
                  </a:lnTo>
                  <a:lnTo>
                    <a:pt x="316577" y="174937"/>
                  </a:lnTo>
                  <a:close/>
                  <a:moveTo>
                    <a:pt x="290954" y="55995"/>
                  </a:moveTo>
                  <a:cubicBezTo>
                    <a:pt x="283991" y="58312"/>
                    <a:pt x="278421" y="62299"/>
                    <a:pt x="274243" y="67954"/>
                  </a:cubicBezTo>
                  <a:cubicBezTo>
                    <a:pt x="270158" y="73609"/>
                    <a:pt x="268116" y="79913"/>
                    <a:pt x="268116" y="86681"/>
                  </a:cubicBezTo>
                  <a:cubicBezTo>
                    <a:pt x="268116" y="92892"/>
                    <a:pt x="269973" y="98732"/>
                    <a:pt x="273779" y="104109"/>
                  </a:cubicBezTo>
                  <a:cubicBezTo>
                    <a:pt x="277493" y="109394"/>
                    <a:pt x="283249" y="113751"/>
                    <a:pt x="290954" y="117088"/>
                  </a:cubicBezTo>
                  <a:close/>
                  <a:moveTo>
                    <a:pt x="290861" y="0"/>
                  </a:moveTo>
                  <a:lnTo>
                    <a:pt x="316484" y="0"/>
                  </a:lnTo>
                  <a:lnTo>
                    <a:pt x="316484" y="17522"/>
                  </a:lnTo>
                  <a:cubicBezTo>
                    <a:pt x="335237" y="19747"/>
                    <a:pt x="350184" y="26143"/>
                    <a:pt x="361232" y="36619"/>
                  </a:cubicBezTo>
                  <a:cubicBezTo>
                    <a:pt x="372280" y="47188"/>
                    <a:pt x="379428" y="61279"/>
                    <a:pt x="382492" y="78893"/>
                  </a:cubicBezTo>
                  <a:lnTo>
                    <a:pt x="337744" y="84734"/>
                  </a:lnTo>
                  <a:cubicBezTo>
                    <a:pt x="335052" y="70828"/>
                    <a:pt x="327903" y="61464"/>
                    <a:pt x="316484" y="56458"/>
                  </a:cubicBezTo>
                  <a:lnTo>
                    <a:pt x="316484" y="125525"/>
                  </a:lnTo>
                  <a:cubicBezTo>
                    <a:pt x="344800" y="133219"/>
                    <a:pt x="364110" y="143139"/>
                    <a:pt x="374322" y="155283"/>
                  </a:cubicBezTo>
                  <a:cubicBezTo>
                    <a:pt x="384534" y="167428"/>
                    <a:pt x="389733" y="183095"/>
                    <a:pt x="389733" y="202193"/>
                  </a:cubicBezTo>
                  <a:cubicBezTo>
                    <a:pt x="389733" y="223423"/>
                    <a:pt x="383234" y="241408"/>
                    <a:pt x="370330" y="255963"/>
                  </a:cubicBezTo>
                  <a:cubicBezTo>
                    <a:pt x="357426" y="270610"/>
                    <a:pt x="339508" y="279510"/>
                    <a:pt x="316484" y="282755"/>
                  </a:cubicBezTo>
                  <a:lnTo>
                    <a:pt x="316484" y="315851"/>
                  </a:lnTo>
                  <a:lnTo>
                    <a:pt x="290861" y="315851"/>
                  </a:lnTo>
                  <a:lnTo>
                    <a:pt x="290861" y="283682"/>
                  </a:lnTo>
                  <a:cubicBezTo>
                    <a:pt x="270530" y="281179"/>
                    <a:pt x="253912" y="273577"/>
                    <a:pt x="241193" y="260876"/>
                  </a:cubicBezTo>
                  <a:cubicBezTo>
                    <a:pt x="228475" y="248175"/>
                    <a:pt x="220398" y="230283"/>
                    <a:pt x="216777" y="207106"/>
                  </a:cubicBezTo>
                  <a:lnTo>
                    <a:pt x="262917" y="202100"/>
                  </a:lnTo>
                  <a:cubicBezTo>
                    <a:pt x="264867" y="211556"/>
                    <a:pt x="268395" y="219714"/>
                    <a:pt x="273593" y="226482"/>
                  </a:cubicBezTo>
                  <a:cubicBezTo>
                    <a:pt x="278792" y="233342"/>
                    <a:pt x="284548" y="238256"/>
                    <a:pt x="290861" y="241315"/>
                  </a:cubicBezTo>
                  <a:lnTo>
                    <a:pt x="290861" y="167335"/>
                  </a:lnTo>
                  <a:cubicBezTo>
                    <a:pt x="267745" y="160753"/>
                    <a:pt x="250848" y="150834"/>
                    <a:pt x="240079" y="137484"/>
                  </a:cubicBezTo>
                  <a:cubicBezTo>
                    <a:pt x="229310" y="124041"/>
                    <a:pt x="223833" y="107910"/>
                    <a:pt x="223833" y="88813"/>
                  </a:cubicBezTo>
                  <a:cubicBezTo>
                    <a:pt x="223833" y="69530"/>
                    <a:pt x="229960" y="53306"/>
                    <a:pt x="242214" y="40142"/>
                  </a:cubicBezTo>
                  <a:cubicBezTo>
                    <a:pt x="254376" y="27070"/>
                    <a:pt x="270623" y="19468"/>
                    <a:pt x="290861" y="17522"/>
                  </a:cubicBezTo>
                  <a:close/>
                </a:path>
              </a:pathLst>
            </a:custGeom>
            <a:solidFill>
              <a:schemeClr val="bg1"/>
            </a:solidFill>
            <a:ln>
              <a:noFill/>
            </a:ln>
            <a:effectLst/>
          </p:spPr>
          <p:txBody>
            <a:bodyPr wrap="square" lIns="91440" tIns="45720" rIns="91440" bIns="45720" anchor="ctr">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19" name="íŝľîdê">
              <a:extLst>
                <a:ext uri="{FF2B5EF4-FFF2-40B4-BE49-F238E27FC236}">
                  <a16:creationId xmlns:a16="http://schemas.microsoft.com/office/drawing/2014/main" id="{1893A705-F307-4DAA-AA34-D1444593A926}"/>
                </a:ext>
              </a:extLst>
            </p:cNvPr>
            <p:cNvSpPr/>
            <p:nvPr/>
          </p:nvSpPr>
          <p:spPr>
            <a:xfrm>
              <a:off x="7692521" y="2257250"/>
              <a:ext cx="3827967" cy="1114060"/>
            </a:xfrm>
            <a:prstGeom prst="rect">
              <a:avLst/>
            </a:prstGeom>
          </p:spPr>
          <p:txBody>
            <a:bodyPr wrap="square" lIns="91440" tIns="45720" rIns="91440" bIns="45720" anchor="t">
              <a:noAutofit/>
            </a:bodyPr>
            <a:lstStyle/>
            <a:p>
              <a:pPr>
                <a:lnSpc>
                  <a:spcPct val="120000"/>
                </a:lnSpc>
              </a:pPr>
              <a:r>
                <a:rPr lang="en-US" altLang="zh-CN" sz="1100"/>
                <a:t>Support</a:t>
              </a:r>
              <a:r>
                <a:rPr lang="en-US" altLang="zh-CN" sz="100"/>
                <a:t> </a:t>
              </a:r>
              <a:r>
                <a:rPr lang="en-US" altLang="zh-CN" sz="1100"/>
                <a:t>ing </a:t>
              </a:r>
              <a:r>
                <a:rPr lang="en-US" altLang="zh-CN" sz="1100" dirty="0"/>
                <a:t>text here</a:t>
              </a:r>
            </a:p>
            <a:p>
              <a:pPr>
                <a:lnSpc>
                  <a:spcPct val="120000"/>
                </a:lnSpc>
              </a:pPr>
              <a:r>
                <a:rPr lang="en-US" altLang="zh-CN" sz="1100" dirty="0"/>
                <a:t>Supporting text here</a:t>
              </a:r>
            </a:p>
            <a:p>
              <a:pPr>
                <a:lnSpc>
                  <a:spcPct val="120000"/>
                </a:lnSpc>
              </a:pPr>
              <a:r>
                <a:rPr lang="en-US" altLang="zh-CN" sz="1100" dirty="0"/>
                <a:t>…</a:t>
              </a:r>
            </a:p>
          </p:txBody>
        </p:sp>
        <p:grpSp>
          <p:nvGrpSpPr>
            <p:cNvPr id="20" name="işľíḋè">
              <a:extLst>
                <a:ext uri="{FF2B5EF4-FFF2-40B4-BE49-F238E27FC236}">
                  <a16:creationId xmlns:a16="http://schemas.microsoft.com/office/drawing/2014/main" id="{5A644EC1-8029-4CB4-AEEC-AB85788FC677}"/>
                </a:ext>
              </a:extLst>
            </p:cNvPr>
            <p:cNvGrpSpPr/>
            <p:nvPr/>
          </p:nvGrpSpPr>
          <p:grpSpPr>
            <a:xfrm>
              <a:off x="1129466" y="4844260"/>
              <a:ext cx="2507299" cy="1107160"/>
              <a:chOff x="487363" y="2937695"/>
              <a:chExt cx="2507299" cy="1107160"/>
            </a:xfrm>
          </p:grpSpPr>
          <p:sp>
            <p:nvSpPr>
              <p:cNvPr id="24" name="ïṥ1íḑe">
                <a:extLst>
                  <a:ext uri="{FF2B5EF4-FFF2-40B4-BE49-F238E27FC236}">
                    <a16:creationId xmlns:a16="http://schemas.microsoft.com/office/drawing/2014/main" id="{F411F893-7535-41C8-BBB8-B2FE3DC9FDCC}"/>
                  </a:ext>
                </a:extLst>
              </p:cNvPr>
              <p:cNvSpPr txBox="1"/>
              <p:nvPr/>
            </p:nvSpPr>
            <p:spPr>
              <a:xfrm>
                <a:off x="487363" y="3304444"/>
                <a:ext cx="2507299" cy="740411"/>
              </a:xfrm>
              <a:prstGeom prst="rect">
                <a:avLst/>
              </a:prstGeom>
              <a:noFill/>
            </p:spPr>
            <p:txBody>
              <a:bodyPr wrap="square" lIns="91440" tIns="45720" rIns="91440" bIns="45720" anchor="t">
                <a:noAutofit/>
              </a:bodyPr>
              <a:lstStyle/>
              <a:p>
                <a:pPr algn="r" defTabSz="914378">
                  <a:lnSpc>
                    <a:spcPct val="120000"/>
                  </a:lnSpc>
                  <a:spcBef>
                    <a:spcPct val="0"/>
                  </a:spcBef>
                  <a:defRPr/>
                </a:pPr>
                <a:r>
                  <a:rPr lang="en-US" altLang="zh-CN" sz="1100"/>
                  <a:t>Support</a:t>
                </a:r>
                <a:r>
                  <a:rPr lang="en-US" altLang="zh-CN" sz="100"/>
                  <a:t> </a:t>
                </a:r>
                <a:r>
                  <a:rPr lang="en-US" altLang="zh-CN" sz="1100"/>
                  <a:t>ing </a:t>
                </a:r>
                <a:r>
                  <a:rPr lang="en-US" altLang="zh-CN" sz="1100" dirty="0"/>
                  <a:t>text here</a:t>
                </a:r>
                <a:br>
                  <a:rPr lang="zh-CN" altLang="en-US" sz="1100" dirty="0"/>
                </a:br>
                <a:r>
                  <a:rPr lang="en-US" altLang="zh-CN" sz="1100" dirty="0"/>
                  <a:t>Supporting text here</a:t>
                </a:r>
                <a:br>
                  <a:rPr lang="zh-CN" altLang="en-US" sz="1100" dirty="0"/>
                </a:br>
                <a:endParaRPr lang="zh-CN" altLang="en-US" sz="1100" dirty="0"/>
              </a:p>
            </p:txBody>
          </p:sp>
          <p:sp>
            <p:nvSpPr>
              <p:cNvPr id="25" name="îsḻiḍè">
                <a:extLst>
                  <a:ext uri="{FF2B5EF4-FFF2-40B4-BE49-F238E27FC236}">
                    <a16:creationId xmlns:a16="http://schemas.microsoft.com/office/drawing/2014/main" id="{3C0C88B5-74E7-4AC9-AE5F-521A9B0D2E32}"/>
                  </a:ext>
                </a:extLst>
              </p:cNvPr>
              <p:cNvSpPr/>
              <p:nvPr/>
            </p:nvSpPr>
            <p:spPr>
              <a:xfrm>
                <a:off x="487363" y="2937695"/>
                <a:ext cx="2507299" cy="366749"/>
              </a:xfrm>
              <a:prstGeom prst="rect">
                <a:avLst/>
              </a:prstGeom>
            </p:spPr>
            <p:txBody>
              <a:bodyPr wrap="square" lIns="91440" tIns="45720" rIns="91440" bIns="45720" anchor="b">
                <a:noAutofit/>
              </a:bodyPr>
              <a:lstStyle/>
              <a:p>
                <a:pPr lvl="0" algn="r" defTabSz="914378">
                  <a:spcBef>
                    <a:spcPct val="0"/>
                  </a:spcBef>
                  <a:defRPr/>
                </a:pPr>
                <a:r>
                  <a:rPr lang="en-US" altLang="zh-CN" sz="1600" b="1"/>
                  <a:t>Te</a:t>
                </a:r>
                <a:r>
                  <a:rPr lang="en-US" altLang="zh-CN" sz="100" b="1"/>
                  <a:t> </a:t>
                </a:r>
                <a:r>
                  <a:rPr lang="en-US" altLang="zh-CN" sz="1600" b="1"/>
                  <a:t>xt </a:t>
                </a:r>
                <a:r>
                  <a:rPr lang="en-US" altLang="zh-CN" sz="1600" b="1" dirty="0"/>
                  <a:t>Here</a:t>
                </a:r>
                <a:endParaRPr lang="zh-CN" altLang="en-US" sz="1600" b="1" dirty="0"/>
              </a:p>
            </p:txBody>
          </p:sp>
        </p:grpSp>
        <p:grpSp>
          <p:nvGrpSpPr>
            <p:cNvPr id="21" name="îṡḷíḍé">
              <a:extLst>
                <a:ext uri="{FF2B5EF4-FFF2-40B4-BE49-F238E27FC236}">
                  <a16:creationId xmlns:a16="http://schemas.microsoft.com/office/drawing/2014/main" id="{825DB21C-74D9-4457-BBA9-A0DE608086E9}"/>
                </a:ext>
              </a:extLst>
            </p:cNvPr>
            <p:cNvGrpSpPr/>
            <p:nvPr/>
          </p:nvGrpSpPr>
          <p:grpSpPr>
            <a:xfrm>
              <a:off x="8006717" y="4332676"/>
              <a:ext cx="2507299" cy="1107160"/>
              <a:chOff x="487363" y="2937695"/>
              <a:chExt cx="2507299" cy="1107160"/>
            </a:xfrm>
          </p:grpSpPr>
          <p:sp>
            <p:nvSpPr>
              <p:cNvPr id="22" name="ïṡľiḋê">
                <a:extLst>
                  <a:ext uri="{FF2B5EF4-FFF2-40B4-BE49-F238E27FC236}">
                    <a16:creationId xmlns:a16="http://schemas.microsoft.com/office/drawing/2014/main" id="{A28985C3-31E8-4822-A538-57C565D5CDA8}"/>
                  </a:ext>
                </a:extLst>
              </p:cNvPr>
              <p:cNvSpPr txBox="1"/>
              <p:nvPr/>
            </p:nvSpPr>
            <p:spPr>
              <a:xfrm>
                <a:off x="487363" y="3304444"/>
                <a:ext cx="2507299" cy="740411"/>
              </a:xfrm>
              <a:prstGeom prst="rect">
                <a:avLst/>
              </a:prstGeom>
              <a:noFill/>
            </p:spPr>
            <p:txBody>
              <a:bodyPr wrap="square" lIns="91440" tIns="45720" rIns="91440" bIns="45720" anchor="t">
                <a:noAutofit/>
              </a:bodyPr>
              <a:lstStyle/>
              <a:p>
                <a:pPr defTabSz="914378">
                  <a:lnSpc>
                    <a:spcPct val="120000"/>
                  </a:lnSpc>
                  <a:spcBef>
                    <a:spcPct val="0"/>
                  </a:spcBef>
                  <a:defRPr/>
                </a:pPr>
                <a:r>
                  <a:rPr lang="en-US" altLang="zh-CN" sz="1100"/>
                  <a:t>Support</a:t>
                </a:r>
                <a:r>
                  <a:rPr lang="en-US" altLang="zh-CN" sz="100"/>
                  <a:t> </a:t>
                </a:r>
                <a:r>
                  <a:rPr lang="en-US" altLang="zh-CN" sz="1100"/>
                  <a:t>ing </a:t>
                </a:r>
                <a:r>
                  <a:rPr lang="en-US" altLang="zh-CN" sz="1100" dirty="0"/>
                  <a:t>text here</a:t>
                </a:r>
                <a:br>
                  <a:rPr lang="zh-CN" altLang="en-US" sz="1100" dirty="0"/>
                </a:br>
                <a:r>
                  <a:rPr lang="en-US" altLang="zh-CN" sz="1100" dirty="0"/>
                  <a:t>Supporting text here</a:t>
                </a:r>
                <a:br>
                  <a:rPr lang="zh-CN" altLang="en-US" sz="1100" dirty="0"/>
                </a:br>
                <a:endParaRPr lang="zh-CN" altLang="en-US" sz="1100" dirty="0"/>
              </a:p>
            </p:txBody>
          </p:sp>
          <p:sp>
            <p:nvSpPr>
              <p:cNvPr id="23" name="îšľïḓê">
                <a:extLst>
                  <a:ext uri="{FF2B5EF4-FFF2-40B4-BE49-F238E27FC236}">
                    <a16:creationId xmlns:a16="http://schemas.microsoft.com/office/drawing/2014/main" id="{E083D102-4F6C-4A84-A563-132BAF3C10AC}"/>
                  </a:ext>
                </a:extLst>
              </p:cNvPr>
              <p:cNvSpPr/>
              <p:nvPr/>
            </p:nvSpPr>
            <p:spPr>
              <a:xfrm>
                <a:off x="487363" y="2937695"/>
                <a:ext cx="2507299" cy="366749"/>
              </a:xfrm>
              <a:prstGeom prst="rect">
                <a:avLst/>
              </a:prstGeom>
            </p:spPr>
            <p:txBody>
              <a:bodyPr wrap="square" lIns="91440" tIns="45720" rIns="91440" bIns="45720" anchor="b">
                <a:noAutofit/>
              </a:bodyPr>
              <a:lstStyle/>
              <a:p>
                <a:pPr lvl="0" defTabSz="914378">
                  <a:spcBef>
                    <a:spcPct val="0"/>
                  </a:spcBef>
                  <a:defRPr/>
                </a:pPr>
                <a:r>
                  <a:rPr lang="en-US" altLang="zh-CN" sz="1600" b="1"/>
                  <a:t>Te</a:t>
                </a:r>
                <a:r>
                  <a:rPr lang="en-US" altLang="zh-CN" sz="100" b="1"/>
                  <a:t> </a:t>
                </a:r>
                <a:r>
                  <a:rPr lang="en-US" altLang="zh-CN" sz="1600" b="1"/>
                  <a:t>xt </a:t>
                </a:r>
                <a:r>
                  <a:rPr lang="en-US" altLang="zh-CN" sz="1600" b="1" dirty="0"/>
                  <a:t>Here</a:t>
                </a:r>
                <a:endParaRPr lang="zh-CN" altLang="en-US" sz="1600" b="1" dirty="0"/>
              </a:p>
            </p:txBody>
          </p:sp>
        </p:grpSp>
      </p:grpSp>
    </p:spTree>
    <p:extLst>
      <p:ext uri="{BB962C8B-B14F-4D97-AF65-F5344CB8AC3E}">
        <p14:creationId xmlns:p14="http://schemas.microsoft.com/office/powerpoint/2010/main" val="29611716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SHOWCASE" val="8a7c434d-7628-43d4-a72f-eece12deba2a"/>
</p:tagLst>
</file>

<file path=ppt/theme/theme1.xml><?xml version="1.0" encoding="utf-8"?>
<a:theme xmlns:a="http://schemas.openxmlformats.org/drawingml/2006/main" name="主题5">
  <a:themeElements>
    <a:clrScheme name="房利美">
      <a:dk1>
        <a:srgbClr val="000000"/>
      </a:dk1>
      <a:lt1>
        <a:srgbClr val="FFFFFF"/>
      </a:lt1>
      <a:dk2>
        <a:srgbClr val="768395"/>
      </a:dk2>
      <a:lt2>
        <a:srgbClr val="F0F0F0"/>
      </a:lt2>
      <a:accent1>
        <a:srgbClr val="B80006"/>
      </a:accent1>
      <a:accent2>
        <a:srgbClr val="F55050"/>
      </a:accent2>
      <a:accent3>
        <a:srgbClr val="FB7B7B"/>
      </a:accent3>
      <a:accent4>
        <a:srgbClr val="FD6666"/>
      </a:accent4>
      <a:accent5>
        <a:srgbClr val="ED2221"/>
      </a:accent5>
      <a:accent6>
        <a:srgbClr val="D22828"/>
      </a:accent6>
      <a:hlink>
        <a:srgbClr val="B80006"/>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5"/>
    </a:dk2>
    <a:lt2>
      <a:srgbClr val="F0F0F0"/>
    </a:lt2>
    <a:accent1>
      <a:srgbClr val="B80006"/>
    </a:accent1>
    <a:accent2>
      <a:srgbClr val="F55050"/>
    </a:accent2>
    <a:accent3>
      <a:srgbClr val="FB7B7B"/>
    </a:accent3>
    <a:accent4>
      <a:srgbClr val="FD6666"/>
    </a:accent4>
    <a:accent5>
      <a:srgbClr val="ED2221"/>
    </a:accent5>
    <a:accent6>
      <a:srgbClr val="D22828"/>
    </a:accent6>
    <a:hlink>
      <a:srgbClr val="B80006"/>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5"/>
    </a:dk2>
    <a:lt2>
      <a:srgbClr val="F0F0F0"/>
    </a:lt2>
    <a:accent1>
      <a:srgbClr val="B80006"/>
    </a:accent1>
    <a:accent2>
      <a:srgbClr val="F55050"/>
    </a:accent2>
    <a:accent3>
      <a:srgbClr val="FB7B7B"/>
    </a:accent3>
    <a:accent4>
      <a:srgbClr val="FD6666"/>
    </a:accent4>
    <a:accent5>
      <a:srgbClr val="ED2221"/>
    </a:accent5>
    <a:accent6>
      <a:srgbClr val="D22828"/>
    </a:accent6>
    <a:hlink>
      <a:srgbClr val="B80006"/>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5"/>
    </a:dk2>
    <a:lt2>
      <a:srgbClr val="F0F0F0"/>
    </a:lt2>
    <a:accent1>
      <a:srgbClr val="B80006"/>
    </a:accent1>
    <a:accent2>
      <a:srgbClr val="F55050"/>
    </a:accent2>
    <a:accent3>
      <a:srgbClr val="FB7B7B"/>
    </a:accent3>
    <a:accent4>
      <a:srgbClr val="FD6666"/>
    </a:accent4>
    <a:accent5>
      <a:srgbClr val="ED2221"/>
    </a:accent5>
    <a:accent6>
      <a:srgbClr val="D22828"/>
    </a:accent6>
    <a:hlink>
      <a:srgbClr val="B80006"/>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0</TotalTime>
  <Words>1018</Words>
  <Application>Microsoft Office PowerPoint</Application>
  <PresentationFormat>Widescreen</PresentationFormat>
  <Paragraphs>258</Paragraphs>
  <Slides>18</Slides>
  <Notes>0</Notes>
  <HiddenSlides>1</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6" baseType="lpstr">
      <vt:lpstr>等线</vt:lpstr>
      <vt:lpstr>微软雅黑</vt:lpstr>
      <vt:lpstr>Arial</vt:lpstr>
      <vt:lpstr>Calibri</vt:lpstr>
      <vt:lpstr>Impact</vt:lpstr>
      <vt:lpstr>Roboto</vt:lpstr>
      <vt:lpstr>主题5</vt:lpstr>
      <vt:lpstr>think-cell Slide</vt:lpstr>
      <vt:lpstr>Get rid of the virus!</vt:lpstr>
      <vt:lpstr>PowerPoint Presentation</vt:lpstr>
      <vt:lpstr>Public virus prevention measures</vt:lpstr>
      <vt:lpstr>Public virus prevention measures</vt:lpstr>
      <vt:lpstr>Public virus prevention measures</vt:lpstr>
      <vt:lpstr>Public virus prevention measures</vt:lpstr>
      <vt:lpstr>Prevention in after virus epidemic areas</vt:lpstr>
      <vt:lpstr>Prevention in after virus epidemic areas</vt:lpstr>
      <vt:lpstr>Prevention in after virus epidemic areas</vt:lpstr>
      <vt:lpstr>Prevention in after virus epidemic areas</vt:lpstr>
      <vt:lpstr>Prevention in after virus epidemic areas</vt:lpstr>
      <vt:lpstr>Virus protection in public areas</vt:lpstr>
      <vt:lpstr>Virus protection in public areas</vt:lpstr>
      <vt:lpstr>Virus protection in public areas</vt:lpstr>
      <vt:lpstr>Virus protection in public areas</vt:lpstr>
      <vt:lpstr>Virus protection in public areas</vt:lpstr>
      <vt:lpstr>THANK YOU! In the face of the new types of the coronavirus pneumonia, do not believe nor spread rumours!</vt:lpstr>
      <vt:lpstr>PowerPoint Presentation</vt:lpstr>
    </vt:vector>
  </TitlesOfParts>
  <Manager>Ben Oostdam</Manager>
  <Company>iSlide-PowerPoint.com</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he Red circles template</dc:title>
  <dc:subject>Red - Virus protection Theme</dc:subject>
  <dc:creator>iSlide; https://iSlide-PowerPoint.com</dc:creator>
  <cp:keywords>iSlide; islide-powerpoint.com; Whitepaper, Office, PowerPoint,iSlide</cp:keywords>
  <dc:description>Use this template ot adjhust it to your needs.</dc:description>
  <cp:lastModifiedBy>Ben Oostdam ☁</cp:lastModifiedBy>
  <cp:revision>6</cp:revision>
  <cp:lastPrinted>2020-02-12T16:00:00Z</cp:lastPrinted>
  <dcterms:created xsi:type="dcterms:W3CDTF">2020-02-12T16:00:00Z</dcterms:created>
  <dcterms:modified xsi:type="dcterms:W3CDTF">2021-02-25T19:06:34Z</dcterms:modified>
  <cp:category>template; COVID19</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